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709" r:id="rId2"/>
    <p:sldMasterId id="2147483745" r:id="rId3"/>
    <p:sldMasterId id="2147483781" r:id="rId4"/>
  </p:sldMasterIdLst>
  <p:notesMasterIdLst>
    <p:notesMasterId r:id="rId56"/>
  </p:notesMasterIdLst>
  <p:sldIdLst>
    <p:sldId id="336" r:id="rId5"/>
    <p:sldId id="266" r:id="rId6"/>
    <p:sldId id="271" r:id="rId7"/>
    <p:sldId id="324" r:id="rId8"/>
    <p:sldId id="265" r:id="rId9"/>
    <p:sldId id="338" r:id="rId10"/>
    <p:sldId id="339" r:id="rId11"/>
    <p:sldId id="284" r:id="rId12"/>
    <p:sldId id="280" r:id="rId13"/>
    <p:sldId id="281" r:id="rId14"/>
    <p:sldId id="340" r:id="rId15"/>
    <p:sldId id="268" r:id="rId16"/>
    <p:sldId id="334" r:id="rId17"/>
    <p:sldId id="275" r:id="rId18"/>
    <p:sldId id="276" r:id="rId19"/>
    <p:sldId id="288" r:id="rId20"/>
    <p:sldId id="289" r:id="rId21"/>
    <p:sldId id="323" r:id="rId22"/>
    <p:sldId id="270" r:id="rId23"/>
    <p:sldId id="269" r:id="rId24"/>
    <p:sldId id="321" r:id="rId25"/>
    <p:sldId id="322" r:id="rId26"/>
    <p:sldId id="274" r:id="rId27"/>
    <p:sldId id="277" r:id="rId28"/>
    <p:sldId id="279" r:id="rId29"/>
    <p:sldId id="283" r:id="rId30"/>
    <p:sldId id="285" r:id="rId31"/>
    <p:sldId id="286" r:id="rId32"/>
    <p:sldId id="287" r:id="rId33"/>
    <p:sldId id="328" r:id="rId34"/>
    <p:sldId id="329" r:id="rId35"/>
    <p:sldId id="330" r:id="rId36"/>
    <p:sldId id="332" r:id="rId37"/>
    <p:sldId id="295" r:id="rId38"/>
    <p:sldId id="317" r:id="rId39"/>
    <p:sldId id="297" r:id="rId40"/>
    <p:sldId id="318" r:id="rId41"/>
    <p:sldId id="299" r:id="rId42"/>
    <p:sldId id="300" r:id="rId43"/>
    <p:sldId id="319" r:id="rId44"/>
    <p:sldId id="304" r:id="rId45"/>
    <p:sldId id="305" r:id="rId46"/>
    <p:sldId id="306" r:id="rId47"/>
    <p:sldId id="307" r:id="rId48"/>
    <p:sldId id="337" r:id="rId49"/>
    <p:sldId id="333" r:id="rId50"/>
    <p:sldId id="310" r:id="rId51"/>
    <p:sldId id="311" r:id="rId52"/>
    <p:sldId id="312" r:id="rId53"/>
    <p:sldId id="313" r:id="rId54"/>
    <p:sldId id="314" r:id="rId5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90" autoAdjust="0"/>
    <p:restoredTop sz="91407"/>
  </p:normalViewPr>
  <p:slideViewPr>
    <p:cSldViewPr snapToGrid="0" snapToObjects="1" showGuides="1">
      <p:cViewPr varScale="1">
        <p:scale>
          <a:sx n="115" d="100"/>
          <a:sy n="115" d="100"/>
        </p:scale>
        <p:origin x="710" y="91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9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D7-A04F-8A52-DD984BF8FB0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D7-A04F-8A52-DD984BF8FB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16152976"/>
        <c:axId val="2016155296"/>
      </c:barChart>
      <c:catAx>
        <c:axId val="201615297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pPr>
            <a:endParaRPr lang="en-US"/>
          </a:p>
        </c:txPr>
        <c:crossAx val="2016155296"/>
        <c:crosses val="autoZero"/>
        <c:auto val="1"/>
        <c:lblAlgn val="ctr"/>
        <c:lblOffset val="100"/>
        <c:noMultiLvlLbl val="0"/>
      </c:catAx>
      <c:valAx>
        <c:axId val="201615529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01615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tion 1</c:v>
                </c:pt>
              </c:strCache>
            </c:strRef>
          </c:tx>
          <c:spPr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0800000" scaled="1"/>
            </a:gradFill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D-C84C-9405-016CB1E51A1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tion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6D-C84C-9405-016CB1E51A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16142240"/>
        <c:axId val="2016144560"/>
      </c:barChart>
      <c:catAx>
        <c:axId val="201614224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pPr>
            <a:endParaRPr lang="en-US"/>
          </a:p>
        </c:txPr>
        <c:crossAx val="2016144560"/>
        <c:crosses val="autoZero"/>
        <c:auto val="1"/>
        <c:lblAlgn val="ctr"/>
        <c:lblOffset val="100"/>
        <c:noMultiLvlLbl val="0"/>
      </c:catAx>
      <c:valAx>
        <c:axId val="20161445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016142240"/>
        <c:crosses val="autoZero"/>
        <c:crossBetween val="between"/>
      </c:valAx>
      <c:spPr>
        <a:ln>
          <a:noFill/>
        </a:ln>
      </c:spPr>
    </c:plotArea>
    <c:legend>
      <c:legendPos val="b"/>
      <c:overlay val="0"/>
      <c:txPr>
        <a:bodyPr/>
        <a:lstStyle/>
        <a:p>
          <a:pPr>
            <a:defRPr>
              <a:solidFill>
                <a:schemeClr val="tx1"/>
              </a:solidFill>
              <a:latin typeface="+mn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700">
          <a:solidFill>
            <a:srgbClr val="FFFFFF"/>
          </a:solidFill>
          <a:latin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c:style val="18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53790400000000005"/>
          <c:h val="0.9867839999999999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spPr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75000"/>
                    </a:schemeClr>
                  </a:gs>
                </a:gsLst>
                <a:lin ang="5400000" scaled="1"/>
              </a:gra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B6-5941-9A38-57D86FF6AE34}"/>
              </c:ext>
            </c:extLst>
          </c:dPt>
          <c:dPt>
            <c:idx val="1"/>
            <c:bubble3D val="0"/>
            <c:spPr>
              <a:gradFill flip="none" rotWithShape="1"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B6-5941-9A38-57D86FF6AE3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B6-5941-9A38-57D86FF6AE34}"/>
              </c:ext>
            </c:extLst>
          </c:dPt>
          <c:dPt>
            <c:idx val="3"/>
            <c:bubble3D val="0"/>
            <c:spPr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2700000" scaled="1"/>
              </a:gra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45B6-5941-9A38-57D86FF6AE34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5B6-5941-9A38-57D86FF6AE34}"/>
            </c:ext>
          </c:extLst>
        </c:ser>
        <c:ser>
          <c:idx val="0"/>
          <c:order val="1"/>
          <c:tx>
            <c:strRef>
              <c:f>Sheet1!$A$3</c:f>
              <c:strCache>
                <c:ptCount val="2"/>
                <c:pt idx="1">
                  <c:v>Graph 2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9-45B6-5941-9A38-57D86FF6AE34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B-45B6-5941-9A38-57D86FF6AE34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D-45B6-5941-9A38-57D86FF6AE34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F-45B6-5941-9A38-57D86FF6AE34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5B6-5941-9A38-57D86FF6AE34}"/>
            </c:ext>
          </c:extLst>
        </c:ser>
        <c:ser>
          <c:idx val="0"/>
          <c:order val="2"/>
          <c:tx>
            <c:strRef>
              <c:f>Sheet1!$A$4</c:f>
              <c:strCache>
                <c:ptCount val="3"/>
                <c:pt idx="2">
                  <c:v>Graph 3</c:v>
                </c:pt>
              </c:strCache>
            </c:strRef>
          </c:tx>
          <c:spPr>
            <a:solidFill>
              <a:schemeClr val="accent1"/>
            </a:solidFill>
            <a:ln w="3175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1-45B6-5941-9A38-57D86FF6AE34}"/>
              </c:ext>
            </c:extLst>
          </c:dPt>
          <c:dPt>
            <c:idx val="1"/>
            <c:bubble3D val="0"/>
            <c:spPr>
              <a:solidFill>
                <a:schemeClr val="accent3">
                  <a:lumOff val="10196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3-45B6-5941-9A38-57D86FF6AE34}"/>
              </c:ext>
            </c:extLst>
          </c:dPt>
          <c:dPt>
            <c:idx val="2"/>
            <c:bubble3D val="0"/>
            <c:spPr>
              <a:solidFill>
                <a:srgbClr val="8A8A8A"/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5-45B6-5941-9A38-57D86FF6AE34}"/>
              </c:ext>
            </c:extLst>
          </c:dPt>
          <c:dPt>
            <c:idx val="3"/>
            <c:bubble3D val="0"/>
            <c:spPr>
              <a:solidFill>
                <a:schemeClr val="accent1">
                  <a:hueOff val="-2219668"/>
                  <a:satOff val="-26122"/>
                  <a:lumOff val="-4901"/>
                </a:schemeClr>
              </a:solidFill>
              <a:ln w="3175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7-45B6-5941-9A38-57D86FF6AE34}"/>
              </c:ext>
            </c:extLst>
          </c:dPt>
          <c:cat>
            <c:strRef>
              <c:f>Sheet1!$B$1:$E$1</c:f>
              <c:strCache>
                <c:ptCount val="4"/>
                <c:pt idx="0">
                  <c:v>Financial Services</c:v>
                </c:pt>
                <c:pt idx="1">
                  <c:v>Life Sciences and Healthcare</c:v>
                </c:pt>
                <c:pt idx="2">
                  <c:v>Consumer Products and Manufacturing</c:v>
                </c:pt>
                <c:pt idx="3">
                  <c:v>Technology and Media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5B6-5941-9A38-57D86FF6AE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r"/>
      <c:layout>
        <c:manualLayout>
          <c:xMode val="edge"/>
          <c:yMode val="edge"/>
          <c:x val="0.56012780700980902"/>
          <c:y val="0.74610790169391905"/>
          <c:w val="0.43987219299019098"/>
          <c:h val="0.25373419187186003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000" b="0" i="0" u="none" strike="noStrike">
              <a:solidFill>
                <a:srgbClr val="000000"/>
              </a:solidFill>
              <a:latin typeface="IBM Plex Sans" charset="0"/>
              <a:ea typeface="IBM Plex Sans" charset="0"/>
              <a:cs typeface="IBM Plex Sans" charset="0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10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326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0BAEBEA2-B255-FE40-B697-1F1B890F229C}" type="slidenum">
              <a:rPr lang="en-US" altLang="en-US" sz="1200"/>
              <a:pPr/>
              <a:t>47</a:t>
            </a:fld>
            <a:endParaRPr lang="en-US" altLang="en-US" sz="1200"/>
          </a:p>
        </p:txBody>
      </p:sp>
      <p:sp>
        <p:nvSpPr>
          <p:cNvPr id="49154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9155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915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69675690-EB16-C440-B2BB-85B7A50D0F18}" type="slidenum">
              <a:rPr lang="en-US" altLang="en-US" sz="900">
                <a:ea typeface="MS PGothic" charset="-128"/>
              </a:rPr>
              <a:pPr algn="r" eaLnBrk="1" hangingPunct="1"/>
              <a:t>47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91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67125" y="763588"/>
            <a:ext cx="2200275" cy="1238250"/>
          </a:xfrm>
          <a:ln w="12700" cap="flat">
            <a:solidFill>
              <a:schemeClr val="tx1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91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2387600"/>
            <a:ext cx="5032375" cy="58054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88400" tIns="44199" rIns="88400" bIns="44199"/>
          <a:lstStyle/>
          <a:p>
            <a:pPr marL="201613" indent="-201613" eaLnBrk="1" hangingPunct="1"/>
            <a:endParaRPr lang="en-GB" altLang="en-US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7506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39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ED143-1506-434C-B47D-CBF33F177BE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57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468BE475-56E4-6B47-9365-CA18C5C7AAC0}" type="slidenum">
              <a:rPr lang="en-US" altLang="en-US" sz="1200"/>
              <a:pPr/>
              <a:t>34</a:t>
            </a:fld>
            <a:endParaRPr lang="en-US" altLang="en-US" sz="1200"/>
          </a:p>
        </p:txBody>
      </p:sp>
      <p:sp>
        <p:nvSpPr>
          <p:cNvPr id="3379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66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34CBAC5-50C8-A047-BD26-4292DFB84BAD}" type="slidenum">
              <a:rPr lang="en-US" altLang="en-US" sz="1200"/>
              <a:pPr/>
              <a:t>38</a:t>
            </a:fld>
            <a:endParaRPr lang="en-US" altLang="en-US" sz="1200"/>
          </a:p>
        </p:txBody>
      </p:sp>
      <p:sp>
        <p:nvSpPr>
          <p:cNvPr id="43010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3011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301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1F14616E-6BA0-F74E-A91C-E2BBD7D38A85}" type="slidenum">
              <a:rPr lang="en-US" altLang="en-US" sz="900">
                <a:ea typeface="MS PGothic" charset="-128"/>
              </a:rPr>
              <a:pPr algn="r" eaLnBrk="1" hangingPunct="1"/>
              <a:t>38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30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301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 dirty="0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716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35292BAB-95C2-8441-855C-A6F7DFE3BEA2}" type="slidenum">
              <a:rPr lang="en-US" altLang="en-US" sz="1200"/>
              <a:pPr/>
              <a:t>39</a:t>
            </a:fld>
            <a:endParaRPr lang="en-US" altLang="en-US" sz="1200"/>
          </a:p>
        </p:txBody>
      </p:sp>
      <p:sp>
        <p:nvSpPr>
          <p:cNvPr id="45058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1000" b="1">
                <a:ea typeface="MS PGothic" charset="-128"/>
              </a:rPr>
              <a:t>Master Draft 1</a:t>
            </a:r>
          </a:p>
        </p:txBody>
      </p:sp>
      <p:sp>
        <p:nvSpPr>
          <p:cNvPr id="45059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Master Draft 1</a:t>
            </a:r>
          </a:p>
        </p:txBody>
      </p:sp>
      <p:sp>
        <p:nvSpPr>
          <p:cNvPr id="4506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23E68176-0E97-C348-B02E-841D7ED27811}" type="slidenum">
              <a:rPr lang="en-US" altLang="en-US" sz="900">
                <a:ea typeface="MS PGothic" charset="-128"/>
              </a:rPr>
              <a:pPr algn="r" eaLnBrk="1" hangingPunct="1"/>
              <a:t>39</a:t>
            </a:fld>
            <a:endParaRPr lang="en-US" altLang="en-US" sz="900">
              <a:ea typeface="MS PGothic" charset="-128"/>
            </a:endParaRPr>
          </a:p>
        </p:txBody>
      </p:sp>
      <p:sp>
        <p:nvSpPr>
          <p:cNvPr id="450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4506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957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58F0BD87-7C89-684D-9776-0C0AC78F1428}" type="slidenum">
              <a:rPr lang="en-US" altLang="en-US" sz="1200"/>
              <a:pPr/>
              <a:t>40</a:t>
            </a:fld>
            <a:endParaRPr lang="en-US" altLang="en-US" sz="1200"/>
          </a:p>
        </p:txBody>
      </p:sp>
      <p:sp>
        <p:nvSpPr>
          <p:cNvPr id="69634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6000" cy="342900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243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7FB7DDA6-4DDD-7442-89DB-6884B277971F}" type="slidenum">
              <a:rPr lang="en-US" altLang="en-US" sz="1200"/>
              <a:pPr/>
              <a:t>43</a:t>
            </a:fld>
            <a:endParaRPr lang="en-US" altLang="en-US" sz="1200"/>
          </a:p>
        </p:txBody>
      </p:sp>
      <p:sp>
        <p:nvSpPr>
          <p:cNvPr id="76802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043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73C7E01-B486-9142-904A-28EBFA10F4E6}" type="slidenum">
              <a:rPr lang="en-US" altLang="en-US" sz="1200"/>
              <a:pPr/>
              <a:t>44</a:t>
            </a:fld>
            <a:endParaRPr lang="en-US" altLang="en-US" sz="1200"/>
          </a:p>
        </p:txBody>
      </p:sp>
      <p:sp>
        <p:nvSpPr>
          <p:cNvPr id="78850" name="Rectangle 6"/>
          <p:cNvSpPr txBox="1">
            <a:spLocks noGrp="1" noChangeArrowheads="1"/>
          </p:cNvSpPr>
          <p:nvPr/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b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900">
                <a:ea typeface="MS PGothic" charset="-128"/>
              </a:rPr>
              <a:t>IBM Confidential</a:t>
            </a: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91431" tIns="45716" rIns="91431" bIns="45716"/>
          <a:lstStyle/>
          <a:p>
            <a:pPr eaLnBrk="1" hangingPunct="1"/>
            <a:endParaRPr lang="en-GB" altLang="en-US">
              <a:latin typeface="Arial" charset="0"/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0131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518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44549"/>
            <a:ext cx="4114801" cy="4438575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3EA990-A2F5-4D44-95AB-0B1450A55B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40138" y="4275910"/>
            <a:ext cx="2606778" cy="10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779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9856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1475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0367672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85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710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6584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674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4705350"/>
            <a:ext cx="521589" cy="2114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3301999" y="1467993"/>
            <a:ext cx="2555371" cy="2192783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81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2845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988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506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5823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5690891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2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803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1382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557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87889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629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975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749764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2557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554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7972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288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606412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7266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816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8120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6075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491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86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205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9535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41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7325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924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25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399817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430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0848113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53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279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5798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013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46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835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31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3728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236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2303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881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92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11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2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69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550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865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69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096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2464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1661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37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1348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056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4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85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882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0"/>
            <a:ext cx="521589" cy="2114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2" t="30197" r="15583" b="32340"/>
          <a:stretch/>
        </p:blipFill>
        <p:spPr>
          <a:xfrm>
            <a:off x="7410747" y="4604932"/>
            <a:ext cx="1574103" cy="398967"/>
          </a:xfrm>
          <a:prstGeom prst="rect">
            <a:avLst/>
          </a:prstGeom>
        </p:spPr>
      </p:pic>
      <p:pic>
        <p:nvPicPr>
          <p:cNvPr id="7" name="BCK_PEG_[01].png"/>
          <p:cNvPicPr>
            <a:picLocks noChangeAspect="1"/>
          </p:cNvPicPr>
          <p:nvPr userDrawn="1"/>
        </p:nvPicPr>
        <p:blipFill>
          <a:blip r:embed="rId4">
            <a:extLst/>
          </a:blip>
          <a:stretch>
            <a:fillRect/>
          </a:stretch>
        </p:blipFill>
        <p:spPr>
          <a:xfrm>
            <a:off x="3497298" y="1621624"/>
            <a:ext cx="2149404" cy="19002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60350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575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20346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315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93042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65154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338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038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9694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982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8903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652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5247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145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77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5255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716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2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6183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0695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6355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7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71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589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500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96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53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17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219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900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0483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042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70464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90961"/>
            <a:ext cx="4215008" cy="3456432"/>
          </a:xfrm>
        </p:spPr>
        <p:txBody>
          <a:bodyPr/>
          <a:lstStyle>
            <a:lvl1pPr marL="117475" indent="-11747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425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4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5"/>
            <a:ext cx="6400800" cy="45974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865153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340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922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 sz="1100"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8294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8061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86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4" y="405272"/>
            <a:ext cx="4297421" cy="3687650"/>
          </a:xfrm>
          <a:prstGeom prst="rect">
            <a:avLst/>
          </a:prstGeom>
        </p:spPr>
      </p:pic>
      <p:pic>
        <p:nvPicPr>
          <p:cNvPr id="9" name="Picture 8" descr="ibm_gry.png"/>
          <p:cNvPicPr>
            <a:picLocks noChangeAspect="1"/>
          </p:cNvPicPr>
          <p:nvPr userDrawn="1"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0045"/>
            <a:ext cx="521589" cy="2114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4" y="4584701"/>
            <a:ext cx="1620427" cy="47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9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4203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 marL="173038" indent="-17303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0810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8293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2"/>
            <a:ext cx="4114800" cy="100380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511555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49490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5176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982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5187462" cy="4520805"/>
          </a:xfrm>
        </p:spPr>
        <p:txBody>
          <a:bodyPr/>
          <a:lstStyle>
            <a:lvl1pPr marL="117475" indent="-117475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36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7624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917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3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1475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0"/>
            <a:ext cx="4114800" cy="358965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5845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092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69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69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2052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58584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1018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79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79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72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044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11286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68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5983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5360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028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2823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87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2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5211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32418"/>
            <a:ext cx="20574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0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5825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4572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148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8053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927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675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49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3297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0"/>
            <a:ext cx="6400800" cy="3824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202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88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2405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383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7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819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822" r:id="rId34"/>
    <p:sldLayoutId id="2147483707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100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818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823" r:id="rId34"/>
    <p:sldLayoutId id="2147483744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73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824" r:id="rId34"/>
    <p:sldLayoutId id="2147483780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3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817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25" r:id="rId34"/>
    <p:sldLayoutId id="2147483816" r:id="rId35"/>
  </p:sldLayoutIdLst>
  <p:hf sldNum="0"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br-pt/blockchain/platform" TargetMode="External"/><Relationship Id="rId2" Type="http://schemas.openxmlformats.org/officeDocument/2006/relationships/hyperlink" Target="https://www.ibm.com/br-pt/cloud/machine-learning" TargetMode="External"/><Relationship Id="rId1" Type="http://schemas.openxmlformats.org/officeDocument/2006/relationships/slideLayout" Target="../slideLayouts/slideLayout80.xml"/><Relationship Id="rId5" Type="http://schemas.openxmlformats.org/officeDocument/2006/relationships/hyperlink" Target="https://cloud.ibm.com/catalog" TargetMode="External"/><Relationship Id="rId4" Type="http://schemas.openxmlformats.org/officeDocument/2006/relationships/hyperlink" Target="https://github.com/plcpinho/talknlab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5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8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odejs.org/en/download/" TargetMode="External"/><Relationship Id="rId2" Type="http://schemas.openxmlformats.org/officeDocument/2006/relationships/hyperlink" Target="https://cloud.ibm.com/" TargetMode="Externa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8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tags" Target="../tags/tag8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slideLayout" Target="../slideLayouts/slideLayout97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4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BM </a:t>
            </a:r>
            <a:r>
              <a:rPr lang="de-DE" dirty="0" err="1"/>
              <a:t>Talk‘n‘Labs</a:t>
            </a:r>
            <a:r>
              <a:rPr lang="de-DE" dirty="0"/>
              <a:t> 2019 – Cloud, Data &amp; A.I.  /  11 de </a:t>
            </a:r>
            <a:r>
              <a:rPr lang="de-DE" dirty="0" err="1"/>
              <a:t>outubro</a:t>
            </a:r>
            <a:r>
              <a:rPr lang="de-DE" dirty="0"/>
              <a:t>, 2019 / © 2019 IBM Corporatio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teligência</a:t>
            </a:r>
            <a:r>
              <a:rPr lang="en-US" dirty="0"/>
              <a:t> Artificial e Blockchain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Prática</a:t>
            </a:r>
            <a:br>
              <a:rPr lang="en-US" dirty="0"/>
            </a:br>
            <a:br>
              <a:rPr lang="en-US" dirty="0"/>
            </a:br>
            <a:r>
              <a:rPr lang="en-US" sz="1600" b="0" dirty="0"/>
              <a:t>—</a:t>
            </a:r>
            <a:br>
              <a:rPr lang="en-US" sz="1600" b="0" dirty="0"/>
            </a:br>
            <a:r>
              <a:rPr lang="en-US" sz="1600" b="0" dirty="0"/>
              <a:t>Paulo Coronado</a:t>
            </a:r>
            <a:br>
              <a:rPr lang="en-US" sz="1600" b="0" dirty="0"/>
            </a:br>
            <a:r>
              <a:rPr lang="en-US" sz="1600" b="0" dirty="0"/>
              <a:t>Developer Architect – CTO Office IBM Brazi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566730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2700000" scaled="1"/>
            <a:tileRect/>
          </a:gradFill>
        </p:spPr>
        <p:txBody>
          <a:bodyPr/>
          <a:lstStyle/>
          <a:p>
            <a:r>
              <a:rPr lang="pt-BR" sz="1600" dirty="0"/>
              <a:t>Transparência entre entidades (concessinárias, governo, DER etc.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3203713" cy="734540"/>
          </a:xfrm>
        </p:spPr>
        <p:txBody>
          <a:bodyPr/>
          <a:lstStyle/>
          <a:p>
            <a:r>
              <a:rPr lang="en-US" sz="2000" dirty="0" err="1"/>
              <a:t>Problemas</a:t>
            </a:r>
            <a:r>
              <a:rPr lang="en-US" sz="2000" dirty="0"/>
              <a:t> a </a:t>
            </a:r>
            <a:r>
              <a:rPr lang="en-US" sz="2000" dirty="0" err="1"/>
              <a:t>serem</a:t>
            </a:r>
            <a:r>
              <a:rPr lang="en-US" sz="2000" dirty="0"/>
              <a:t> </a:t>
            </a:r>
            <a:r>
              <a:rPr lang="en-US" sz="2000" dirty="0" err="1"/>
              <a:t>solucionados</a:t>
            </a:r>
            <a:r>
              <a:rPr lang="en-US" sz="2000" dirty="0"/>
              <a:t> </a:t>
            </a:r>
            <a:r>
              <a:rPr lang="en-US" sz="2000" dirty="0" err="1"/>
              <a:t>nos</a:t>
            </a:r>
            <a:r>
              <a:rPr lang="en-US" sz="2000" dirty="0"/>
              <a:t> </a:t>
            </a:r>
            <a:r>
              <a:rPr lang="en-US" sz="2000" dirty="0" err="1"/>
              <a:t>pedágios</a:t>
            </a:r>
            <a:endParaRPr lang="en-US" sz="20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sz="1600" dirty="0"/>
              <a:t>Vulnerabilidade do sistema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pt-BR" sz="1600" dirty="0"/>
              <a:t>Cobrança ineficiente de tarifas</a:t>
            </a:r>
          </a:p>
        </p:txBody>
      </p:sp>
      <p:pic>
        <p:nvPicPr>
          <p:cNvPr id="11" name="Picture 2" descr="https://multimidia.gazetadopovo.com.br/media/redacao/2017/12/1514471057_pedagio-desktop.png">
            <a:extLst>
              <a:ext uri="{FF2B5EF4-FFF2-40B4-BE49-F238E27FC236}">
                <a16:creationId xmlns:a16="http://schemas.microsoft.com/office/drawing/2014/main" id="{4CE8959C-F9D6-42BE-8837-F7F60016C5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01" b="4333"/>
          <a:stretch/>
        </p:blipFill>
        <p:spPr bwMode="auto">
          <a:xfrm>
            <a:off x="136204" y="1422863"/>
            <a:ext cx="4299591" cy="3261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881139-2760-4242-9025-713B23992ECE}"/>
              </a:ext>
            </a:extLst>
          </p:cNvPr>
          <p:cNvSpPr txBox="1"/>
          <p:nvPr/>
        </p:nvSpPr>
        <p:spPr>
          <a:xfrm>
            <a:off x="157369" y="1016253"/>
            <a:ext cx="33461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 cada R$ 1,00 que você paga: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491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 animBg="1"/>
      <p:bldP spid="7" grpId="0" uiExpand="1" build="p" animBg="1"/>
      <p:bldP spid="8" grpId="0" uiExpand="1" build="p" animBg="1"/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delo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3FC04DC-A32A-4F53-BA46-A74E8065EE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336" y="869180"/>
            <a:ext cx="7407327" cy="370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398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/>
            </a:gs>
            <a:gs pos="100000">
              <a:schemeClr val="accent3">
                <a:lumMod val="50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de Blockchai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9338" y="629386"/>
            <a:ext cx="4114800" cy="3108960"/>
          </a:xfrm>
        </p:spPr>
        <p:txBody>
          <a:bodyPr/>
          <a:lstStyle/>
          <a:p>
            <a:endParaRPr lang="en-US" sz="10400" b="0" dirty="0">
              <a:latin typeface="IBM Plex Mono" charset="0"/>
            </a:endParaRPr>
          </a:p>
          <a:p>
            <a:r>
              <a:rPr lang="en-US" sz="15000" b="0" dirty="0">
                <a:latin typeface="IBM Plex Mono" charset="0"/>
              </a:rPr>
              <a:t>&lt;2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7302603-8395-4680-B4D7-057C8EE36E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602" y="519287"/>
            <a:ext cx="4027136" cy="4104926"/>
          </a:xfrm>
          <a:prstGeom prst="round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EF97952A-051B-4FB8-AB08-9AE4E8F95D87}"/>
              </a:ext>
            </a:extLst>
          </p:cNvPr>
          <p:cNvSpPr txBox="1">
            <a:spLocks/>
          </p:cNvSpPr>
          <p:nvPr/>
        </p:nvSpPr>
        <p:spPr>
          <a:xfrm>
            <a:off x="228600" y="1465819"/>
            <a:ext cx="2806148" cy="1003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sz="1800" dirty="0" err="1"/>
              <a:t>Rastreabilidade</a:t>
            </a:r>
            <a:r>
              <a:rPr lang="en-US" sz="1800" dirty="0"/>
              <a:t> de </a:t>
            </a:r>
            <a:r>
              <a:rPr lang="en-US" sz="1800" dirty="0" err="1"/>
              <a:t>transaçõe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46649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1"/>
            <a:ext cx="6039676" cy="4473575"/>
          </a:xfrm>
        </p:spPr>
        <p:txBody>
          <a:bodyPr/>
          <a:lstStyle/>
          <a:p>
            <a:r>
              <a:rPr lang="en-US" b="0" dirty="0"/>
              <a:t>It’s code time!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2058" name="Picture 10" descr="Resultado de imagem para hacker gif">
            <a:extLst>
              <a:ext uri="{FF2B5EF4-FFF2-40B4-BE49-F238E27FC236}">
                <a16:creationId xmlns:a16="http://schemas.microsoft.com/office/drawing/2014/main" id="{5EEF3594-02FD-43BF-B071-1AC1175ECB9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321488"/>
            <a:ext cx="3659020" cy="204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487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</a:t>
            </a:r>
            <a:r>
              <a:rPr lang="en-US" dirty="0" err="1"/>
              <a:t>Relevantes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/>
          <a:p>
            <a:r>
              <a:rPr lang="en-US" b="1" dirty="0" err="1"/>
              <a:t>Tecnologias</a:t>
            </a:r>
            <a:r>
              <a:rPr lang="en-US" b="1" dirty="0"/>
              <a:t>:</a:t>
            </a:r>
          </a:p>
          <a:p>
            <a:endParaRPr lang="en-US" sz="1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atson Machine Learning</a:t>
            </a:r>
          </a:p>
          <a:p>
            <a:r>
              <a:rPr lang="en-US" sz="1400" dirty="0">
                <a:hlinkClick r:id="rId2"/>
              </a:rPr>
              <a:t>https://www.ibm.com/br-pt/cloud/machine-learning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BM Blockchain Platform</a:t>
            </a:r>
          </a:p>
          <a:p>
            <a:r>
              <a:rPr lang="en-US" sz="1400" dirty="0">
                <a:hlinkClick r:id="rId3"/>
              </a:rPr>
              <a:t>https://www.ibm.com/br-pt/blockchain/platform</a:t>
            </a:r>
            <a:endParaRPr lang="en-US" sz="14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Para </a:t>
            </a:r>
            <a:r>
              <a:rPr lang="en-US" b="1" dirty="0" err="1"/>
              <a:t>este</a:t>
            </a:r>
            <a:r>
              <a:rPr lang="en-US" b="1" dirty="0"/>
              <a:t> </a:t>
            </a:r>
            <a:r>
              <a:rPr lang="en-US" b="1" dirty="0" err="1"/>
              <a:t>Laboratório</a:t>
            </a:r>
            <a:r>
              <a:rPr lang="en-US" b="1" dirty="0"/>
              <a:t>:</a:t>
            </a:r>
          </a:p>
          <a:p>
            <a:endParaRPr lang="en-US" sz="1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 Tutorial:</a:t>
            </a:r>
          </a:p>
          <a:p>
            <a:r>
              <a:rPr lang="en-US" sz="1400" dirty="0">
                <a:hlinkClick r:id="rId4"/>
              </a:rPr>
              <a:t>https://github.com/plcpinho/talknlabs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Catálogo</a:t>
            </a:r>
            <a:r>
              <a:rPr lang="en-US" sz="1400" dirty="0"/>
              <a:t> IBM Cloud:</a:t>
            </a:r>
          </a:p>
          <a:p>
            <a:r>
              <a:rPr lang="en-US" sz="1400" dirty="0">
                <a:hlinkClick r:id="rId5"/>
              </a:rPr>
              <a:t>https://cloud.ibm.com/catalog</a:t>
            </a:r>
            <a:endParaRPr lang="en-US" sz="14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CFC11A-746D-4039-8F2E-26A92A63544E}"/>
              </a:ext>
            </a:extLst>
          </p:cNvPr>
          <p:cNvSpPr/>
          <p:nvPr/>
        </p:nvSpPr>
        <p:spPr>
          <a:xfrm>
            <a:off x="132520" y="1664831"/>
            <a:ext cx="3299793" cy="81564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471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uiExpand="1" build="p"/>
      <p:bldP spid="1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00600" y="1394029"/>
            <a:ext cx="1828800" cy="3337992"/>
          </a:xfrm>
        </p:spPr>
        <p:txBody>
          <a:bodyPr/>
          <a:lstStyle/>
          <a:p>
            <a:r>
              <a:rPr lang="en-US" b="1" dirty="0"/>
              <a:t>I.A. + Blockchain</a:t>
            </a:r>
          </a:p>
          <a:p>
            <a:pPr lvl="1"/>
            <a:r>
              <a:rPr lang="en-US" dirty="0"/>
              <a:t>São </a:t>
            </a:r>
            <a:r>
              <a:rPr lang="en-US" dirty="0" err="1"/>
              <a:t>tecnologias</a:t>
            </a:r>
            <a:r>
              <a:rPr lang="en-US" dirty="0"/>
              <a:t> </a:t>
            </a:r>
            <a:r>
              <a:rPr lang="en-US" dirty="0" err="1"/>
              <a:t>complementares</a:t>
            </a:r>
            <a:r>
              <a:rPr lang="en-US" dirty="0"/>
              <a:t> com </a:t>
            </a:r>
            <a:r>
              <a:rPr lang="en-US" dirty="0" err="1"/>
              <a:t>alta</a:t>
            </a:r>
            <a:r>
              <a:rPr lang="en-US" dirty="0"/>
              <a:t> </a:t>
            </a:r>
            <a:r>
              <a:rPr lang="en-US" dirty="0" err="1"/>
              <a:t>sinergia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394029"/>
            <a:ext cx="1828800" cy="3337992"/>
          </a:xfrm>
        </p:spPr>
        <p:txBody>
          <a:bodyPr/>
          <a:lstStyle/>
          <a:p>
            <a:r>
              <a:rPr lang="pt-BR" b="1" dirty="0"/>
              <a:t>Modelo</a:t>
            </a:r>
          </a:p>
          <a:p>
            <a:pPr lvl="1"/>
            <a:r>
              <a:rPr lang="en-US" dirty="0" err="1">
                <a:solidFill>
                  <a:srgbClr val="000000"/>
                </a:solidFill>
              </a:rPr>
              <a:t>Desenvolvimento</a:t>
            </a:r>
            <a:r>
              <a:rPr lang="en-US" dirty="0">
                <a:solidFill>
                  <a:srgbClr val="000000"/>
                </a:solidFill>
              </a:rPr>
              <a:t> do </a:t>
            </a:r>
            <a:r>
              <a:rPr lang="en-US" dirty="0" err="1">
                <a:solidFill>
                  <a:srgbClr val="000000"/>
                </a:solidFill>
              </a:rPr>
              <a:t>processo</a:t>
            </a:r>
            <a:r>
              <a:rPr lang="en-US" dirty="0">
                <a:solidFill>
                  <a:srgbClr val="000000"/>
                </a:solidFill>
              </a:rPr>
              <a:t> de:</a:t>
            </a:r>
          </a:p>
          <a:p>
            <a:pPr lvl="1"/>
            <a:r>
              <a:rPr lang="en-US" dirty="0" err="1">
                <a:solidFill>
                  <a:srgbClr val="000000"/>
                </a:solidFill>
              </a:rPr>
              <a:t>Aquisição</a:t>
            </a:r>
            <a:r>
              <a:rPr lang="en-US" dirty="0">
                <a:solidFill>
                  <a:srgbClr val="000000"/>
                </a:solidFill>
              </a:rPr>
              <a:t> de dados &gt; </a:t>
            </a:r>
            <a:r>
              <a:rPr lang="en-US" dirty="0" err="1">
                <a:solidFill>
                  <a:srgbClr val="000000"/>
                </a:solidFill>
              </a:rPr>
              <a:t>Anotação</a:t>
            </a:r>
            <a:r>
              <a:rPr lang="en-US" dirty="0">
                <a:solidFill>
                  <a:srgbClr val="000000"/>
                </a:solidFill>
              </a:rPr>
              <a:t> das imagens &gt; </a:t>
            </a:r>
            <a:r>
              <a:rPr lang="en-US" dirty="0" err="1">
                <a:solidFill>
                  <a:srgbClr val="000000"/>
                </a:solidFill>
              </a:rPr>
              <a:t>Treinamento</a:t>
            </a:r>
            <a:r>
              <a:rPr lang="en-US" dirty="0">
                <a:solidFill>
                  <a:srgbClr val="000000"/>
                </a:solidFill>
              </a:rPr>
              <a:t> do </a:t>
            </a:r>
            <a:r>
              <a:rPr lang="en-US" dirty="0" err="1">
                <a:solidFill>
                  <a:srgbClr val="000000"/>
                </a:solidFill>
              </a:rPr>
              <a:t>modelo</a:t>
            </a:r>
            <a:endParaRPr lang="en-US" i="1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394029"/>
            <a:ext cx="1828800" cy="3337992"/>
          </a:xfrm>
        </p:spPr>
        <p:txBody>
          <a:bodyPr/>
          <a:lstStyle/>
          <a:p>
            <a:r>
              <a:rPr lang="en-US" b="1" dirty="0"/>
              <a:t>Blockchain</a:t>
            </a:r>
          </a:p>
          <a:p>
            <a:pPr lvl="1"/>
            <a:r>
              <a:rPr lang="en-US" dirty="0" err="1"/>
              <a:t>Conexão</a:t>
            </a:r>
            <a:r>
              <a:rPr lang="en-US" dirty="0"/>
              <a:t> de </a:t>
            </a:r>
            <a:r>
              <a:rPr lang="en-US" dirty="0" err="1"/>
              <a:t>realização</a:t>
            </a:r>
            <a:r>
              <a:rPr lang="en-US" dirty="0"/>
              <a:t> de </a:t>
            </a:r>
            <a:r>
              <a:rPr lang="en-US" dirty="0" err="1"/>
              <a:t>transações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rede Blockchai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086600" y="1394029"/>
            <a:ext cx="1828800" cy="3337992"/>
          </a:xfrm>
        </p:spPr>
        <p:txBody>
          <a:bodyPr/>
          <a:lstStyle/>
          <a:p>
            <a:r>
              <a:rPr lang="pt-BR" b="1" dirty="0"/>
              <a:t>Web App</a:t>
            </a:r>
          </a:p>
          <a:p>
            <a:pPr lvl="1"/>
            <a:r>
              <a:rPr lang="en-US" dirty="0" err="1">
                <a:solidFill>
                  <a:srgbClr val="000000"/>
                </a:solidFill>
              </a:rPr>
              <a:t>Integração</a:t>
            </a:r>
            <a:r>
              <a:rPr lang="en-US" dirty="0">
                <a:solidFill>
                  <a:srgbClr val="000000"/>
                </a:solidFill>
              </a:rPr>
              <a:t> das </a:t>
            </a:r>
            <a:r>
              <a:rPr lang="en-US" dirty="0" err="1">
                <a:solidFill>
                  <a:srgbClr val="000000"/>
                </a:solidFill>
              </a:rPr>
              <a:t>tecnologias</a:t>
            </a:r>
            <a:r>
              <a:rPr lang="en-US" dirty="0">
                <a:solidFill>
                  <a:srgbClr val="000000"/>
                </a:solidFill>
              </a:rPr>
              <a:t> e </a:t>
            </a:r>
            <a:r>
              <a:rPr lang="en-US" dirty="0" err="1">
                <a:solidFill>
                  <a:srgbClr val="000000"/>
                </a:solidFill>
              </a:rPr>
              <a:t>criação</a:t>
            </a:r>
            <a:r>
              <a:rPr lang="en-US" dirty="0">
                <a:solidFill>
                  <a:srgbClr val="000000"/>
                </a:solidFill>
              </a:rPr>
              <a:t> de </a:t>
            </a:r>
            <a:r>
              <a:rPr lang="en-US" dirty="0" err="1">
                <a:solidFill>
                  <a:srgbClr val="000000"/>
                </a:solidFill>
              </a:rPr>
              <a:t>uma</a:t>
            </a:r>
            <a:r>
              <a:rPr lang="en-US" dirty="0">
                <a:solidFill>
                  <a:srgbClr val="000000"/>
                </a:solidFill>
              </a:rPr>
              <a:t> interface web para </a:t>
            </a:r>
            <a:r>
              <a:rPr lang="en-US" dirty="0" err="1">
                <a:solidFill>
                  <a:srgbClr val="000000"/>
                </a:solidFill>
              </a:rPr>
              <a:t>visualização</a:t>
            </a:r>
            <a:r>
              <a:rPr lang="en-US" dirty="0">
                <a:solidFill>
                  <a:srgbClr val="000000"/>
                </a:solidFill>
              </a:rPr>
              <a:t> dos </a:t>
            </a:r>
            <a:r>
              <a:rPr lang="en-US" dirty="0" err="1">
                <a:solidFill>
                  <a:srgbClr val="000000"/>
                </a:solidFill>
              </a:rPr>
              <a:t>resultados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3D4A89F-3945-49CF-9F66-A83C42929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/>
          <a:p>
            <a:r>
              <a:rPr lang="en-US" dirty="0" err="1"/>
              <a:t>Resumo</a:t>
            </a:r>
            <a:r>
              <a:rPr lang="en-US" dirty="0"/>
              <a:t> do </a:t>
            </a:r>
            <a:r>
              <a:rPr lang="en-US" dirty="0" err="1"/>
              <a:t>Laborató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61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7" grpId="0" build="p"/>
      <p:bldP spid="8" grpId="0" build="p"/>
      <p:bldP spid="9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brigado</a:t>
            </a:r>
            <a:r>
              <a:rPr lang="en-US" dirty="0"/>
              <a:t>!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Paulo Coronado</a:t>
            </a:r>
          </a:p>
          <a:p>
            <a:r>
              <a:rPr lang="en-US" sz="1400" dirty="0"/>
              <a:t>Developer &amp; Architect – CTO Office IBM Brazil</a:t>
            </a:r>
          </a:p>
          <a:p>
            <a:r>
              <a:rPr lang="en-US" sz="1400" dirty="0"/>
              <a:t>—</a:t>
            </a:r>
          </a:p>
          <a:p>
            <a:r>
              <a:rPr lang="en-US" sz="1400" dirty="0"/>
              <a:t>pcoronado@ibm.com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1997BE-3099-4111-A147-728C92F12A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234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76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chai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head</a:t>
            </a:r>
          </a:p>
          <a:p>
            <a:pPr lvl="1"/>
            <a:r>
              <a:rPr lang="en-US" dirty="0"/>
              <a:t>Copy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12" name="Picture Placeholder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-1587"/>
            <a:ext cx="457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247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gradFill>
          <a:gsLst>
            <a:gs pos="0">
              <a:schemeClr val="bg2">
                <a:lumMod val="75000"/>
              </a:schemeClr>
            </a:gs>
            <a:gs pos="100000">
              <a:schemeClr val="bg2">
                <a:lumMod val="95000"/>
              </a:schemeClr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6" y="205016"/>
            <a:ext cx="8686800" cy="44735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b="0" dirty="0">
                <a:solidFill>
                  <a:schemeClr val="accent2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Servers</a:t>
            </a:r>
            <a:r>
              <a:rPr lang="en-US" b="0" dirty="0"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 </a:t>
            </a:r>
            <a:br>
              <a:rPr lang="en-US" b="0" dirty="0">
                <a:latin typeface="IBM Plex Sans Light" panose="020B0403050203000203" pitchFamily="34" charset="77"/>
                <a:ea typeface="IBM Plex Mono" charset="0"/>
                <a:cs typeface="IBM Plex Mono" charset="0"/>
              </a:rPr>
            </a:br>
            <a:r>
              <a:rPr lang="en-US" b="0" dirty="0">
                <a:solidFill>
                  <a:schemeClr val="tx1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that </a:t>
            </a:r>
            <a:br>
              <a:rPr lang="en-US" b="0" dirty="0">
                <a:solidFill>
                  <a:schemeClr val="tx1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</a:br>
            <a:r>
              <a:rPr lang="en-US" b="0" dirty="0">
                <a:solidFill>
                  <a:schemeClr val="tx1"/>
                </a:solidFill>
                <a:latin typeface="IBM Plex Sans Light" panose="020B0403050203000203" pitchFamily="34" charset="77"/>
                <a:ea typeface="IBM Plex Mono" charset="0"/>
                <a:cs typeface="IBM Plex Mono" charset="0"/>
              </a:rPr>
              <a:t>serv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pic>
        <p:nvPicPr>
          <p:cNvPr id="4" name="Picture 2" descr="Resultado de imagem para futuristic toll">
            <a:extLst>
              <a:ext uri="{FF2B5EF4-FFF2-40B4-BE49-F238E27FC236}">
                <a16:creationId xmlns:a16="http://schemas.microsoft.com/office/drawing/2014/main" id="{C2CABBEC-FF01-44A6-B180-9EC1050DF8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816688"/>
            <a:ext cx="4597047" cy="358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138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/>
            </a:gs>
            <a:gs pos="99000">
              <a:schemeClr val="accent2">
                <a:lumMod val="5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5081226" cy="3584448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err="1"/>
              <a:t>Pré-requisitos</a:t>
            </a:r>
            <a:r>
              <a:rPr lang="en-US" b="1" dirty="0"/>
              <a:t> e </a:t>
            </a:r>
            <a:r>
              <a:rPr lang="en-US" b="1" dirty="0" err="1"/>
              <a:t>Tecnologias</a:t>
            </a:r>
            <a:r>
              <a:rPr lang="en-US" dirty="0"/>
              <a:t>	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err="1"/>
              <a:t>Introdução</a:t>
            </a:r>
            <a:r>
              <a:rPr lang="en-US" b="1" dirty="0"/>
              <a:t>:</a:t>
            </a:r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Inteligência</a:t>
            </a:r>
            <a:r>
              <a:rPr lang="en-US" dirty="0"/>
              <a:t> Artificial </a:t>
            </a:r>
            <a:r>
              <a:rPr lang="en-US" dirty="0" err="1"/>
              <a:t>Aplicada</a:t>
            </a:r>
            <a:endParaRPr lang="en-US" dirty="0"/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/>
              <a:t>Blockchain </a:t>
            </a:r>
            <a:r>
              <a:rPr lang="en-US" dirty="0" err="1"/>
              <a:t>Aplicada</a:t>
            </a:r>
            <a:endParaRPr lang="en-US" dirty="0"/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Problema</a:t>
            </a:r>
            <a:r>
              <a:rPr lang="en-US" dirty="0"/>
              <a:t> a ser </a:t>
            </a:r>
            <a:r>
              <a:rPr lang="en-US" dirty="0" err="1"/>
              <a:t>solucionado</a:t>
            </a:r>
            <a:endParaRPr lang="en-US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err="1"/>
              <a:t>Desenvolvimento</a:t>
            </a:r>
            <a:r>
              <a:rPr lang="en-US" b="1" dirty="0"/>
              <a:t>:</a:t>
            </a:r>
          </a:p>
          <a:p>
            <a:pPr marL="515938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Detecção</a:t>
            </a:r>
            <a:r>
              <a:rPr lang="en-US" dirty="0"/>
              <a:t> de </a:t>
            </a:r>
            <a:r>
              <a:rPr lang="en-US" dirty="0" err="1"/>
              <a:t>Objetos</a:t>
            </a:r>
            <a:endParaRPr lang="en-US" dirty="0"/>
          </a:p>
          <a:p>
            <a:pPr marL="796925" lvl="2" indent="-400050">
              <a:lnSpc>
                <a:spcPct val="150000"/>
              </a:lnSpc>
              <a:buFont typeface="+mj-lt"/>
              <a:buAutoNum type="romanLcPeriod"/>
            </a:pPr>
            <a:r>
              <a:rPr lang="en-US" dirty="0" err="1"/>
              <a:t>Anotando</a:t>
            </a:r>
            <a:r>
              <a:rPr lang="en-US" dirty="0"/>
              <a:t> imagens com Cloud Annotations Tool</a:t>
            </a:r>
          </a:p>
          <a:p>
            <a:pPr marL="796925" lvl="2" indent="-400050">
              <a:lnSpc>
                <a:spcPct val="150000"/>
              </a:lnSpc>
              <a:buFont typeface="+mj-lt"/>
              <a:buAutoNum type="romanLcPeriod"/>
            </a:pPr>
            <a:r>
              <a:rPr lang="en-US" dirty="0" err="1"/>
              <a:t>Treinando</a:t>
            </a:r>
            <a:r>
              <a:rPr lang="en-US" dirty="0"/>
              <a:t> </a:t>
            </a:r>
            <a:r>
              <a:rPr lang="en-US" dirty="0" err="1"/>
              <a:t>modelo</a:t>
            </a:r>
            <a:r>
              <a:rPr lang="en-US" dirty="0"/>
              <a:t> com Watson Machine Learning</a:t>
            </a:r>
          </a:p>
          <a:p>
            <a:pPr marL="573088" lvl="1" indent="-400050">
              <a:lnSpc>
                <a:spcPct val="150000"/>
              </a:lnSpc>
              <a:buFont typeface="+mj-lt"/>
              <a:buAutoNum type="alphaLcPeriod"/>
            </a:pPr>
            <a:r>
              <a:rPr lang="en-US" dirty="0" err="1"/>
              <a:t>Conectando</a:t>
            </a:r>
            <a:r>
              <a:rPr lang="en-US" dirty="0"/>
              <a:t> </a:t>
            </a:r>
            <a:r>
              <a:rPr lang="en-US" dirty="0" err="1"/>
              <a:t>webapp</a:t>
            </a:r>
            <a:r>
              <a:rPr lang="en-US" dirty="0"/>
              <a:t> à rede Blockchain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328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gradFill>
          <a:gsLst>
            <a:gs pos="0">
              <a:schemeClr val="bg1">
                <a:lumMod val="75000"/>
                <a:lumOff val="25000"/>
              </a:schemeClr>
            </a:gs>
            <a:gs pos="100000">
              <a:schemeClr val="bg1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Fact with small description acting </a:t>
            </a:r>
            <a:br>
              <a:rPr lang="en-US" dirty="0"/>
            </a:br>
            <a:r>
              <a:rPr lang="en-US" dirty="0"/>
              <a:t>as headline or title with imag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i-FI" b="0" dirty="0">
                <a:latin typeface="IBM Plex Mono" panose="020B0509050203000203" pitchFamily="49" charset="77"/>
              </a:rPr>
              <a:t>1,459</a:t>
            </a: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" b="18"/>
          <a:stretch/>
        </p:blipFill>
        <p:spPr/>
      </p:pic>
    </p:spTree>
    <p:extLst>
      <p:ext uri="{BB962C8B-B14F-4D97-AF65-F5344CB8AC3E}">
        <p14:creationId xmlns:p14="http://schemas.microsoft.com/office/powerpoint/2010/main" val="1788337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1" b="782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0586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goes her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4" t="3671" r="12204" b="756"/>
          <a:stretch/>
        </p:blipFill>
        <p:spPr>
          <a:xfrm>
            <a:off x="4572000" y="1289050"/>
            <a:ext cx="4572000" cy="3854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t="35879" r="442" b="8171"/>
          <a:stretch/>
        </p:blipFill>
        <p:spPr>
          <a:xfrm>
            <a:off x="0" y="1289051"/>
            <a:ext cx="4572000" cy="38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50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214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Copy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"/>
            <a:ext cx="4572000" cy="5143500"/>
          </a:xfrm>
        </p:spPr>
      </p:pic>
    </p:spTree>
    <p:extLst>
      <p:ext uri="{BB962C8B-B14F-4D97-AF65-F5344CB8AC3E}">
        <p14:creationId xmlns:p14="http://schemas.microsoft.com/office/powerpoint/2010/main" val="12632295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lin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6565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aliquet</a:t>
            </a:r>
            <a:r>
              <a:rPr lang="en-US" sz="1400"/>
              <a:t>, </a:t>
            </a:r>
            <a:r>
              <a:rPr lang="en-US" sz="1400" err="1"/>
              <a:t>arcu</a:t>
            </a:r>
            <a:r>
              <a:rPr lang="en-US" sz="1400"/>
              <a:t> </a:t>
            </a:r>
            <a:r>
              <a:rPr lang="en-US" sz="1400" err="1"/>
              <a:t>sed</a:t>
            </a:r>
            <a:r>
              <a:rPr lang="en-US" sz="1400"/>
              <a:t> </a:t>
            </a:r>
            <a:r>
              <a:rPr lang="en-US" sz="1400" err="1"/>
              <a:t>fermentum</a:t>
            </a:r>
            <a:r>
              <a:rPr lang="en-US" sz="1400"/>
              <a:t> </a:t>
            </a:r>
            <a:r>
              <a:rPr lang="en-US" sz="1400" err="1"/>
              <a:t>tincidunt</a:t>
            </a:r>
            <a:r>
              <a:rPr lang="en-US" sz="1400"/>
              <a:t>,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orci</a:t>
            </a:r>
            <a:r>
              <a:rPr lang="en-US" sz="1400"/>
              <a:t> </a:t>
            </a:r>
            <a:r>
              <a:rPr lang="en-US" sz="1400" err="1"/>
              <a:t>ullamcorper</a:t>
            </a:r>
            <a:r>
              <a:rPr lang="en-US" sz="1400"/>
              <a:t> </a:t>
            </a:r>
            <a:r>
              <a:rPr lang="en-US" sz="1400" err="1"/>
              <a:t>purus</a:t>
            </a:r>
            <a:r>
              <a:rPr lang="en-US" sz="1400"/>
              <a:t>,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sodales</a:t>
            </a:r>
            <a:r>
              <a:rPr lang="en-US" sz="1400"/>
              <a:t> </a:t>
            </a:r>
            <a:r>
              <a:rPr lang="en-US" sz="1400" err="1"/>
              <a:t>tellus</a:t>
            </a:r>
            <a:r>
              <a:rPr lang="en-US" sz="1400"/>
              <a:t> </a:t>
            </a:r>
            <a:r>
              <a:rPr lang="en-US" sz="1400" err="1"/>
              <a:t>enim</a:t>
            </a:r>
            <a:r>
              <a:rPr lang="en-US" sz="1400"/>
              <a:t> non </a:t>
            </a:r>
            <a:r>
              <a:rPr lang="en-US" sz="1400" err="1"/>
              <a:t>arcu</a:t>
            </a:r>
            <a:r>
              <a:rPr lang="en-US" sz="1400"/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620669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,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,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gradFill flip="none" rotWithShape="1">
            <a:gsLst>
              <a:gs pos="0">
                <a:schemeClr val="bg2">
                  <a:lumMod val="65000"/>
                </a:schemeClr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</p:spPr>
        <p:txBody>
          <a:bodyPr/>
          <a:lstStyle/>
          <a:p>
            <a:r>
              <a:rPr lang="en-US" sz="1400"/>
              <a:t>Text or imag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4859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ge tit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ubhead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aphicFrame>
        <p:nvGraphicFramePr>
          <p:cNvPr id="6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0279754"/>
              </p:ext>
            </p:extLst>
          </p:nvPr>
        </p:nvGraphicFramePr>
        <p:xfrm>
          <a:off x="2766218" y="908376"/>
          <a:ext cx="3154363" cy="2820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785034"/>
              </p:ext>
            </p:extLst>
          </p:nvPr>
        </p:nvGraphicFramePr>
        <p:xfrm>
          <a:off x="5971103" y="908868"/>
          <a:ext cx="3154363" cy="2820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64188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7" name="Table Placeholder 6"/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141384570"/>
              </p:ext>
            </p:extLst>
          </p:nvPr>
        </p:nvGraphicFramePr>
        <p:xfrm>
          <a:off x="2514600" y="225425"/>
          <a:ext cx="6400800" cy="4203710"/>
        </p:xfrm>
        <a:graphic>
          <a:graphicData uri="http://schemas.openxmlformats.org/drawingml/2006/table">
            <a:tbl>
              <a:tblPr firstRow="1" firstCol="1">
                <a:tableStyleId>{F2DE63D5-997A-4646-A377-4702673A728D}</a:tableStyleId>
              </a:tblPr>
              <a:tblGrid>
                <a:gridCol w="142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0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0265"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accent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Mauris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posuere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Mauris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s-ES_tradnl" sz="1000" b="0" dirty="0" err="1">
                          <a:solidFill>
                            <a:schemeClr val="bg2"/>
                          </a:solidFill>
                        </a:rPr>
                        <a:t>posuere</a:t>
                      </a:r>
                      <a:r>
                        <a:rPr lang="es-ES_tradnl" sz="1000" b="0" dirty="0">
                          <a:solidFill>
                            <a:schemeClr val="bg2"/>
                          </a:solidFill>
                        </a:rPr>
                        <a:t> libero</a:t>
                      </a:r>
                      <a:endParaRPr lang="en-US" sz="1000" b="0" i="0" dirty="0">
                        <a:solidFill>
                          <a:schemeClr val="bg2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>
                          <a:solidFill>
                            <a:schemeClr val="accent2"/>
                          </a:solidFill>
                          <a:effectLst/>
                        </a:rPr>
                        <a:t>Lorem Ipsum</a:t>
                      </a:r>
                      <a:endParaRPr lang="hr-HR" sz="1000" b="0" i="0" u="none" strike="noStrike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0265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Lorem</a:t>
                      </a:r>
                      <a:r>
                        <a:rPr lang="hr-HR" sz="1000" b="0" u="none" strike="noStrike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hr-HR" sz="1000" b="0" u="none" strike="noStrike" dirty="0" err="1">
                          <a:solidFill>
                            <a:schemeClr val="accent2"/>
                          </a:solidFill>
                          <a:effectLst/>
                        </a:rPr>
                        <a:t>Ipsum</a:t>
                      </a:r>
                      <a:endParaRPr lang="hr-HR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err="1">
                          <a:effectLst/>
                        </a:rPr>
                        <a:t>Mauris</a:t>
                      </a:r>
                      <a:r>
                        <a:rPr lang="es-ES_tradnl" sz="1000" u="none" strike="noStrike">
                          <a:effectLst/>
                        </a:rPr>
                        <a:t> </a:t>
                      </a:r>
                      <a:r>
                        <a:rPr lang="es-ES_tradnl" sz="1000" u="none" strike="noStrike" err="1">
                          <a:effectLst/>
                        </a:rPr>
                        <a:t>posuere</a:t>
                      </a:r>
                      <a:r>
                        <a:rPr lang="es-ES_tradnl" sz="1000" u="none" strike="noStrike">
                          <a:effectLst/>
                        </a:rPr>
                        <a:t> libero</a:t>
                      </a: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u="none" strike="noStrike" dirty="0" err="1">
                          <a:effectLst/>
                        </a:rPr>
                        <a:t>Mauris</a:t>
                      </a:r>
                      <a:r>
                        <a:rPr lang="es-ES_tradnl" sz="1000" u="none" strike="noStrike" dirty="0">
                          <a:effectLst/>
                        </a:rPr>
                        <a:t> </a:t>
                      </a:r>
                      <a:r>
                        <a:rPr lang="es-ES_tradnl" sz="1000" u="none" strike="noStrike" dirty="0" err="1">
                          <a:effectLst/>
                        </a:rPr>
                        <a:t>posuere</a:t>
                      </a:r>
                      <a:r>
                        <a:rPr lang="es-ES_tradnl" sz="1000" u="none" strike="noStrike" dirty="0">
                          <a:effectLst/>
                        </a:rPr>
                        <a:t> libero</a:t>
                      </a:r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7304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2"/>
            </a:gs>
            <a:gs pos="100000">
              <a:schemeClr val="accent3">
                <a:lumMod val="75000"/>
              </a:schemeClr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9BD2A2-112A-4FF1-8F62-D4055B4EB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/>
          <a:p>
            <a:r>
              <a:rPr lang="en-US" dirty="0" err="1"/>
              <a:t>Pré-requisitos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5D261F0-A5D6-42E1-8270-1316E8E342AB}"/>
              </a:ext>
            </a:extLst>
          </p:cNvPr>
          <p:cNvSpPr txBox="1">
            <a:spLocks/>
          </p:cNvSpPr>
          <p:nvPr/>
        </p:nvSpPr>
        <p:spPr>
          <a:xfrm>
            <a:off x="228600" y="874931"/>
            <a:ext cx="6645166" cy="855726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onta IBM Cloud: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loud.ibm.co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de.js – </a:t>
            </a:r>
            <a:r>
              <a:rPr lang="en-US" dirty="0" err="1"/>
              <a:t>versão</a:t>
            </a:r>
            <a:r>
              <a:rPr lang="en-US" dirty="0"/>
              <a:t> 8.10.0 </a:t>
            </a:r>
            <a:r>
              <a:rPr lang="en-US" dirty="0" err="1"/>
              <a:t>ou</a:t>
            </a:r>
            <a:r>
              <a:rPr lang="en-US" dirty="0"/>
              <a:t> superior: </a:t>
            </a:r>
            <a:r>
              <a:rPr lang="en-US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odejs.org/en/download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Usuários</a:t>
            </a:r>
            <a:r>
              <a:rPr lang="en-US" b="1" dirty="0"/>
              <a:t> Windows: </a:t>
            </a:r>
            <a:r>
              <a:rPr lang="en-US" b="1" dirty="0" err="1"/>
              <a:t>npm</a:t>
            </a:r>
            <a:r>
              <a:rPr lang="en-US" b="1" dirty="0"/>
              <a:t> install --global windows-build-tools </a:t>
            </a:r>
            <a:endParaRPr lang="pt-BR" b="1" dirty="0"/>
          </a:p>
          <a:p>
            <a:endParaRPr lang="pt-BR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B0E1CA3-B00A-41C2-80A9-7A9D8FD98EAB}"/>
              </a:ext>
            </a:extLst>
          </p:cNvPr>
          <p:cNvSpPr txBox="1">
            <a:spLocks/>
          </p:cNvSpPr>
          <p:nvPr/>
        </p:nvSpPr>
        <p:spPr>
          <a:xfrm>
            <a:off x="228600" y="2143887"/>
            <a:ext cx="4114800" cy="855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17475" indent="-117475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dirty="0" err="1"/>
              <a:t>Tecnologia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6FED1A1-CA67-43F6-A314-2562158CBFFF}"/>
              </a:ext>
            </a:extLst>
          </p:cNvPr>
          <p:cNvSpPr txBox="1">
            <a:spLocks/>
          </p:cNvSpPr>
          <p:nvPr/>
        </p:nvSpPr>
        <p:spPr>
          <a:xfrm>
            <a:off x="228600" y="2768346"/>
            <a:ext cx="6645166" cy="1384371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Watson Machin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IBM Blockchain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IBM Object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TensorFlow.j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2CA831-6FE1-4CBD-AC21-DF6EF543C3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4694" y="2318521"/>
            <a:ext cx="5050483" cy="2284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68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– comple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514600" y="1162444"/>
            <a:ext cx="6286500" cy="3053454"/>
            <a:chOff x="2514600" y="1162444"/>
            <a:chExt cx="6286500" cy="3053454"/>
          </a:xfrm>
        </p:grpSpPr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5196149" y="1162444"/>
              <a:ext cx="914400" cy="2743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64008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en-US" sz="1000" dirty="0">
                  <a:solidFill>
                    <a:schemeClr val="bg2"/>
                  </a:solidFill>
                  <a:latin typeface="+mn-lt"/>
                  <a:ea typeface="MS PGothic" charset="-128"/>
                </a:rPr>
                <a:t>Title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660338" y="1727914"/>
              <a:ext cx="1990203" cy="274320"/>
              <a:chOff x="4660338" y="1667005"/>
              <a:chExt cx="1990203" cy="274320"/>
            </a:xfrm>
          </p:grpSpPr>
          <p:sp>
            <p:nvSpPr>
              <p:cNvPr id="101" name="Rectangle 9"/>
              <p:cNvSpPr>
                <a:spLocks noChangeArrowheads="1"/>
              </p:cNvSpPr>
              <p:nvPr/>
            </p:nvSpPr>
            <p:spPr bwMode="auto">
              <a:xfrm>
                <a:off x="4660338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>
                    <a:solidFill>
                      <a:schemeClr val="bg2"/>
                    </a:solidFill>
                    <a:latin typeface="+mn-lt"/>
                    <a:ea typeface="MS PGothic" charset="-128"/>
                  </a:rPr>
                  <a:t>Title</a:t>
                </a:r>
              </a:p>
            </p:txBody>
          </p:sp>
          <p:sp>
            <p:nvSpPr>
              <p:cNvPr id="102" name="Rectangle 9"/>
              <p:cNvSpPr>
                <a:spLocks noChangeArrowheads="1"/>
              </p:cNvSpPr>
              <p:nvPr/>
            </p:nvSpPr>
            <p:spPr bwMode="auto">
              <a:xfrm>
                <a:off x="5736141" y="1667005"/>
                <a:ext cx="914400" cy="27432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64008" anchor="t" anchorCtr="0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GB" altLang="en-US" sz="1000">
                    <a:solidFill>
                      <a:schemeClr val="bg2"/>
                    </a:solidFill>
                    <a:latin typeface="+mn-lt"/>
                    <a:ea typeface="MS PGothic" charset="-128"/>
                  </a:rPr>
                  <a:t>Title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514600" y="2289070"/>
              <a:ext cx="6286500" cy="1926828"/>
              <a:chOff x="2514600" y="2289070"/>
              <a:chExt cx="6286500" cy="192682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514600" y="2295420"/>
                <a:ext cx="914400" cy="1920478"/>
                <a:chOff x="2514600" y="2295420"/>
                <a:chExt cx="914400" cy="1920478"/>
              </a:xfrm>
            </p:grpSpPr>
            <p:sp>
              <p:nvSpPr>
                <p:cNvPr id="88" name="Rectangle 143"/>
                <p:cNvSpPr>
                  <a:spLocks noChangeArrowheads="1"/>
                </p:cNvSpPr>
                <p:nvPr/>
              </p:nvSpPr>
              <p:spPr bwMode="auto">
                <a:xfrm>
                  <a:off x="25146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89" name="Elbow Connector 88"/>
                <p:cNvCxnSpPr/>
                <p:nvPr/>
              </p:nvCxnSpPr>
              <p:spPr>
                <a:xfrm rot="10800000">
                  <a:off x="26124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Elbow Connector 89"/>
                <p:cNvCxnSpPr/>
                <p:nvPr/>
              </p:nvCxnSpPr>
              <p:spPr>
                <a:xfrm rot="16200000" flipV="1">
                  <a:off x="25416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Elbow Connector 90"/>
                <p:cNvCxnSpPr/>
                <p:nvPr/>
              </p:nvCxnSpPr>
              <p:spPr>
                <a:xfrm rot="16200000" flipV="1">
                  <a:off x="25416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Elbow Connector 91"/>
                <p:cNvCxnSpPr/>
                <p:nvPr/>
              </p:nvCxnSpPr>
              <p:spPr>
                <a:xfrm rot="16200000" flipV="1">
                  <a:off x="25416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Elbow Connector 92"/>
                <p:cNvCxnSpPr/>
                <p:nvPr/>
              </p:nvCxnSpPr>
              <p:spPr>
                <a:xfrm rot="16200000" flipV="1">
                  <a:off x="25416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Elbow Connector 93"/>
                <p:cNvCxnSpPr/>
                <p:nvPr/>
              </p:nvCxnSpPr>
              <p:spPr>
                <a:xfrm rot="16200000" flipV="1">
                  <a:off x="25416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44"/>
                <p:cNvSpPr>
                  <a:spLocks noChangeArrowheads="1"/>
                </p:cNvSpPr>
                <p:nvPr/>
              </p:nvSpPr>
              <p:spPr bwMode="auto">
                <a:xfrm>
                  <a:off x="27432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6" name="Rectangle 152"/>
                <p:cNvSpPr>
                  <a:spLocks noChangeArrowheads="1"/>
                </p:cNvSpPr>
                <p:nvPr/>
              </p:nvSpPr>
              <p:spPr bwMode="auto">
                <a:xfrm>
                  <a:off x="27432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7" name="Rectangle 155"/>
                <p:cNvSpPr>
                  <a:spLocks noChangeArrowheads="1"/>
                </p:cNvSpPr>
                <p:nvPr/>
              </p:nvSpPr>
              <p:spPr bwMode="auto">
                <a:xfrm>
                  <a:off x="27432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8" name="Rectangle 158"/>
                <p:cNvSpPr>
                  <a:spLocks noChangeArrowheads="1"/>
                </p:cNvSpPr>
                <p:nvPr/>
              </p:nvSpPr>
              <p:spPr bwMode="auto">
                <a:xfrm>
                  <a:off x="27432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99" name="Rectangle 161"/>
                <p:cNvSpPr>
                  <a:spLocks noChangeArrowheads="1"/>
                </p:cNvSpPr>
                <p:nvPr/>
              </p:nvSpPr>
              <p:spPr bwMode="auto">
                <a:xfrm>
                  <a:off x="27432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100" name="Rectangle 164"/>
                <p:cNvSpPr>
                  <a:spLocks noChangeArrowheads="1"/>
                </p:cNvSpPr>
                <p:nvPr/>
              </p:nvSpPr>
              <p:spPr bwMode="auto">
                <a:xfrm>
                  <a:off x="27432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3589020" y="2295420"/>
                <a:ext cx="914400" cy="1920478"/>
                <a:chOff x="3589020" y="2295420"/>
                <a:chExt cx="914400" cy="1920478"/>
              </a:xfrm>
            </p:grpSpPr>
            <p:sp>
              <p:nvSpPr>
                <p:cNvPr id="75" name="Rectangle 143"/>
                <p:cNvSpPr>
                  <a:spLocks noChangeArrowheads="1"/>
                </p:cNvSpPr>
                <p:nvPr/>
              </p:nvSpPr>
              <p:spPr bwMode="auto">
                <a:xfrm>
                  <a:off x="358902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76" name="Elbow Connector 75"/>
                <p:cNvCxnSpPr/>
                <p:nvPr/>
              </p:nvCxnSpPr>
              <p:spPr>
                <a:xfrm rot="10800000">
                  <a:off x="368682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Elbow Connector 76"/>
                <p:cNvCxnSpPr/>
                <p:nvPr/>
              </p:nvCxnSpPr>
              <p:spPr>
                <a:xfrm rot="16200000" flipV="1">
                  <a:off x="361604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Elbow Connector 77"/>
                <p:cNvCxnSpPr/>
                <p:nvPr/>
              </p:nvCxnSpPr>
              <p:spPr>
                <a:xfrm rot="16200000" flipV="1">
                  <a:off x="361604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Elbow Connector 78"/>
                <p:cNvCxnSpPr/>
                <p:nvPr/>
              </p:nvCxnSpPr>
              <p:spPr>
                <a:xfrm rot="16200000" flipV="1">
                  <a:off x="361604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Elbow Connector 79"/>
                <p:cNvCxnSpPr/>
                <p:nvPr/>
              </p:nvCxnSpPr>
              <p:spPr>
                <a:xfrm rot="16200000" flipV="1">
                  <a:off x="361604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80"/>
                <p:cNvCxnSpPr/>
                <p:nvPr/>
              </p:nvCxnSpPr>
              <p:spPr>
                <a:xfrm rot="16200000" flipV="1">
                  <a:off x="361604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Rectangle 144"/>
                <p:cNvSpPr>
                  <a:spLocks noChangeArrowheads="1"/>
                </p:cNvSpPr>
                <p:nvPr/>
              </p:nvSpPr>
              <p:spPr bwMode="auto">
                <a:xfrm>
                  <a:off x="381762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3" name="Rectangle 152"/>
                <p:cNvSpPr>
                  <a:spLocks noChangeArrowheads="1"/>
                </p:cNvSpPr>
                <p:nvPr/>
              </p:nvSpPr>
              <p:spPr bwMode="auto">
                <a:xfrm>
                  <a:off x="381762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4" name="Rectangle 155"/>
                <p:cNvSpPr>
                  <a:spLocks noChangeArrowheads="1"/>
                </p:cNvSpPr>
                <p:nvPr/>
              </p:nvSpPr>
              <p:spPr bwMode="auto">
                <a:xfrm>
                  <a:off x="381762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5" name="Rectangle 158"/>
                <p:cNvSpPr>
                  <a:spLocks noChangeArrowheads="1"/>
                </p:cNvSpPr>
                <p:nvPr/>
              </p:nvSpPr>
              <p:spPr bwMode="auto">
                <a:xfrm>
                  <a:off x="381762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6" name="Rectangle 85"/>
                <p:cNvSpPr>
                  <a:spLocks noChangeArrowheads="1"/>
                </p:cNvSpPr>
                <p:nvPr/>
              </p:nvSpPr>
              <p:spPr bwMode="auto">
                <a:xfrm>
                  <a:off x="381762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87" name="Rectangle 164"/>
                <p:cNvSpPr>
                  <a:spLocks noChangeArrowheads="1"/>
                </p:cNvSpPr>
                <p:nvPr/>
              </p:nvSpPr>
              <p:spPr bwMode="auto">
                <a:xfrm>
                  <a:off x="381762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4663440" y="2295420"/>
                <a:ext cx="914400" cy="1920478"/>
                <a:chOff x="4663440" y="2295420"/>
                <a:chExt cx="914400" cy="1920478"/>
              </a:xfrm>
            </p:grpSpPr>
            <p:sp>
              <p:nvSpPr>
                <p:cNvPr id="62" name="Rectangle 143"/>
                <p:cNvSpPr>
                  <a:spLocks noChangeArrowheads="1"/>
                </p:cNvSpPr>
                <p:nvPr/>
              </p:nvSpPr>
              <p:spPr bwMode="auto">
                <a:xfrm>
                  <a:off x="466344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63" name="Elbow Connector 62"/>
                <p:cNvCxnSpPr/>
                <p:nvPr/>
              </p:nvCxnSpPr>
              <p:spPr>
                <a:xfrm rot="10800000">
                  <a:off x="476124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Elbow Connector 63"/>
                <p:cNvCxnSpPr/>
                <p:nvPr/>
              </p:nvCxnSpPr>
              <p:spPr>
                <a:xfrm rot="16200000" flipV="1">
                  <a:off x="469046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Elbow Connector 64"/>
                <p:cNvCxnSpPr/>
                <p:nvPr/>
              </p:nvCxnSpPr>
              <p:spPr>
                <a:xfrm rot="16200000" flipV="1">
                  <a:off x="469046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Elbow Connector 65"/>
                <p:cNvCxnSpPr/>
                <p:nvPr/>
              </p:nvCxnSpPr>
              <p:spPr>
                <a:xfrm rot="16200000" flipV="1">
                  <a:off x="469046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Elbow Connector 66"/>
                <p:cNvCxnSpPr/>
                <p:nvPr/>
              </p:nvCxnSpPr>
              <p:spPr>
                <a:xfrm rot="16200000" flipV="1">
                  <a:off x="469046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Elbow Connector 67"/>
                <p:cNvCxnSpPr/>
                <p:nvPr/>
              </p:nvCxnSpPr>
              <p:spPr>
                <a:xfrm rot="16200000" flipV="1">
                  <a:off x="469046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Rectangle 144"/>
                <p:cNvSpPr>
                  <a:spLocks noChangeArrowheads="1"/>
                </p:cNvSpPr>
                <p:nvPr/>
              </p:nvSpPr>
              <p:spPr bwMode="auto">
                <a:xfrm>
                  <a:off x="489204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0" name="Rectangle 152"/>
                <p:cNvSpPr>
                  <a:spLocks noChangeArrowheads="1"/>
                </p:cNvSpPr>
                <p:nvPr/>
              </p:nvSpPr>
              <p:spPr bwMode="auto">
                <a:xfrm>
                  <a:off x="489204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1" name="Rectangle 155"/>
                <p:cNvSpPr>
                  <a:spLocks noChangeArrowheads="1"/>
                </p:cNvSpPr>
                <p:nvPr/>
              </p:nvSpPr>
              <p:spPr bwMode="auto">
                <a:xfrm>
                  <a:off x="489204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2" name="Rectangle 158"/>
                <p:cNvSpPr>
                  <a:spLocks noChangeArrowheads="1"/>
                </p:cNvSpPr>
                <p:nvPr/>
              </p:nvSpPr>
              <p:spPr bwMode="auto">
                <a:xfrm>
                  <a:off x="489204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3" name="Rectangle 161"/>
                <p:cNvSpPr>
                  <a:spLocks noChangeArrowheads="1"/>
                </p:cNvSpPr>
                <p:nvPr/>
              </p:nvSpPr>
              <p:spPr bwMode="auto">
                <a:xfrm>
                  <a:off x="489204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74" name="Rectangle 164"/>
                <p:cNvSpPr>
                  <a:spLocks noChangeArrowheads="1"/>
                </p:cNvSpPr>
                <p:nvPr/>
              </p:nvSpPr>
              <p:spPr bwMode="auto">
                <a:xfrm>
                  <a:off x="489204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5737860" y="2295420"/>
                <a:ext cx="914400" cy="1920478"/>
                <a:chOff x="5737860" y="2295420"/>
                <a:chExt cx="914400" cy="1920478"/>
              </a:xfrm>
            </p:grpSpPr>
            <p:sp>
              <p:nvSpPr>
                <p:cNvPr id="49" name="Rectangle 143"/>
                <p:cNvSpPr>
                  <a:spLocks noChangeArrowheads="1"/>
                </p:cNvSpPr>
                <p:nvPr/>
              </p:nvSpPr>
              <p:spPr bwMode="auto">
                <a:xfrm>
                  <a:off x="573786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50" name="Elbow Connector 49"/>
                <p:cNvCxnSpPr/>
                <p:nvPr/>
              </p:nvCxnSpPr>
              <p:spPr>
                <a:xfrm rot="10800000">
                  <a:off x="583566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Elbow Connector 50"/>
                <p:cNvCxnSpPr/>
                <p:nvPr/>
              </p:nvCxnSpPr>
              <p:spPr>
                <a:xfrm rot="16200000" flipV="1">
                  <a:off x="576488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Elbow Connector 51"/>
                <p:cNvCxnSpPr/>
                <p:nvPr/>
              </p:nvCxnSpPr>
              <p:spPr>
                <a:xfrm rot="16200000" flipV="1">
                  <a:off x="576488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Elbow Connector 52"/>
                <p:cNvCxnSpPr/>
                <p:nvPr/>
              </p:nvCxnSpPr>
              <p:spPr>
                <a:xfrm rot="16200000" flipV="1">
                  <a:off x="576488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Elbow Connector 53"/>
                <p:cNvCxnSpPr/>
                <p:nvPr/>
              </p:nvCxnSpPr>
              <p:spPr>
                <a:xfrm rot="16200000" flipV="1">
                  <a:off x="576488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Elbow Connector 54"/>
                <p:cNvCxnSpPr/>
                <p:nvPr/>
              </p:nvCxnSpPr>
              <p:spPr>
                <a:xfrm rot="16200000" flipV="1">
                  <a:off x="576488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Rectangle 144"/>
                <p:cNvSpPr>
                  <a:spLocks noChangeArrowheads="1"/>
                </p:cNvSpPr>
                <p:nvPr/>
              </p:nvSpPr>
              <p:spPr bwMode="auto">
                <a:xfrm>
                  <a:off x="596646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57" name="Rectangle 152"/>
                <p:cNvSpPr>
                  <a:spLocks noChangeArrowheads="1"/>
                </p:cNvSpPr>
                <p:nvPr/>
              </p:nvSpPr>
              <p:spPr bwMode="auto">
                <a:xfrm>
                  <a:off x="596646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58" name="Rectangle 155"/>
                <p:cNvSpPr>
                  <a:spLocks noChangeArrowheads="1"/>
                </p:cNvSpPr>
                <p:nvPr/>
              </p:nvSpPr>
              <p:spPr bwMode="auto">
                <a:xfrm>
                  <a:off x="596646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59" name="Rectangle 158"/>
                <p:cNvSpPr>
                  <a:spLocks noChangeArrowheads="1"/>
                </p:cNvSpPr>
                <p:nvPr/>
              </p:nvSpPr>
              <p:spPr bwMode="auto">
                <a:xfrm>
                  <a:off x="596646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60" name="Rectangle 161"/>
                <p:cNvSpPr>
                  <a:spLocks noChangeArrowheads="1"/>
                </p:cNvSpPr>
                <p:nvPr/>
              </p:nvSpPr>
              <p:spPr bwMode="auto">
                <a:xfrm>
                  <a:off x="596646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61" name="Rectangle 164"/>
                <p:cNvSpPr>
                  <a:spLocks noChangeArrowheads="1"/>
                </p:cNvSpPr>
                <p:nvPr/>
              </p:nvSpPr>
              <p:spPr bwMode="auto">
                <a:xfrm>
                  <a:off x="596646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6812280" y="2295420"/>
                <a:ext cx="914400" cy="1920478"/>
                <a:chOff x="6812280" y="2295420"/>
                <a:chExt cx="914400" cy="1920478"/>
              </a:xfrm>
            </p:grpSpPr>
            <p:sp>
              <p:nvSpPr>
                <p:cNvPr id="36" name="Rectangle 143"/>
                <p:cNvSpPr>
                  <a:spLocks noChangeArrowheads="1"/>
                </p:cNvSpPr>
                <p:nvPr/>
              </p:nvSpPr>
              <p:spPr bwMode="auto">
                <a:xfrm>
                  <a:off x="681228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37" name="Elbow Connector 36"/>
                <p:cNvCxnSpPr/>
                <p:nvPr/>
              </p:nvCxnSpPr>
              <p:spPr>
                <a:xfrm rot="10800000">
                  <a:off x="691008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Elbow Connector 37"/>
                <p:cNvCxnSpPr/>
                <p:nvPr/>
              </p:nvCxnSpPr>
              <p:spPr>
                <a:xfrm rot="16200000" flipV="1">
                  <a:off x="683930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Elbow Connector 38"/>
                <p:cNvCxnSpPr/>
                <p:nvPr/>
              </p:nvCxnSpPr>
              <p:spPr>
                <a:xfrm rot="16200000" flipV="1">
                  <a:off x="683930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Elbow Connector 39"/>
                <p:cNvCxnSpPr/>
                <p:nvPr/>
              </p:nvCxnSpPr>
              <p:spPr>
                <a:xfrm rot="16200000" flipV="1">
                  <a:off x="683930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Elbow Connector 40"/>
                <p:cNvCxnSpPr/>
                <p:nvPr/>
              </p:nvCxnSpPr>
              <p:spPr>
                <a:xfrm rot="16200000" flipV="1">
                  <a:off x="683930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Elbow Connector 41"/>
                <p:cNvCxnSpPr/>
                <p:nvPr/>
              </p:nvCxnSpPr>
              <p:spPr>
                <a:xfrm rot="16200000" flipV="1">
                  <a:off x="683930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Rectangle 144"/>
                <p:cNvSpPr>
                  <a:spLocks noChangeArrowheads="1"/>
                </p:cNvSpPr>
                <p:nvPr/>
              </p:nvSpPr>
              <p:spPr bwMode="auto">
                <a:xfrm>
                  <a:off x="704088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4" name="Rectangle 152"/>
                <p:cNvSpPr>
                  <a:spLocks noChangeArrowheads="1"/>
                </p:cNvSpPr>
                <p:nvPr/>
              </p:nvSpPr>
              <p:spPr bwMode="auto">
                <a:xfrm>
                  <a:off x="704088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5" name="Rectangle 155"/>
                <p:cNvSpPr>
                  <a:spLocks noChangeArrowheads="1"/>
                </p:cNvSpPr>
                <p:nvPr/>
              </p:nvSpPr>
              <p:spPr bwMode="auto">
                <a:xfrm>
                  <a:off x="704088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6" name="Rectangle 158"/>
                <p:cNvSpPr>
                  <a:spLocks noChangeArrowheads="1"/>
                </p:cNvSpPr>
                <p:nvPr/>
              </p:nvSpPr>
              <p:spPr bwMode="auto">
                <a:xfrm>
                  <a:off x="704088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7" name="Rectangle 161"/>
                <p:cNvSpPr>
                  <a:spLocks noChangeArrowheads="1"/>
                </p:cNvSpPr>
                <p:nvPr/>
              </p:nvSpPr>
              <p:spPr bwMode="auto">
                <a:xfrm>
                  <a:off x="704088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48" name="Rectangle 164"/>
                <p:cNvSpPr>
                  <a:spLocks noChangeArrowheads="1"/>
                </p:cNvSpPr>
                <p:nvPr/>
              </p:nvSpPr>
              <p:spPr bwMode="auto">
                <a:xfrm>
                  <a:off x="704088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7886700" y="2295420"/>
                <a:ext cx="914400" cy="1920478"/>
                <a:chOff x="7886700" y="2295420"/>
                <a:chExt cx="914400" cy="1920478"/>
              </a:xfrm>
            </p:grpSpPr>
            <p:sp>
              <p:nvSpPr>
                <p:cNvPr id="23" name="Rectangle 143"/>
                <p:cNvSpPr>
                  <a:spLocks noChangeArrowheads="1"/>
                </p:cNvSpPr>
                <p:nvPr/>
              </p:nvSpPr>
              <p:spPr bwMode="auto">
                <a:xfrm>
                  <a:off x="7886700" y="2295420"/>
                  <a:ext cx="914400" cy="27432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tIns="64008" anchor="t" anchorCtr="0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</a:pPr>
                  <a:r>
                    <a:rPr lang="en-US" altLang="en-US" sz="1000">
                      <a:solidFill>
                        <a:schemeClr val="bg2"/>
                      </a:solidFill>
                      <a:latin typeface="+mn-lt"/>
                    </a:rPr>
                    <a:t>Title</a:t>
                  </a:r>
                </a:p>
              </p:txBody>
            </p:sp>
            <p:cxnSp>
              <p:nvCxnSpPr>
                <p:cNvPr id="24" name="Elbow Connector 23"/>
                <p:cNvCxnSpPr/>
                <p:nvPr/>
              </p:nvCxnSpPr>
              <p:spPr>
                <a:xfrm rot="10800000">
                  <a:off x="7984506" y="2569740"/>
                  <a:ext cx="130786" cy="171370"/>
                </a:xfrm>
                <a:prstGeom prst="bentConnector2">
                  <a:avLst/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Elbow Connector 24"/>
                <p:cNvCxnSpPr/>
                <p:nvPr/>
              </p:nvCxnSpPr>
              <p:spPr>
                <a:xfrm rot="16200000" flipV="1">
                  <a:off x="7913727" y="2811890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Elbow Connector 25"/>
                <p:cNvCxnSpPr/>
                <p:nvPr/>
              </p:nvCxnSpPr>
              <p:spPr>
                <a:xfrm rot="16200000" flipV="1">
                  <a:off x="7913727" y="3088263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Elbow Connector 26"/>
                <p:cNvCxnSpPr/>
                <p:nvPr/>
              </p:nvCxnSpPr>
              <p:spPr>
                <a:xfrm rot="16200000" flipV="1">
                  <a:off x="7913727" y="3363576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Elbow Connector 27"/>
                <p:cNvCxnSpPr/>
                <p:nvPr/>
              </p:nvCxnSpPr>
              <p:spPr>
                <a:xfrm rot="16200000" flipV="1">
                  <a:off x="7913727" y="3624757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Elbow Connector 28"/>
                <p:cNvCxnSpPr/>
                <p:nvPr/>
              </p:nvCxnSpPr>
              <p:spPr>
                <a:xfrm rot="16200000" flipV="1">
                  <a:off x="7913727" y="3897102"/>
                  <a:ext cx="272345" cy="130786"/>
                </a:xfrm>
                <a:prstGeom prst="bentConnector3">
                  <a:avLst>
                    <a:gd name="adj1" fmla="val -2325"/>
                  </a:avLst>
                </a:prstGeom>
                <a:ln w="6350">
                  <a:solidFill>
                    <a:schemeClr val="tx2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Rectangle 144"/>
                <p:cNvSpPr>
                  <a:spLocks noChangeArrowheads="1"/>
                </p:cNvSpPr>
                <p:nvPr/>
              </p:nvSpPr>
              <p:spPr bwMode="auto">
                <a:xfrm>
                  <a:off x="8115300" y="2638121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1" name="Rectangle 152"/>
                <p:cNvSpPr>
                  <a:spLocks noChangeArrowheads="1"/>
                </p:cNvSpPr>
                <p:nvPr/>
              </p:nvSpPr>
              <p:spPr bwMode="auto">
                <a:xfrm>
                  <a:off x="8115300" y="291248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2" name="Rectangle 155"/>
                <p:cNvSpPr>
                  <a:spLocks noChangeArrowheads="1"/>
                </p:cNvSpPr>
                <p:nvPr/>
              </p:nvSpPr>
              <p:spPr bwMode="auto">
                <a:xfrm>
                  <a:off x="8115300" y="318684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3" name="Rectangle 158"/>
                <p:cNvSpPr>
                  <a:spLocks noChangeArrowheads="1"/>
                </p:cNvSpPr>
                <p:nvPr/>
              </p:nvSpPr>
              <p:spPr bwMode="auto">
                <a:xfrm>
                  <a:off x="8115300" y="3461200"/>
                  <a:ext cx="685800" cy="205979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4" name="Rectangle 161"/>
                <p:cNvSpPr>
                  <a:spLocks noChangeArrowheads="1"/>
                </p:cNvSpPr>
                <p:nvPr/>
              </p:nvSpPr>
              <p:spPr bwMode="auto">
                <a:xfrm>
                  <a:off x="8115300" y="373556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  <p:sp>
              <p:nvSpPr>
                <p:cNvPr id="35" name="Rectangle 164"/>
                <p:cNvSpPr>
                  <a:spLocks noChangeArrowheads="1"/>
                </p:cNvSpPr>
                <p:nvPr/>
              </p:nvSpPr>
              <p:spPr bwMode="auto">
                <a:xfrm>
                  <a:off x="8115300" y="4009920"/>
                  <a:ext cx="685800" cy="205978"/>
                </a:xfrm>
                <a:prstGeom prst="rect">
                  <a:avLst/>
                </a:prstGeom>
                <a:solidFill>
                  <a:schemeClr val="bg2"/>
                </a:solidFill>
                <a:ln w="6350">
                  <a:solidFill>
                    <a:schemeClr val="bg2"/>
                  </a:solidFill>
                  <a:miter lim="800000"/>
                  <a:headEnd/>
                  <a:tailEnd/>
                </a:ln>
                <a:extLst/>
              </p:spPr>
              <p:txBody>
                <a:bodyPr/>
                <a:lstStyle>
                  <a:lvl1pPr marL="114300" indent="-1143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eaLnBrk="1" hangingPunct="1">
                    <a:lnSpc>
                      <a:spcPct val="90000"/>
                    </a:lnSpc>
                    <a:buFont typeface="Wingdings" charset="2"/>
                    <a:buNone/>
                  </a:pPr>
                  <a:r>
                    <a:rPr lang="en-US" altLang="en-US" sz="800">
                      <a:latin typeface="+mn-lt"/>
                    </a:rPr>
                    <a:t>Bullet</a:t>
                  </a:r>
                </a:p>
              </p:txBody>
            </p:sp>
          </p:grpSp>
          <p:cxnSp>
            <p:nvCxnSpPr>
              <p:cNvPr id="22" name="Elbow Connector 21"/>
              <p:cNvCxnSpPr/>
              <p:nvPr/>
            </p:nvCxnSpPr>
            <p:spPr>
              <a:xfrm rot="5400000" flipH="1" flipV="1">
                <a:off x="5657850" y="-390630"/>
                <a:ext cx="12700" cy="5372100"/>
              </a:xfrm>
              <a:prstGeom prst="bentConnector3">
                <a:avLst>
                  <a:gd name="adj1" fmla="val 1324528"/>
                </a:avLst>
              </a:prstGeom>
              <a:ln w="635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/>
            <p:cNvCxnSpPr/>
            <p:nvPr/>
          </p:nvCxnSpPr>
          <p:spPr>
            <a:xfrm>
              <a:off x="5653349" y="1436764"/>
              <a:ext cx="0" cy="702587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117538" y="2002234"/>
              <a:ext cx="3102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193341" y="2002234"/>
              <a:ext cx="1719" cy="293186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5574738" y="1865074"/>
              <a:ext cx="161403" cy="0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404622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7269480" y="2139351"/>
              <a:ext cx="0" cy="156069"/>
            </a:xfrm>
            <a:prstGeom prst="lin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896513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Client Project Stru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9875" y="1107383"/>
            <a:ext cx="1828800" cy="758784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Set direction  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Engage actively in the proces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Discuss recommendations and make decisions to sponsor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Allocate and enable resources</a:t>
            </a: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9875" y="1856707"/>
            <a:ext cx="1828800" cy="88529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Day-to-day project managemen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Integrate outputs from working team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Ensure quality, coherence and</a:t>
            </a:r>
            <a:br>
              <a:rPr lang="en-US" altLang="ja-JP" sz="800">
                <a:latin typeface="+mn-lt"/>
                <a:ea typeface="SimSun" charset="-122"/>
              </a:rPr>
            </a:br>
            <a:r>
              <a:rPr lang="en-US" altLang="ja-JP" sz="800">
                <a:latin typeface="+mn-lt"/>
                <a:ea typeface="SimSun" charset="-122"/>
              </a:rPr>
              <a:t>timeliness of project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Stakeholder alignment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9875" y="2922109"/>
            <a:ext cx="1824366" cy="1003352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Prepare worksho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Prepare template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Gather data, analyze data</a:t>
            </a:r>
            <a:br>
              <a:rPr lang="en-US" altLang="ja-JP" sz="800">
                <a:latin typeface="+mn-lt"/>
                <a:ea typeface="SimSun" charset="-122"/>
              </a:rPr>
            </a:br>
            <a:r>
              <a:rPr lang="en-US" altLang="ja-JP" sz="800">
                <a:latin typeface="+mn-lt"/>
                <a:ea typeface="SimSun" charset="-122"/>
              </a:rPr>
              <a:t>and gap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Synthesize recommendations</a:t>
            </a:r>
          </a:p>
          <a:p>
            <a:pPr marL="57150" indent="-57150" eaLnBrk="1" hangingPunct="1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IBM role decreases as Client ramps-up program org</a:t>
            </a:r>
          </a:p>
        </p:txBody>
      </p:sp>
      <p:cxnSp>
        <p:nvCxnSpPr>
          <p:cNvPr id="9" name="AutoShape 57"/>
          <p:cNvCxnSpPr>
            <a:cxnSpLocks noChangeShapeType="1"/>
          </p:cNvCxnSpPr>
          <p:nvPr/>
        </p:nvCxnSpPr>
        <p:spPr bwMode="auto">
          <a:xfrm rot="5400000" flipV="1">
            <a:off x="5266919" y="1365188"/>
            <a:ext cx="1190" cy="3348038"/>
          </a:xfrm>
          <a:prstGeom prst="bentConnector3">
            <a:avLst>
              <a:gd name="adj1" fmla="val -14400000"/>
            </a:avLst>
          </a:prstGeom>
          <a:noFill/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Line 56"/>
          <p:cNvSpPr>
            <a:spLocks noChangeShapeType="1"/>
          </p:cNvSpPr>
          <p:nvPr/>
        </p:nvSpPr>
        <p:spPr bwMode="auto">
          <a:xfrm>
            <a:off x="5263807" y="1610023"/>
            <a:ext cx="0" cy="135485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/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0813" y="2529516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70814" y="1157259"/>
            <a:ext cx="2194322" cy="17373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>
                <a:solidFill>
                  <a:schemeClr val="bg2"/>
                </a:solidFill>
                <a:latin typeface="+mn-lt"/>
                <a:ea typeface="MS PGothic" charset="-128"/>
              </a:rPr>
              <a:t>Sponsors</a:t>
            </a: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70813" y="1332146"/>
            <a:ext cx="2190750" cy="49665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600">
                <a:latin typeface="+mn-lt"/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>
                <a:latin typeface="+mn-lt"/>
                <a:ea typeface="MS PGothic" charset="-128"/>
              </a:rPr>
              <a:t>Name</a:t>
            </a:r>
          </a:p>
          <a:p>
            <a:pPr eaLnBrk="1" hangingPunct="1"/>
            <a:r>
              <a:rPr lang="en-US" altLang="ja-JP" sz="600">
                <a:latin typeface="+mn-lt"/>
                <a:ea typeface="MS PGothic" charset="-128"/>
              </a:rPr>
              <a:t>Name</a:t>
            </a:r>
            <a:endParaRPr lang="en-US" altLang="ja-JP" sz="750">
              <a:latin typeface="+mn-lt"/>
              <a:ea typeface="MS PGothic" charset="-128"/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70813" y="2367592"/>
            <a:ext cx="2190750" cy="173831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>
                <a:solidFill>
                  <a:schemeClr val="bg2"/>
                </a:solidFill>
                <a:latin typeface="+mn-lt"/>
                <a:ea typeface="MS PGothic" charset="-128"/>
              </a:rPr>
              <a:t>Program leadership</a:t>
            </a:r>
          </a:p>
        </p:txBody>
      </p:sp>
      <p:sp>
        <p:nvSpPr>
          <p:cNvPr id="15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70813" y="1887770"/>
            <a:ext cx="2190750" cy="17502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750">
                <a:solidFill>
                  <a:schemeClr val="bg2"/>
                </a:solidFill>
                <a:latin typeface="+mn-lt"/>
                <a:ea typeface="MS PGothic" charset="-128"/>
              </a:rPr>
              <a:t>Executive committee</a:t>
            </a:r>
          </a:p>
        </p:txBody>
      </p:sp>
      <p:sp>
        <p:nvSpPr>
          <p:cNvPr id="16" name="Line 58"/>
          <p:cNvSpPr>
            <a:spLocks noChangeShapeType="1"/>
          </p:cNvSpPr>
          <p:nvPr/>
        </p:nvSpPr>
        <p:spPr bwMode="auto">
          <a:xfrm>
            <a:off x="3444478" y="3118658"/>
            <a:ext cx="0" cy="205979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013"/>
          </a:p>
        </p:txBody>
      </p:sp>
      <p:sp>
        <p:nvSpPr>
          <p:cNvPr id="17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72004" y="2059220"/>
            <a:ext cx="2190750" cy="252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  <a:p>
            <a:r>
              <a:rPr lang="en-GB" altLang="ja-JP" sz="600">
                <a:latin typeface="+mn-lt"/>
                <a:ea typeface="MS PGothic" charset="-128"/>
              </a:rPr>
              <a:t>Nam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344493" y="2935245"/>
            <a:ext cx="1865376" cy="1752704"/>
            <a:chOff x="5233880" y="2647496"/>
            <a:chExt cx="1865376" cy="1752704"/>
          </a:xfrm>
        </p:grpSpPr>
        <p:sp>
          <p:nvSpPr>
            <p:cNvPr id="19" name="Rectangle 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233880" y="2967832"/>
              <a:ext cx="181988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>
                  <a:latin typeface="+mn-lt"/>
                  <a:ea typeface="MS PGothic" charset="-128"/>
                </a:rPr>
                <a:t>Accelerated </a:t>
              </a:r>
              <a:br>
                <a:rPr lang="en-US" altLang="ja-JP" sz="600">
                  <a:latin typeface="+mn-lt"/>
                  <a:ea typeface="MS PGothic" charset="-128"/>
                </a:rPr>
              </a:br>
              <a:r>
                <a:rPr lang="en-US" altLang="ja-JP" sz="600">
                  <a:latin typeface="+mn-lt"/>
                  <a:ea typeface="MS PGothic" charset="-128"/>
                </a:rPr>
                <a:t>vendor selection and Quick wins</a:t>
              </a:r>
            </a:p>
          </p:txBody>
        </p:sp>
        <p:sp>
          <p:nvSpPr>
            <p:cNvPr id="20" name="Rectangl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233880" y="3229768"/>
              <a:ext cx="181988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2-3 tech architects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quick win owner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Evaluation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-2 marketing reps per region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3-4 IT/Client reps (25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1" name="AutoShape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233880" y="2647496"/>
              <a:ext cx="1865376" cy="320278"/>
            </a:xfrm>
            <a:prstGeom prst="chevron">
              <a:avLst>
                <a:gd name="adj" fmla="val 1381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Phase III: Vendor selection and continued quick win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165242" y="2935245"/>
            <a:ext cx="1865376" cy="1750439"/>
            <a:chOff x="7056380" y="2647496"/>
            <a:chExt cx="1865376" cy="1750439"/>
          </a:xfrm>
        </p:grpSpPr>
        <p:sp>
          <p:nvSpPr>
            <p:cNvPr id="23" name="Rectangle 2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056380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>
                  <a:latin typeface="+mn-lt"/>
                  <a:ea typeface="MS PGothic" charset="-128"/>
                </a:rPr>
                <a:t>Implementation</a:t>
              </a:r>
            </a:p>
          </p:txBody>
        </p:sp>
        <p:sp>
          <p:nvSpPr>
            <p:cNvPr id="24" name="Rectangle 2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7056380" y="3229769"/>
              <a:ext cx="1828800" cy="1168166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PM (10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architect (100%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Delivery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business owner per stream, total 9-10 (1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PM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architect per stream, total 9-10 (100%, internal or external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Internal/external delivery  resources (TBD)</a:t>
              </a:r>
            </a:p>
            <a:p>
              <a:pPr eaLnBrk="1" hangingPunct="1">
                <a:buClr>
                  <a:schemeClr val="tx2"/>
                </a:buClr>
              </a:pPr>
              <a:r>
                <a:rPr lang="en-US" altLang="ja-JP" sz="600">
                  <a:latin typeface="+mn-lt"/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5-20 Business/IT SMEs (5%)</a:t>
              </a:r>
            </a:p>
          </p:txBody>
        </p:sp>
        <p:sp>
          <p:nvSpPr>
            <p:cNvPr id="25" name="AutoShap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056380" y="2647496"/>
              <a:ext cx="1865376" cy="320278"/>
            </a:xfrm>
            <a:prstGeom prst="chevron">
              <a:avLst>
                <a:gd name="adj" fmla="val 14169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9144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Phase IV: </a:t>
              </a:r>
            </a:p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Full solution Implementation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514600" y="2935245"/>
            <a:ext cx="1874520" cy="1752704"/>
            <a:chOff x="3405738" y="2647496"/>
            <a:chExt cx="1874520" cy="1752704"/>
          </a:xfrm>
        </p:grpSpPr>
        <p:sp>
          <p:nvSpPr>
            <p:cNvPr id="27" name="Rectangle 2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405738" y="2967832"/>
              <a:ext cx="1828800" cy="26312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6350">
              <a:solidFill>
                <a:schemeClr val="tx2"/>
              </a:solidFill>
            </a:ln>
            <a:extLst/>
          </p:spPr>
          <p:txBody>
            <a:bodyPr lIns="137160" rIns="9144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4763" eaLnBrk="1" hangingPunct="1"/>
              <a:r>
                <a:rPr lang="en-US" altLang="ja-JP" sz="600">
                  <a:latin typeface="+mn-lt"/>
                  <a:ea typeface="MS PGothic" charset="-128"/>
                </a:rPr>
                <a:t>Detailed design and planning/Org design and economic model/Quick wins</a:t>
              </a:r>
            </a:p>
          </p:txBody>
        </p:sp>
        <p:sp>
          <p:nvSpPr>
            <p:cNvPr id="28" name="Rectangle 2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05738" y="3229768"/>
              <a:ext cx="1828800" cy="1170432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35100" rIns="13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234950" indent="-1206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/>
              <a:r>
                <a:rPr lang="en-US" altLang="ja-JP" sz="600">
                  <a:latin typeface="+mn-lt"/>
                  <a:ea typeface="MS PGothic" charset="-128"/>
                </a:rPr>
                <a:t>Core team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overall PM (50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2  tech architec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2 business analysts (25%)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1 quick win owner (100%)</a:t>
              </a:r>
            </a:p>
            <a:p>
              <a:pPr eaLnBrk="1" hangingPunct="1"/>
              <a:r>
                <a:rPr lang="en-US" altLang="ja-JP" sz="600">
                  <a:latin typeface="+mn-lt"/>
                  <a:ea typeface="MS PGothic" charset="-128"/>
                </a:rPr>
                <a:t>Additional resources</a:t>
              </a:r>
            </a:p>
            <a:p>
              <a:pPr marL="63500" lvl="1" indent="-57150" eaLnBrk="1" hangingPunct="1">
                <a:buClr>
                  <a:schemeClr val="tx1"/>
                </a:buClr>
                <a:buFontTx/>
                <a:buChar char="•"/>
              </a:pPr>
              <a:r>
                <a:rPr lang="en-US" altLang="ja-JP" sz="600">
                  <a:latin typeface="+mn-lt"/>
                  <a:ea typeface="MS PGothic" charset="-128"/>
                </a:rPr>
                <a:t> 15-20 Business/IT SMEs (5%)</a:t>
              </a:r>
            </a:p>
            <a:p>
              <a:pPr lvl="1">
                <a:buClr>
                  <a:schemeClr val="tx2"/>
                </a:buClr>
              </a:pPr>
              <a:endParaRPr lang="en-US" altLang="ja-JP" sz="600">
                <a:latin typeface="+mn-lt"/>
                <a:ea typeface="MS PGothic" charset="-128"/>
              </a:endParaRPr>
            </a:p>
          </p:txBody>
        </p:sp>
        <p:sp>
          <p:nvSpPr>
            <p:cNvPr id="29" name="AutoShap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05739" y="2647496"/>
              <a:ext cx="1874519" cy="320278"/>
            </a:xfrm>
            <a:prstGeom prst="homePlate">
              <a:avLst>
                <a:gd name="adj" fmla="val 13483"/>
              </a:avLst>
            </a:prstGeom>
            <a:solidFill>
              <a:schemeClr val="accent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  <a:extLst/>
          </p:spPr>
          <p:txBody>
            <a:bodyPr lIns="137160" tIns="68580" bIns="6858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ja-JP" sz="750">
                  <a:solidFill>
                    <a:schemeClr val="bg2"/>
                  </a:solidFill>
                  <a:latin typeface="+mn-lt"/>
                  <a:ea typeface="MS PGothic" charset="-128"/>
                </a:rPr>
                <a:t>Phase I: Detailed solution design, and implementation planning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>
          <a:xfrm>
            <a:off x="228600" y="1161802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228600" y="2946811"/>
            <a:ext cx="2286000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28600" y="1892135"/>
            <a:ext cx="3941063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4575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e tre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/>
              <a:t>All boxes are independent and editable.</a:t>
            </a:r>
          </a:p>
          <a:p>
            <a:pPr lvl="1"/>
            <a:r>
              <a:rPr lang="en-US"/>
              <a:t>Type should be horizontally and vertically centered within each design element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Rectangle 56"/>
          <p:cNvSpPr>
            <a:spLocks noChangeArrowheads="1"/>
          </p:cNvSpPr>
          <p:nvPr/>
        </p:nvSpPr>
        <p:spPr bwMode="auto">
          <a:xfrm>
            <a:off x="2514600" y="1988317"/>
            <a:ext cx="1143000" cy="4119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7" name="Rectangle 57"/>
          <p:cNvSpPr>
            <a:spLocks noChangeArrowheads="1"/>
          </p:cNvSpPr>
          <p:nvPr/>
        </p:nvSpPr>
        <p:spPr bwMode="auto">
          <a:xfrm>
            <a:off x="4001214" y="1439439"/>
            <a:ext cx="1143000" cy="41076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8" name="Rectangle 58"/>
          <p:cNvSpPr>
            <a:spLocks noChangeArrowheads="1"/>
          </p:cNvSpPr>
          <p:nvPr/>
        </p:nvSpPr>
        <p:spPr bwMode="auto">
          <a:xfrm>
            <a:off x="4001214" y="2605060"/>
            <a:ext cx="1143000" cy="41076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9" name="Rectangle 59"/>
          <p:cNvSpPr>
            <a:spLocks noChangeArrowheads="1"/>
          </p:cNvSpPr>
          <p:nvPr/>
        </p:nvSpPr>
        <p:spPr bwMode="auto">
          <a:xfrm>
            <a:off x="5486637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0" name="Rectangle 60"/>
          <p:cNvSpPr>
            <a:spLocks noChangeArrowheads="1"/>
          </p:cNvSpPr>
          <p:nvPr/>
        </p:nvSpPr>
        <p:spPr bwMode="auto">
          <a:xfrm>
            <a:off x="5486637" y="1645417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5486637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2" name="Rectangle 62"/>
          <p:cNvSpPr>
            <a:spLocks noChangeArrowheads="1"/>
          </p:cNvSpPr>
          <p:nvPr/>
        </p:nvSpPr>
        <p:spPr bwMode="auto">
          <a:xfrm>
            <a:off x="5486637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3" name="Rectangle 63"/>
          <p:cNvSpPr>
            <a:spLocks noChangeArrowheads="1"/>
          </p:cNvSpPr>
          <p:nvPr/>
        </p:nvSpPr>
        <p:spPr bwMode="auto">
          <a:xfrm>
            <a:off x="5486637" y="3084883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4" name="Rectangle 64"/>
          <p:cNvSpPr>
            <a:spLocks noChangeArrowheads="1"/>
          </p:cNvSpPr>
          <p:nvPr/>
        </p:nvSpPr>
        <p:spPr bwMode="auto">
          <a:xfrm>
            <a:off x="7027941" y="1165595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5" name="Rectangle 66"/>
          <p:cNvSpPr>
            <a:spLocks noChangeArrowheads="1"/>
          </p:cNvSpPr>
          <p:nvPr/>
        </p:nvSpPr>
        <p:spPr bwMode="auto">
          <a:xfrm>
            <a:off x="7029132" y="2125239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6" name="Rectangle 67"/>
          <p:cNvSpPr>
            <a:spLocks noChangeArrowheads="1"/>
          </p:cNvSpPr>
          <p:nvPr/>
        </p:nvSpPr>
        <p:spPr bwMode="auto">
          <a:xfrm>
            <a:off x="7029132" y="2605060"/>
            <a:ext cx="1143000" cy="41195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tIns="64008" anchor="t" anchorCtr="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</a:rPr>
              <a:t>Text</a:t>
            </a:r>
          </a:p>
        </p:txBody>
      </p:sp>
      <p:sp>
        <p:nvSpPr>
          <p:cNvPr id="17" name="AutoShape 85"/>
          <p:cNvSpPr>
            <a:spLocks noChangeArrowheads="1"/>
          </p:cNvSpPr>
          <p:nvPr/>
        </p:nvSpPr>
        <p:spPr bwMode="auto">
          <a:xfrm rot="5400000">
            <a:off x="6755248" y="2731861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8" name="Line 90"/>
          <p:cNvSpPr>
            <a:spLocks noChangeShapeType="1"/>
          </p:cNvSpPr>
          <p:nvPr/>
        </p:nvSpPr>
        <p:spPr bwMode="auto">
          <a:xfrm>
            <a:off x="5349715" y="1851395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19" name="Line 91"/>
          <p:cNvSpPr>
            <a:spLocks noChangeShapeType="1"/>
          </p:cNvSpPr>
          <p:nvPr/>
        </p:nvSpPr>
        <p:spPr bwMode="auto">
          <a:xfrm>
            <a:off x="5349715" y="1371572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0" name="Line 92"/>
          <p:cNvSpPr>
            <a:spLocks noChangeShapeType="1"/>
          </p:cNvSpPr>
          <p:nvPr/>
        </p:nvSpPr>
        <p:spPr bwMode="auto">
          <a:xfrm>
            <a:off x="5349715" y="23312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1" name="Line 93"/>
          <p:cNvSpPr>
            <a:spLocks noChangeShapeType="1"/>
          </p:cNvSpPr>
          <p:nvPr/>
        </p:nvSpPr>
        <p:spPr bwMode="auto">
          <a:xfrm>
            <a:off x="5143737" y="2811038"/>
            <a:ext cx="342900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2" name="Line 94"/>
          <p:cNvSpPr>
            <a:spLocks noChangeShapeType="1"/>
          </p:cNvSpPr>
          <p:nvPr/>
        </p:nvSpPr>
        <p:spPr bwMode="auto">
          <a:xfrm>
            <a:off x="5349715" y="3290860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3" name="Line 95"/>
          <p:cNvSpPr>
            <a:spLocks noChangeShapeType="1"/>
          </p:cNvSpPr>
          <p:nvPr/>
        </p:nvSpPr>
        <p:spPr bwMode="auto">
          <a:xfrm>
            <a:off x="5349716" y="2331216"/>
            <a:ext cx="0" cy="959644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4" name="AutoShape 96"/>
          <p:cNvSpPr>
            <a:spLocks noChangeArrowheads="1"/>
          </p:cNvSpPr>
          <p:nvPr/>
        </p:nvSpPr>
        <p:spPr bwMode="auto">
          <a:xfrm rot="5400000">
            <a:off x="6755248" y="2252040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5" name="AutoShape 97"/>
          <p:cNvSpPr>
            <a:spLocks noChangeArrowheads="1"/>
          </p:cNvSpPr>
          <p:nvPr/>
        </p:nvSpPr>
        <p:spPr bwMode="auto">
          <a:xfrm rot="5400000">
            <a:off x="6755248" y="1291205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6" name="Line 98"/>
          <p:cNvSpPr>
            <a:spLocks noChangeShapeType="1"/>
          </p:cNvSpPr>
          <p:nvPr/>
        </p:nvSpPr>
        <p:spPr bwMode="auto">
          <a:xfrm>
            <a:off x="5349716" y="1371573"/>
            <a:ext cx="0" cy="4798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7" name="Line 99"/>
          <p:cNvSpPr>
            <a:spLocks noChangeShapeType="1"/>
          </p:cNvSpPr>
          <p:nvPr/>
        </p:nvSpPr>
        <p:spPr bwMode="auto">
          <a:xfrm flipH="1">
            <a:off x="5143737" y="1645416"/>
            <a:ext cx="205979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8" name="Line 100"/>
          <p:cNvSpPr>
            <a:spLocks noChangeShapeType="1"/>
          </p:cNvSpPr>
          <p:nvPr/>
        </p:nvSpPr>
        <p:spPr bwMode="auto">
          <a:xfrm>
            <a:off x="3863101" y="2811038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29" name="Line 101"/>
          <p:cNvSpPr>
            <a:spLocks noChangeShapeType="1"/>
          </p:cNvSpPr>
          <p:nvPr/>
        </p:nvSpPr>
        <p:spPr bwMode="auto">
          <a:xfrm>
            <a:off x="3863101" y="1645416"/>
            <a:ext cx="136922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30" name="Line 102"/>
          <p:cNvSpPr>
            <a:spLocks noChangeShapeType="1"/>
          </p:cNvSpPr>
          <p:nvPr/>
        </p:nvSpPr>
        <p:spPr bwMode="auto">
          <a:xfrm>
            <a:off x="3863101" y="1645417"/>
            <a:ext cx="0" cy="1165622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31" name="Line 103"/>
          <p:cNvSpPr>
            <a:spLocks noChangeShapeType="1"/>
          </p:cNvSpPr>
          <p:nvPr/>
        </p:nvSpPr>
        <p:spPr bwMode="auto">
          <a:xfrm flipH="1">
            <a:off x="3657123" y="2194295"/>
            <a:ext cx="205978" cy="0"/>
          </a:xfrm>
          <a:prstGeom prst="line">
            <a:avLst/>
          </a:prstGeom>
          <a:noFill/>
          <a:ln w="6350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800">
              <a:solidFill>
                <a:schemeClr val="bg2"/>
              </a:solidFill>
            </a:endParaRPr>
          </a:p>
        </p:txBody>
      </p:sp>
      <p:sp>
        <p:nvSpPr>
          <p:cNvPr id="3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070606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ph templat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43669" y="1105671"/>
            <a:ext cx="4709439" cy="3339630"/>
            <a:chOff x="2442769" y="1111934"/>
            <a:chExt cx="4343535" cy="3080155"/>
          </a:xfrm>
        </p:grpSpPr>
        <p:sp>
          <p:nvSpPr>
            <p:cNvPr id="7" name="Rectangle 6"/>
            <p:cNvSpPr/>
            <p:nvPr/>
          </p:nvSpPr>
          <p:spPr>
            <a:xfrm>
              <a:off x="3150803" y="1169007"/>
              <a:ext cx="3355854" cy="2534880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8" name="Rectangle 68"/>
            <p:cNvSpPr>
              <a:spLocks noChangeArrowheads="1"/>
            </p:cNvSpPr>
            <p:nvPr/>
          </p:nvSpPr>
          <p:spPr bwMode="auto">
            <a:xfrm>
              <a:off x="4813588" y="1172579"/>
              <a:ext cx="1693069" cy="128349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9" name="Text Box 2"/>
            <p:cNvSpPr txBox="1">
              <a:spLocks noChangeArrowheads="1"/>
            </p:cNvSpPr>
            <p:nvPr/>
          </p:nvSpPr>
          <p:spPr bwMode="blackWhite">
            <a:xfrm rot="10800000">
              <a:off x="2442769" y="1784512"/>
              <a:ext cx="253466" cy="125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Impact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blackWhite">
            <a:xfrm>
              <a:off x="4818351" y="2483457"/>
              <a:ext cx="1678781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blackWhite">
            <a:xfrm>
              <a:off x="3138378" y="2483457"/>
              <a:ext cx="1679972" cy="121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blackWhite">
            <a:xfrm>
              <a:off x="4818351" y="1172579"/>
              <a:ext cx="1678781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blackWhite">
            <a:xfrm>
              <a:off x="3138378" y="1172579"/>
              <a:ext cx="1679972" cy="1310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endParaRPr lang="en-GB" altLang="en-US" sz="1200">
                <a:latin typeface="+mn-lt"/>
                <a:ea typeface="MS PGothic" charset="-128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blackWhite">
            <a:xfrm>
              <a:off x="3161000" y="2456073"/>
              <a:ext cx="3336132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blackWhite">
            <a:xfrm>
              <a:off x="4818350" y="1172579"/>
              <a:ext cx="0" cy="2528888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blackWhite">
            <a:xfrm flipV="1">
              <a:off x="3153855" y="1811944"/>
              <a:ext cx="3352802" cy="21364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blackWhite">
            <a:xfrm>
              <a:off x="3153854" y="3057339"/>
              <a:ext cx="3352803" cy="0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blackWhite">
            <a:xfrm>
              <a:off x="3911094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blackWhite">
            <a:xfrm>
              <a:off x="5622022" y="1169007"/>
              <a:ext cx="0" cy="2557463"/>
            </a:xfrm>
            <a:prstGeom prst="line">
              <a:avLst/>
            </a:prstGeom>
            <a:noFill/>
            <a:ln w="6350" cap="sq">
              <a:solidFill>
                <a:schemeClr val="tx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7500" tIns="35100" rIns="67500" bIns="35100" anchor="ctr">
              <a:spAutoFit/>
            </a:bodyPr>
            <a:lstStyle/>
            <a:p>
              <a:endParaRPr lang="en-US" sz="1013"/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blackWhite">
            <a:xfrm>
              <a:off x="2590690" y="357582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Not at all</a:t>
              </a:r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blackWhite">
            <a:xfrm>
              <a:off x="5338653" y="3724089"/>
              <a:ext cx="56673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Slightly </a:t>
              </a: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blackWhite">
            <a:xfrm>
              <a:off x="4509978" y="3724089"/>
              <a:ext cx="65246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Moderately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blackWhite">
            <a:xfrm>
              <a:off x="3627725" y="3724089"/>
              <a:ext cx="567928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Very </a:t>
              </a:r>
            </a:p>
          </p:txBody>
        </p:sp>
        <p:sp>
          <p:nvSpPr>
            <p:cNvPr id="24" name="Text Box 23"/>
            <p:cNvSpPr txBox="1">
              <a:spLocks noChangeArrowheads="1"/>
            </p:cNvSpPr>
            <p:nvPr/>
          </p:nvSpPr>
          <p:spPr bwMode="blackWhite">
            <a:xfrm>
              <a:off x="2855650" y="3724089"/>
              <a:ext cx="607219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Almost Certain </a:t>
              </a:r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blackWhite">
            <a:xfrm>
              <a:off x="2590690" y="2966697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Slight</a:t>
              </a:r>
            </a:p>
          </p:txBody>
        </p:sp>
        <p:sp>
          <p:nvSpPr>
            <p:cNvPr id="26" name="Text Box 25"/>
            <p:cNvSpPr txBox="1">
              <a:spLocks noChangeArrowheads="1"/>
            </p:cNvSpPr>
            <p:nvPr/>
          </p:nvSpPr>
          <p:spPr bwMode="blackWhite">
            <a:xfrm>
              <a:off x="2590690" y="2369676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Moderate</a:t>
              </a:r>
            </a:p>
          </p:txBody>
        </p:sp>
        <p:sp>
          <p:nvSpPr>
            <p:cNvPr id="27" name="Text Box 26"/>
            <p:cNvSpPr txBox="1">
              <a:spLocks noChangeArrowheads="1"/>
            </p:cNvSpPr>
            <p:nvPr/>
          </p:nvSpPr>
          <p:spPr bwMode="blackWhite">
            <a:xfrm>
              <a:off x="2487106" y="1737090"/>
              <a:ext cx="671513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Significant</a:t>
              </a: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blackWhite">
            <a:xfrm>
              <a:off x="2590690" y="1111934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Radical</a:t>
              </a:r>
            </a:p>
          </p:txBody>
        </p:sp>
        <p:sp>
          <p:nvSpPr>
            <p:cNvPr id="29" name="Text Box 28"/>
            <p:cNvSpPr txBox="1">
              <a:spLocks noChangeArrowheads="1"/>
            </p:cNvSpPr>
            <p:nvPr/>
          </p:nvSpPr>
          <p:spPr bwMode="blackWhite">
            <a:xfrm rot="16200000">
              <a:off x="4736860" y="3545053"/>
              <a:ext cx="253466" cy="1040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Uncertainty</a:t>
              </a:r>
            </a:p>
          </p:txBody>
        </p:sp>
        <p:sp>
          <p:nvSpPr>
            <p:cNvPr id="30" name="Text Box 31"/>
            <p:cNvSpPr txBox="1">
              <a:spLocks noChangeArrowheads="1"/>
            </p:cNvSpPr>
            <p:nvPr/>
          </p:nvSpPr>
          <p:spPr bwMode="blackWhite">
            <a:xfrm>
              <a:off x="4076591" y="2804926"/>
              <a:ext cx="851297" cy="256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Social Consciousness</a:t>
              </a:r>
            </a:p>
          </p:txBody>
        </p:sp>
        <p:sp>
          <p:nvSpPr>
            <p:cNvPr id="31" name="Rectangle 33"/>
            <p:cNvSpPr>
              <a:spLocks noChangeArrowheads="1"/>
            </p:cNvSpPr>
            <p:nvPr/>
          </p:nvSpPr>
          <p:spPr bwMode="auto">
            <a:xfrm>
              <a:off x="3912701" y="2292958"/>
              <a:ext cx="889751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Distribution of Wealth</a:t>
              </a:r>
            </a:p>
          </p:txBody>
        </p:sp>
        <p:sp>
          <p:nvSpPr>
            <p:cNvPr id="32" name="Rectangle 34"/>
            <p:cNvSpPr>
              <a:spLocks noChangeArrowheads="1"/>
            </p:cNvSpPr>
            <p:nvPr/>
          </p:nvSpPr>
          <p:spPr bwMode="auto">
            <a:xfrm>
              <a:off x="3361952" y="2443971"/>
              <a:ext cx="774432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 Workforce Models</a:t>
              </a:r>
            </a:p>
          </p:txBody>
        </p:sp>
        <p:sp>
          <p:nvSpPr>
            <p:cNvPr id="33" name="Text Box 35"/>
            <p:cNvSpPr txBox="1">
              <a:spLocks noChangeArrowheads="1"/>
            </p:cNvSpPr>
            <p:nvPr/>
          </p:nvSpPr>
          <p:spPr bwMode="blackWhite">
            <a:xfrm>
              <a:off x="6218375" y="3724089"/>
              <a:ext cx="567929" cy="16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675">
                  <a:latin typeface="+mn-lt"/>
                  <a:ea typeface="MS PGothic" charset="-128"/>
                </a:rPr>
                <a:t>Not at all</a:t>
              </a:r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3300303" y="1683358"/>
              <a:ext cx="840581" cy="340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Commercialization of Emerging Technology  </a:t>
              </a:r>
            </a:p>
          </p:txBody>
        </p:sp>
        <p:sp>
          <p:nvSpPr>
            <p:cNvPr id="35" name="Rectangle 37"/>
            <p:cNvSpPr>
              <a:spLocks noChangeArrowheads="1"/>
            </p:cNvSpPr>
            <p:nvPr/>
          </p:nvSpPr>
          <p:spPr bwMode="auto">
            <a:xfrm>
              <a:off x="5303431" y="1394035"/>
              <a:ext cx="9134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Technology Resilience</a:t>
              </a:r>
            </a:p>
          </p:txBody>
        </p:sp>
        <p:sp>
          <p:nvSpPr>
            <p:cNvPr id="36" name="Rectangle 38"/>
            <p:cNvSpPr>
              <a:spLocks noChangeArrowheads="1"/>
            </p:cNvSpPr>
            <p:nvPr/>
          </p:nvSpPr>
          <p:spPr bwMode="auto">
            <a:xfrm>
              <a:off x="4525844" y="2470360"/>
              <a:ext cx="1373207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 Availability of Conventional Energy</a:t>
              </a:r>
            </a:p>
          </p:txBody>
        </p:sp>
        <p:sp>
          <p:nvSpPr>
            <p:cNvPr id="37" name="Rectangle 39"/>
            <p:cNvSpPr>
              <a:spLocks noChangeArrowheads="1"/>
            </p:cNvSpPr>
            <p:nvPr/>
          </p:nvSpPr>
          <p:spPr bwMode="auto">
            <a:xfrm>
              <a:off x="4662326" y="1807826"/>
              <a:ext cx="101689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Globalization of Economy</a:t>
              </a:r>
            </a:p>
          </p:txBody>
        </p:sp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>
              <a:off x="4878266" y="1511908"/>
              <a:ext cx="83504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US Economic Health</a:t>
              </a:r>
            </a:p>
          </p:txBody>
        </p:sp>
        <p:sp>
          <p:nvSpPr>
            <p:cNvPr id="39" name="Rectangle 41"/>
            <p:cNvSpPr>
              <a:spLocks noChangeArrowheads="1"/>
            </p:cNvSpPr>
            <p:nvPr/>
          </p:nvSpPr>
          <p:spPr bwMode="auto">
            <a:xfrm>
              <a:off x="5268022" y="1652401"/>
              <a:ext cx="1050903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Privacy and Identify Fraud</a:t>
              </a:r>
            </a:p>
          </p:txBody>
        </p:sp>
        <p:sp>
          <p:nvSpPr>
            <p:cNvPr id="40" name="Rectangle 42"/>
            <p:cNvSpPr>
              <a:spLocks noChangeArrowheads="1"/>
            </p:cNvSpPr>
            <p:nvPr/>
          </p:nvSpPr>
          <p:spPr bwMode="auto">
            <a:xfrm>
              <a:off x="5227925" y="2106673"/>
              <a:ext cx="928688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Terrorist Activities</a:t>
              </a:r>
            </a:p>
          </p:txBody>
        </p:sp>
        <p:sp>
          <p:nvSpPr>
            <p:cNvPr id="41" name="Rectangle 43"/>
            <p:cNvSpPr>
              <a:spLocks noChangeArrowheads="1"/>
            </p:cNvSpPr>
            <p:nvPr/>
          </p:nvSpPr>
          <p:spPr bwMode="auto">
            <a:xfrm>
              <a:off x="5357747" y="1926889"/>
              <a:ext cx="64284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marL="114300" indent="-1143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War and Peace</a:t>
              </a:r>
            </a:p>
          </p:txBody>
        </p:sp>
        <p:sp>
          <p:nvSpPr>
            <p:cNvPr id="42" name="Rectangle 44"/>
            <p:cNvSpPr>
              <a:spLocks noChangeArrowheads="1"/>
            </p:cNvSpPr>
            <p:nvPr/>
          </p:nvSpPr>
          <p:spPr bwMode="auto">
            <a:xfrm>
              <a:off x="4114691" y="1925054"/>
              <a:ext cx="678656" cy="24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Environmental Disasters</a:t>
              </a:r>
            </a:p>
          </p:txBody>
        </p:sp>
        <p:sp>
          <p:nvSpPr>
            <p:cNvPr id="43" name="Rectangle 45"/>
            <p:cNvSpPr>
              <a:spLocks noChangeArrowheads="1"/>
            </p:cNvSpPr>
            <p:nvPr/>
          </p:nvSpPr>
          <p:spPr bwMode="auto">
            <a:xfrm>
              <a:off x="4530519" y="2675148"/>
              <a:ext cx="854269" cy="148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7000" tIns="28500" rIns="57000" bIns="28500">
              <a:spAutoFit/>
            </a:bodyPr>
            <a:lstStyle>
              <a:lvl1pPr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65188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651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75">
                  <a:solidFill>
                    <a:schemeClr val="tx2">
                      <a:lumMod val="25000"/>
                    </a:schemeClr>
                  </a:solidFill>
                  <a:latin typeface="+mn-lt"/>
                  <a:ea typeface="MS PGothic" charset="-128"/>
                </a:rPr>
                <a:t>Political Policy Shifts</a:t>
              </a:r>
            </a:p>
          </p:txBody>
        </p:sp>
        <p:sp>
          <p:nvSpPr>
            <p:cNvPr id="44" name="Rectangle 76"/>
            <p:cNvSpPr>
              <a:spLocks noChangeArrowheads="1"/>
            </p:cNvSpPr>
            <p:nvPr/>
          </p:nvSpPr>
          <p:spPr bwMode="auto">
            <a:xfrm>
              <a:off x="4023013" y="2854933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5" name="Rectangle 77"/>
            <p:cNvSpPr>
              <a:spLocks noChangeArrowheads="1"/>
            </p:cNvSpPr>
            <p:nvPr/>
          </p:nvSpPr>
          <p:spPr bwMode="auto">
            <a:xfrm>
              <a:off x="5231497" y="1439279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6" name="Rectangle 78"/>
            <p:cNvSpPr>
              <a:spLocks noChangeArrowheads="1"/>
            </p:cNvSpPr>
            <p:nvPr/>
          </p:nvSpPr>
          <p:spPr bwMode="auto">
            <a:xfrm>
              <a:off x="3302685" y="2480881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7" name="Rectangle 79"/>
            <p:cNvSpPr>
              <a:spLocks noChangeArrowheads="1"/>
            </p:cNvSpPr>
            <p:nvPr/>
          </p:nvSpPr>
          <p:spPr bwMode="auto">
            <a:xfrm>
              <a:off x="4077782" y="1970298"/>
              <a:ext cx="69056" cy="6786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8" name="Rectangle 80"/>
            <p:cNvSpPr>
              <a:spLocks noChangeArrowheads="1"/>
            </p:cNvSpPr>
            <p:nvPr/>
          </p:nvSpPr>
          <p:spPr bwMode="auto">
            <a:xfrm>
              <a:off x="4474260" y="2714439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49" name="Rectangle 81"/>
            <p:cNvSpPr>
              <a:spLocks noChangeArrowheads="1"/>
            </p:cNvSpPr>
            <p:nvPr/>
          </p:nvSpPr>
          <p:spPr bwMode="auto">
            <a:xfrm>
              <a:off x="5188635" y="1697645"/>
              <a:ext cx="69056" cy="67865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0" name="Rectangle 82"/>
            <p:cNvSpPr>
              <a:spLocks noChangeArrowheads="1"/>
            </p:cNvSpPr>
            <p:nvPr/>
          </p:nvSpPr>
          <p:spPr bwMode="auto">
            <a:xfrm>
              <a:off x="3266966" y="1720266"/>
              <a:ext cx="69056" cy="67866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1" name="Rectangle 83"/>
            <p:cNvSpPr>
              <a:spLocks noChangeArrowheads="1"/>
            </p:cNvSpPr>
            <p:nvPr/>
          </p:nvSpPr>
          <p:spPr bwMode="auto">
            <a:xfrm>
              <a:off x="4567128" y="1856642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2" name="Rectangle 85"/>
            <p:cNvSpPr>
              <a:spLocks noChangeArrowheads="1"/>
            </p:cNvSpPr>
            <p:nvPr/>
          </p:nvSpPr>
          <p:spPr bwMode="auto">
            <a:xfrm>
              <a:off x="4790966" y="1559533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3" name="Rectangle 86"/>
            <p:cNvSpPr>
              <a:spLocks noChangeArrowheads="1"/>
            </p:cNvSpPr>
            <p:nvPr/>
          </p:nvSpPr>
          <p:spPr bwMode="auto">
            <a:xfrm>
              <a:off x="5267216" y="1959036"/>
              <a:ext cx="69056" cy="6786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4" name="Rectangle 87"/>
            <p:cNvSpPr>
              <a:spLocks noChangeArrowheads="1"/>
            </p:cNvSpPr>
            <p:nvPr/>
          </p:nvSpPr>
          <p:spPr bwMode="auto">
            <a:xfrm>
              <a:off x="5246976" y="2153107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5" name="Rectangle 88"/>
            <p:cNvSpPr>
              <a:spLocks noChangeArrowheads="1"/>
            </p:cNvSpPr>
            <p:nvPr/>
          </p:nvSpPr>
          <p:spPr bwMode="auto">
            <a:xfrm>
              <a:off x="3853944" y="2340583"/>
              <a:ext cx="69056" cy="67865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56" name="Rectangle 89"/>
            <p:cNvSpPr>
              <a:spLocks noChangeArrowheads="1"/>
            </p:cNvSpPr>
            <p:nvPr/>
          </p:nvSpPr>
          <p:spPr bwMode="auto">
            <a:xfrm>
              <a:off x="4473069" y="2509652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986012" y="2491596"/>
            <a:ext cx="839390" cy="772716"/>
            <a:chOff x="6666201" y="2591804"/>
            <a:chExt cx="839390" cy="772716"/>
          </a:xfrm>
        </p:grpSpPr>
        <p:sp>
          <p:nvSpPr>
            <p:cNvPr id="58" name="Text Box 53"/>
            <p:cNvSpPr txBox="1">
              <a:spLocks noChangeArrowheads="1"/>
            </p:cNvSpPr>
            <p:nvPr/>
          </p:nvSpPr>
          <p:spPr bwMode="blackWhite">
            <a:xfrm>
              <a:off x="6838840" y="2619189"/>
              <a:ext cx="45720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Social</a:t>
              </a:r>
            </a:p>
          </p:txBody>
        </p:sp>
        <p:sp>
          <p:nvSpPr>
            <p:cNvPr id="59" name="Text Box 54"/>
            <p:cNvSpPr txBox="1">
              <a:spLocks noChangeArrowheads="1"/>
            </p:cNvSpPr>
            <p:nvPr/>
          </p:nvSpPr>
          <p:spPr bwMode="blackWhite">
            <a:xfrm>
              <a:off x="6838840" y="2750158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Technological</a:t>
              </a:r>
            </a:p>
          </p:txBody>
        </p:sp>
        <p:sp>
          <p:nvSpPr>
            <p:cNvPr id="60" name="Text Box 57"/>
            <p:cNvSpPr txBox="1">
              <a:spLocks noChangeArrowheads="1"/>
            </p:cNvSpPr>
            <p:nvPr/>
          </p:nvSpPr>
          <p:spPr bwMode="blackWhite">
            <a:xfrm>
              <a:off x="6838840" y="2887079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Economic</a:t>
              </a:r>
            </a:p>
          </p:txBody>
        </p:sp>
        <p:sp>
          <p:nvSpPr>
            <p:cNvPr id="61" name="Text Box 58"/>
            <p:cNvSpPr txBox="1">
              <a:spLocks noChangeArrowheads="1"/>
            </p:cNvSpPr>
            <p:nvPr/>
          </p:nvSpPr>
          <p:spPr bwMode="blackWhite">
            <a:xfrm>
              <a:off x="6838840" y="3025192"/>
              <a:ext cx="628650" cy="255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Environmental</a:t>
              </a:r>
            </a:p>
          </p:txBody>
        </p:sp>
        <p:sp>
          <p:nvSpPr>
            <p:cNvPr id="62" name="Text Box 60"/>
            <p:cNvSpPr txBox="1">
              <a:spLocks noChangeArrowheads="1"/>
            </p:cNvSpPr>
            <p:nvPr/>
          </p:nvSpPr>
          <p:spPr bwMode="blackWhite">
            <a:xfrm>
              <a:off x="6838840" y="3162114"/>
              <a:ext cx="628650" cy="163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7500" tIns="35100" rIns="67500" bIns="35100">
              <a:spAutoFit/>
            </a:bodyPr>
            <a:lstStyle>
              <a:lvl1pPr marL="114300" indent="-1143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600">
                  <a:latin typeface="+mn-lt"/>
                  <a:ea typeface="MS PGothic" charset="-128"/>
                </a:rPr>
                <a:t>Political</a:t>
              </a:r>
            </a:p>
          </p:txBody>
        </p:sp>
        <p:sp>
          <p:nvSpPr>
            <p:cNvPr id="63" name="Rectangle 70"/>
            <p:cNvSpPr>
              <a:spLocks noChangeArrowheads="1"/>
            </p:cNvSpPr>
            <p:nvPr/>
          </p:nvSpPr>
          <p:spPr bwMode="auto">
            <a:xfrm>
              <a:off x="6773357" y="2668004"/>
              <a:ext cx="69056" cy="67866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4" name="Rectangle 71"/>
            <p:cNvSpPr>
              <a:spLocks noChangeArrowheads="1"/>
            </p:cNvSpPr>
            <p:nvPr/>
          </p:nvSpPr>
          <p:spPr bwMode="auto">
            <a:xfrm>
              <a:off x="6773357" y="2804927"/>
              <a:ext cx="69056" cy="67865"/>
            </a:xfrm>
            <a:prstGeom prst="rect">
              <a:avLst/>
            </a:prstGeom>
            <a:solidFill>
              <a:schemeClr val="accent5"/>
            </a:solidFill>
            <a:ln w="190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5" name="Rectangle 72"/>
            <p:cNvSpPr>
              <a:spLocks noChangeArrowheads="1"/>
            </p:cNvSpPr>
            <p:nvPr/>
          </p:nvSpPr>
          <p:spPr bwMode="auto">
            <a:xfrm>
              <a:off x="6773357" y="2941848"/>
              <a:ext cx="69056" cy="67866"/>
            </a:xfrm>
            <a:prstGeom prst="rect">
              <a:avLst/>
            </a:prstGeom>
            <a:solidFill>
              <a:srgbClr val="B380E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6" name="Rectangle 73"/>
            <p:cNvSpPr>
              <a:spLocks noChangeArrowheads="1"/>
            </p:cNvSpPr>
            <p:nvPr/>
          </p:nvSpPr>
          <p:spPr bwMode="auto">
            <a:xfrm>
              <a:off x="6773357" y="3078770"/>
              <a:ext cx="69056" cy="6786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7" name="Rectangle 74"/>
            <p:cNvSpPr>
              <a:spLocks noChangeArrowheads="1"/>
            </p:cNvSpPr>
            <p:nvPr/>
          </p:nvSpPr>
          <p:spPr bwMode="auto">
            <a:xfrm>
              <a:off x="6773357" y="3215691"/>
              <a:ext cx="69056" cy="678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  <p:sp>
          <p:nvSpPr>
            <p:cNvPr id="68" name="Rectangle 90"/>
            <p:cNvSpPr>
              <a:spLocks noChangeArrowheads="1"/>
            </p:cNvSpPr>
            <p:nvPr/>
          </p:nvSpPr>
          <p:spPr bwMode="auto">
            <a:xfrm>
              <a:off x="6666201" y="2591804"/>
              <a:ext cx="839390" cy="77271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buFont typeface="Wingdings" charset="2"/>
                <a:buNone/>
              </a:pPr>
              <a:endParaRPr lang="en-US" altLang="en-US" sz="1050">
                <a:latin typeface="+mn-lt"/>
              </a:endParaRPr>
            </a:p>
          </p:txBody>
        </p:sp>
      </p:grpSp>
      <p:sp>
        <p:nvSpPr>
          <p:cNvPr id="6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982351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RACI table</a:t>
            </a:r>
          </a:p>
        </p:txBody>
      </p:sp>
      <p:sp>
        <p:nvSpPr>
          <p:cNvPr id="3277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 dirty="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722395"/>
              </p:ext>
            </p:extLst>
          </p:nvPr>
        </p:nvGraphicFramePr>
        <p:xfrm>
          <a:off x="2520011" y="1165768"/>
          <a:ext cx="6400800" cy="22250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Step/</a:t>
                      </a:r>
                      <a:b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</a:b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0" i="1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j-lt"/>
                        </a:rPr>
                        <a:t>Role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j-lt"/>
                        <a:ea typeface="MS PGothic" charset="-128"/>
                      </a:endParaRPr>
                    </a:p>
                  </a:txBody>
                  <a:tcPr marR="68580" marT="34290" marB="34290" anchor="ctr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effectLst/>
                          <a:latin typeface="+mn-lt"/>
                        </a:rPr>
                        <a:t>C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/decision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R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I</a:t>
                      </a: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+mn-lt"/>
                        <a:ea typeface="MS PGothic" charset="-128"/>
                      </a:endParaRPr>
                    </a:p>
                  </a:txBody>
                  <a:tcPr marL="68580" marR="68580" marT="34290" marB="34290" anchor="ctr" anchorCtr="1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526886" y="3518136"/>
            <a:ext cx="1356121" cy="977623"/>
            <a:chOff x="2966148" y="3491081"/>
            <a:chExt cx="1356121" cy="977623"/>
          </a:xfrm>
        </p:grpSpPr>
        <p:sp>
          <p:nvSpPr>
            <p:cNvPr id="32773" name="Rectangle 3" descr="10%"/>
            <p:cNvSpPr>
              <a:spLocks noChangeAspect="1" noChangeArrowheads="1"/>
            </p:cNvSpPr>
            <p:nvPr/>
          </p:nvSpPr>
          <p:spPr bwMode="auto">
            <a:xfrm>
              <a:off x="2966148" y="3553328"/>
              <a:ext cx="240506" cy="238125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 dirty="0">
                  <a:solidFill>
                    <a:schemeClr val="bg2"/>
                  </a:solidFill>
                  <a:latin typeface="+mn-lt"/>
                  <a:ea typeface="MS PGothic" charset="-128"/>
                </a:rPr>
                <a:t>R</a:t>
              </a:r>
              <a:endParaRPr lang="en-GB" altLang="en-US" sz="900" b="1" dirty="0">
                <a:solidFill>
                  <a:schemeClr val="bg2"/>
                </a:solidFill>
                <a:latin typeface="+mn-lt"/>
                <a:ea typeface="MS PGothic" charset="-128"/>
              </a:endParaRPr>
            </a:p>
          </p:txBody>
        </p:sp>
        <p:sp>
          <p:nvSpPr>
            <p:cNvPr id="32774" name="Text Box 4"/>
            <p:cNvSpPr txBox="1">
              <a:spLocks noChangeArrowheads="1"/>
            </p:cNvSpPr>
            <p:nvPr/>
          </p:nvSpPr>
          <p:spPr bwMode="auto">
            <a:xfrm>
              <a:off x="3225704" y="3491081"/>
              <a:ext cx="1096565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>
                  <a:latin typeface="+mn-lt"/>
                  <a:ea typeface="MS PGothic" charset="-128"/>
                </a:rPr>
                <a:t>Responsible</a:t>
              </a:r>
            </a:p>
            <a:p>
              <a:r>
                <a:rPr lang="en-US" altLang="en-US" sz="800">
                  <a:latin typeface="+mn-lt"/>
                  <a:ea typeface="MS PGothic" charset="-128"/>
                </a:rPr>
                <a:t>Has the duty and the obligation to do the work. Also, has a duty to exercise independent judgement to raise appropriate issue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318156" y="3518136"/>
            <a:ext cx="1371600" cy="977622"/>
            <a:chOff x="7657210" y="3491081"/>
            <a:chExt cx="1371600" cy="977622"/>
          </a:xfrm>
        </p:grpSpPr>
        <p:sp>
          <p:nvSpPr>
            <p:cNvPr id="32775" name="Rectangle 5"/>
            <p:cNvSpPr>
              <a:spLocks noChangeAspect="1" noChangeArrowheads="1"/>
            </p:cNvSpPr>
            <p:nvPr/>
          </p:nvSpPr>
          <p:spPr bwMode="auto">
            <a:xfrm>
              <a:off x="7657210" y="3553328"/>
              <a:ext cx="240506" cy="238125"/>
            </a:xfrm>
            <a:prstGeom prst="rect">
              <a:avLst/>
            </a:prstGeom>
            <a:solidFill>
              <a:schemeClr val="tx1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I</a:t>
              </a:r>
              <a:endParaRPr lang="en-GB" altLang="en-US" sz="900" b="1">
                <a:solidFill>
                  <a:schemeClr val="bg2"/>
                </a:solidFill>
                <a:latin typeface="+mn-lt"/>
                <a:ea typeface="MS PGothic" charset="-128"/>
              </a:endParaRPr>
            </a:p>
          </p:txBody>
        </p:sp>
        <p:sp>
          <p:nvSpPr>
            <p:cNvPr id="32776" name="Text Box 6"/>
            <p:cNvSpPr txBox="1">
              <a:spLocks noChangeArrowheads="1"/>
            </p:cNvSpPr>
            <p:nvPr/>
          </p:nvSpPr>
          <p:spPr bwMode="auto">
            <a:xfrm>
              <a:off x="7932244" y="3491081"/>
              <a:ext cx="1096566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 dirty="0">
                  <a:latin typeface="+mn-lt"/>
                  <a:ea typeface="MS PGothic" charset="-128"/>
                </a:rPr>
                <a:t>Informed</a:t>
              </a:r>
            </a:p>
            <a:p>
              <a:r>
                <a:rPr lang="en-US" altLang="en-US" sz="800" dirty="0">
                  <a:latin typeface="+mn-lt"/>
                  <a:ea typeface="MS PGothic" charset="-128"/>
                </a:rPr>
                <a:t>Is informed of progress, key decisions and deliverables by the </a:t>
              </a:r>
              <a:r>
                <a:rPr lang="ja-JP" altLang="en-US" sz="800" dirty="0">
                  <a:latin typeface="+mn-lt"/>
                  <a:ea typeface="MS PGothic" charset="-128"/>
                </a:rPr>
                <a:t>“</a:t>
              </a:r>
              <a:r>
                <a:rPr lang="en-US" altLang="ja-JP" sz="800" dirty="0">
                  <a:latin typeface="+mn-lt"/>
                  <a:ea typeface="MS PGothic" charset="-128"/>
                </a:rPr>
                <a:t>Responsible</a:t>
              </a:r>
              <a:r>
                <a:rPr lang="ja-JP" altLang="en-US" sz="800" dirty="0">
                  <a:latin typeface="+mn-lt"/>
                  <a:ea typeface="MS PGothic" charset="-128"/>
                </a:rPr>
                <a:t>”</a:t>
              </a:r>
              <a:r>
                <a:rPr lang="en-US" altLang="ja-JP" sz="800" dirty="0">
                  <a:latin typeface="+mn-lt"/>
                  <a:ea typeface="MS PGothic" charset="-128"/>
                </a:rPr>
                <a:t> party</a:t>
              </a:r>
              <a:endParaRPr lang="en-US" altLang="en-US" sz="800" b="1" dirty="0">
                <a:latin typeface="+mn-lt"/>
                <a:ea typeface="MS PGothic" charset="-128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16146" y="3518136"/>
            <a:ext cx="1381124" cy="977622"/>
            <a:chOff x="6067726" y="3491081"/>
            <a:chExt cx="1381124" cy="977622"/>
          </a:xfrm>
        </p:grpSpPr>
        <p:sp>
          <p:nvSpPr>
            <p:cNvPr id="32777" name="Text Box 7"/>
            <p:cNvSpPr txBox="1">
              <a:spLocks noChangeArrowheads="1"/>
            </p:cNvSpPr>
            <p:nvPr/>
          </p:nvSpPr>
          <p:spPr bwMode="auto">
            <a:xfrm>
              <a:off x="6352285" y="3491081"/>
              <a:ext cx="1096565" cy="977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>
                  <a:latin typeface="+mn-lt"/>
                  <a:ea typeface="MS PGothic" charset="-128"/>
                </a:rPr>
                <a:t>Consulted</a:t>
              </a:r>
            </a:p>
            <a:p>
              <a:r>
                <a:rPr lang="en-US" altLang="en-US" sz="800">
                  <a:latin typeface="+mn-lt"/>
                  <a:ea typeface="MS PGothic" charset="-128"/>
                </a:rPr>
                <a:t>Must be given the opportunity to influence plans and decisions prior to finalization by the </a:t>
              </a:r>
              <a:r>
                <a:rPr lang="ja-JP" altLang="en-US" sz="800">
                  <a:latin typeface="+mn-lt"/>
                  <a:ea typeface="MS PGothic" charset="-128"/>
                </a:rPr>
                <a:t>“</a:t>
              </a:r>
              <a:r>
                <a:rPr lang="en-US" altLang="ja-JP" sz="800">
                  <a:latin typeface="+mn-lt"/>
                  <a:ea typeface="MS PGothic" charset="-128"/>
                </a:rPr>
                <a:t>Responsible</a:t>
              </a:r>
              <a:r>
                <a:rPr lang="ja-JP" altLang="en-US" sz="800">
                  <a:latin typeface="+mn-lt"/>
                  <a:ea typeface="MS PGothic" charset="-128"/>
                </a:rPr>
                <a:t>”</a:t>
              </a:r>
              <a:r>
                <a:rPr lang="en-US" altLang="ja-JP" sz="800">
                  <a:latin typeface="+mn-lt"/>
                  <a:ea typeface="MS PGothic" charset="-128"/>
                </a:rPr>
                <a:t> party</a:t>
              </a:r>
              <a:endParaRPr lang="en-US" altLang="en-US" sz="800">
                <a:latin typeface="+mn-lt"/>
                <a:ea typeface="MS PGothic" charset="-128"/>
              </a:endParaRPr>
            </a:p>
          </p:txBody>
        </p:sp>
        <p:sp>
          <p:nvSpPr>
            <p:cNvPr id="32778" name="Rectangle 8"/>
            <p:cNvSpPr>
              <a:spLocks noChangeAspect="1" noChangeArrowheads="1"/>
            </p:cNvSpPr>
            <p:nvPr/>
          </p:nvSpPr>
          <p:spPr bwMode="auto">
            <a:xfrm>
              <a:off x="6067726" y="3553328"/>
              <a:ext cx="240506" cy="238125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C</a:t>
              </a:r>
              <a:endParaRPr lang="en-GB" altLang="en-US" sz="900" b="1">
                <a:latin typeface="+mn-lt"/>
                <a:ea typeface="MS PGothic" charset="-128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20610" y="3518135"/>
            <a:ext cx="1363266" cy="977623"/>
            <a:chOff x="4522294" y="3491080"/>
            <a:chExt cx="1363266" cy="977623"/>
          </a:xfrm>
        </p:grpSpPr>
        <p:sp>
          <p:nvSpPr>
            <p:cNvPr id="32779" name="Rectangle 9"/>
            <p:cNvSpPr>
              <a:spLocks noChangeAspect="1" noChangeArrowheads="1"/>
            </p:cNvSpPr>
            <p:nvPr/>
          </p:nvSpPr>
          <p:spPr bwMode="auto">
            <a:xfrm>
              <a:off x="4522294" y="3553328"/>
              <a:ext cx="240506" cy="2381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none" lIns="48006" tIns="48006" rIns="48006" bIns="48006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A</a:t>
              </a:r>
              <a:endParaRPr lang="en-GB" altLang="en-US" sz="900" b="1">
                <a:solidFill>
                  <a:schemeClr val="bg2"/>
                </a:solidFill>
                <a:latin typeface="+mn-lt"/>
                <a:ea typeface="MS PGothic" charset="-128"/>
              </a:endParaRPr>
            </a:p>
          </p:txBody>
        </p:sp>
        <p:sp>
          <p:nvSpPr>
            <p:cNvPr id="32780" name="Text Box 10"/>
            <p:cNvSpPr txBox="1">
              <a:spLocks noChangeArrowheads="1"/>
            </p:cNvSpPr>
            <p:nvPr/>
          </p:nvSpPr>
          <p:spPr bwMode="auto">
            <a:xfrm>
              <a:off x="4788994" y="3491080"/>
              <a:ext cx="1096566" cy="977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006" tIns="48006" rIns="48006" bIns="48006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r>
                <a:rPr lang="en-US" altLang="en-US" sz="800" b="1">
                  <a:latin typeface="+mn-lt"/>
                  <a:ea typeface="MS PGothic" charset="-128"/>
                </a:rPr>
                <a:t>Accountable</a:t>
              </a:r>
            </a:p>
            <a:p>
              <a:r>
                <a:rPr lang="en-US" altLang="en-US" sz="800">
                  <a:latin typeface="+mn-lt"/>
                  <a:ea typeface="MS PGothic" charset="-128"/>
                </a:rPr>
                <a:t>Has the authority to decide and is the recipient of any consequences (There can only be one </a:t>
              </a:r>
              <a:r>
                <a:rPr lang="ja-JP" altLang="en-US" sz="800">
                  <a:latin typeface="+mn-lt"/>
                  <a:ea typeface="MS PGothic" charset="-128"/>
                </a:rPr>
                <a:t>“</a:t>
              </a:r>
              <a:r>
                <a:rPr lang="en-US" altLang="ja-JP" sz="800">
                  <a:latin typeface="+mn-lt"/>
                  <a:ea typeface="MS PGothic" charset="-128"/>
                </a:rPr>
                <a:t>A</a:t>
              </a:r>
              <a:r>
                <a:rPr lang="ja-JP" altLang="en-US" sz="800">
                  <a:latin typeface="+mn-lt"/>
                  <a:ea typeface="MS PGothic" charset="-128"/>
                </a:rPr>
                <a:t>”</a:t>
              </a:r>
              <a:r>
                <a:rPr lang="en-US" altLang="ja-JP" sz="800">
                  <a:latin typeface="+mn-lt"/>
                  <a:ea typeface="MS PGothic" charset="-128"/>
                </a:rPr>
                <a:t> per process step)</a:t>
              </a:r>
              <a:endParaRPr lang="en-US" altLang="ja-JP" sz="800" b="1">
                <a:latin typeface="+mn-lt"/>
                <a:ea typeface="MS PGothic" charset="-128"/>
              </a:endParaRPr>
            </a:p>
            <a:p>
              <a:endParaRPr lang="en-US" altLang="en-US" sz="800" b="1">
                <a:latin typeface="+mn-lt"/>
                <a:ea typeface="MS PGothic" charset="-128"/>
              </a:endParaRPr>
            </a:p>
          </p:txBody>
        </p:sp>
      </p:grpSp>
      <p:sp>
        <p:nvSpPr>
          <p:cNvPr id="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609190380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2156284" y="1169638"/>
            <a:ext cx="4327963" cy="3374835"/>
            <a:chOff x="2112196" y="1158816"/>
            <a:chExt cx="4707082" cy="3670462"/>
          </a:xfrm>
        </p:grpSpPr>
        <p:sp>
          <p:nvSpPr>
            <p:cNvPr id="10" name="TextBox 9"/>
            <p:cNvSpPr txBox="1"/>
            <p:nvPr/>
          </p:nvSpPr>
          <p:spPr>
            <a:xfrm>
              <a:off x="2112196" y="1274568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/>
                <a:t>High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32514" y="4363983"/>
              <a:ext cx="520700" cy="234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/>
                <a:t>Low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221961" y="1158816"/>
              <a:ext cx="4597317" cy="3670462"/>
              <a:chOff x="2221836" y="1158816"/>
              <a:chExt cx="4645054" cy="3670462"/>
            </a:xfrm>
          </p:grpSpPr>
          <p:graphicFrame>
            <p:nvGraphicFramePr>
              <p:cNvPr id="6" name="Content Placeholder 15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266420665"/>
                  </p:ext>
                </p:extLst>
              </p:nvPr>
            </p:nvGraphicFramePr>
            <p:xfrm>
              <a:off x="2514600" y="1158816"/>
              <a:ext cx="4165827" cy="3383981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895469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9546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1555714">
                    <a:tc>
                      <a:txBody>
                        <a:bodyPr/>
                        <a:lstStyle/>
                        <a:p>
                          <a:endParaRPr lang="en-US" sz="1300" b="0" dirty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dirty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gradFill>
                          <a:gsLst>
                            <a:gs pos="0">
                              <a:schemeClr val="accent2"/>
                            </a:gs>
                            <a:gs pos="100000">
                              <a:schemeClr val="accent2">
                                <a:lumMod val="75000"/>
                              </a:schemeClr>
                            </a:gs>
                          </a:gsLst>
                          <a:lin ang="5400000" scaled="1"/>
                        </a:gra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555714">
                    <a:tc>
                      <a:txBody>
                        <a:bodyPr/>
                        <a:lstStyle/>
                        <a:p>
                          <a:endParaRPr lang="en-US" sz="1300" b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12700" cmpd="sng">
                          <a:noFill/>
                        </a:lnL>
                        <a:lnR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300" b="0" dirty="0">
                            <a:solidFill>
                              <a:schemeClr val="bg2"/>
                            </a:solidFill>
                          </a:endParaRPr>
                        </a:p>
                      </a:txBody>
                      <a:tcPr marL="210608" marR="210608" marT="210608" marB="210608">
                        <a:lnL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6350" cap="flat" cmpd="sng" algn="ctr">
                          <a:solidFill>
                            <a:schemeClr val="bg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3831265" y="4561489"/>
                <a:ext cx="1657020" cy="2677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en-US" sz="1000" b="1">
                    <a:ea typeface="MS PGothic" charset="-128"/>
                  </a:rPr>
                  <a:t>Strength of Company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 rot="16200000">
                <a:off x="1050926" y="2795457"/>
                <a:ext cx="2612390" cy="2705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accent1"/>
                  </a:buClr>
                  <a:buSzPct val="125000"/>
                </a:pPr>
                <a:r>
                  <a:rPr lang="en-US" altLang="en-US" sz="1000" b="1">
                    <a:ea typeface="MS PGothic" charset="-128"/>
                  </a:rPr>
                  <a:t>Strength of Solution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404505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/>
                  <a:t>Low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346191" y="4526241"/>
                <a:ext cx="520699" cy="23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/>
                  <a:t>High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2706984" y="1643095"/>
                <a:ext cx="3973443" cy="2347879"/>
                <a:chOff x="4858308" y="1610999"/>
                <a:chExt cx="3973443" cy="2347879"/>
              </a:xfrm>
            </p:grpSpPr>
            <p:sp>
              <p:nvSpPr>
                <p:cNvPr id="14" name="Rectangle 19"/>
                <p:cNvSpPr>
                  <a:spLocks noChangeArrowheads="1"/>
                </p:cNvSpPr>
                <p:nvPr/>
              </p:nvSpPr>
              <p:spPr bwMode="auto">
                <a:xfrm>
                  <a:off x="7775946" y="2086365"/>
                  <a:ext cx="1055805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AC Nielsen</a:t>
                  </a:r>
                </a:p>
              </p:txBody>
            </p:sp>
            <p:sp>
              <p:nvSpPr>
                <p:cNvPr id="15" name="Rectangle 20"/>
                <p:cNvSpPr>
                  <a:spLocks noChangeArrowheads="1"/>
                </p:cNvSpPr>
                <p:nvPr/>
              </p:nvSpPr>
              <p:spPr bwMode="auto">
                <a:xfrm>
                  <a:off x="5221449" y="3732405"/>
                  <a:ext cx="839391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err="1">
                      <a:latin typeface="+mn-lt"/>
                      <a:ea typeface="MS PGothic" charset="-128"/>
                    </a:rPr>
                    <a:t>Kenosia</a:t>
                  </a:r>
                  <a:endParaRPr lang="en-US" altLang="en-US" sz="900">
                    <a:latin typeface="+mn-lt"/>
                    <a:ea typeface="MS PGothic" charset="-128"/>
                  </a:endParaRPr>
                </a:p>
              </p:txBody>
            </p:sp>
            <p:sp>
              <p:nvSpPr>
                <p:cNvPr id="16" name="Rectangle 21"/>
                <p:cNvSpPr>
                  <a:spLocks noChangeArrowheads="1"/>
                </p:cNvSpPr>
                <p:nvPr/>
              </p:nvSpPr>
              <p:spPr bwMode="auto">
                <a:xfrm>
                  <a:off x="6045640" y="2964452"/>
                  <a:ext cx="787004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err="1">
                      <a:latin typeface="+mn-lt"/>
                      <a:ea typeface="MS PGothic" charset="-128"/>
                    </a:rPr>
                    <a:t>Mercari</a:t>
                  </a:r>
                  <a:endParaRPr lang="en-US" altLang="en-US" sz="900">
                    <a:latin typeface="+mn-lt"/>
                    <a:ea typeface="MS PGothic" charset="-128"/>
                  </a:endParaRPr>
                </a:p>
              </p:txBody>
            </p:sp>
            <p:sp>
              <p:nvSpPr>
                <p:cNvPr id="17" name="Rectangle 22"/>
                <p:cNvSpPr>
                  <a:spLocks noChangeArrowheads="1"/>
                </p:cNvSpPr>
                <p:nvPr/>
              </p:nvSpPr>
              <p:spPr bwMode="auto">
                <a:xfrm>
                  <a:off x="7228842" y="1610999"/>
                  <a:ext cx="1528763" cy="377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Information </a:t>
                  </a:r>
                  <a:b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</a:br>
                  <a:r>
                    <a:rPr lang="en-US" altLang="en-US" sz="900" dirty="0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Resources, Inc. (IRI)</a:t>
                  </a:r>
                </a:p>
              </p:txBody>
            </p:sp>
            <p:sp>
              <p:nvSpPr>
                <p:cNvPr id="18" name="Rectangle 23"/>
                <p:cNvSpPr>
                  <a:spLocks noChangeArrowheads="1"/>
                </p:cNvSpPr>
                <p:nvPr/>
              </p:nvSpPr>
              <p:spPr bwMode="auto">
                <a:xfrm>
                  <a:off x="6840699" y="2850152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>
                      <a:latin typeface="+mn-lt"/>
                      <a:ea typeface="MS PGothic" charset="-128"/>
                    </a:rPr>
                    <a:t>Interactive Edge</a:t>
                  </a:r>
                </a:p>
              </p:txBody>
            </p:sp>
            <p:sp>
              <p:nvSpPr>
                <p:cNvPr id="19" name="Rectangle 24"/>
                <p:cNvSpPr>
                  <a:spLocks noChangeArrowheads="1"/>
                </p:cNvSpPr>
                <p:nvPr/>
              </p:nvSpPr>
              <p:spPr bwMode="auto">
                <a:xfrm>
                  <a:off x="6691871" y="2394142"/>
                  <a:ext cx="947739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 err="1">
                      <a:solidFill>
                        <a:schemeClr val="bg2"/>
                      </a:solidFill>
                      <a:latin typeface="+mn-lt"/>
                      <a:ea typeface="MS PGothic" charset="-128"/>
                    </a:rPr>
                    <a:t>Demantra</a:t>
                  </a:r>
                  <a:endParaRPr lang="en-US" altLang="en-US" sz="900">
                    <a:solidFill>
                      <a:schemeClr val="bg2"/>
                    </a:solidFill>
                    <a:latin typeface="+mn-lt"/>
                    <a:ea typeface="MS PGothic" charset="-128"/>
                  </a:endParaRPr>
                </a:p>
              </p:txBody>
            </p:sp>
            <p:sp>
              <p:nvSpPr>
                <p:cNvPr id="20" name="Rectangle 25"/>
                <p:cNvSpPr>
                  <a:spLocks noChangeArrowheads="1"/>
                </p:cNvSpPr>
                <p:nvPr/>
              </p:nvSpPr>
              <p:spPr bwMode="auto">
                <a:xfrm>
                  <a:off x="4858308" y="3483564"/>
                  <a:ext cx="1651397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>
                      <a:latin typeface="+mn-lt"/>
                      <a:ea typeface="MS PGothic" charset="-128"/>
                    </a:rPr>
                    <a:t>RW3 Technologies</a:t>
                  </a:r>
                </a:p>
              </p:txBody>
            </p:sp>
            <p:sp>
              <p:nvSpPr>
                <p:cNvPr id="21" name="Rectangle 23"/>
                <p:cNvSpPr>
                  <a:spLocks noChangeArrowheads="1"/>
                </p:cNvSpPr>
                <p:nvPr/>
              </p:nvSpPr>
              <p:spPr bwMode="auto">
                <a:xfrm>
                  <a:off x="7006196" y="3129948"/>
                  <a:ext cx="1288256" cy="2264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9056" tIns="34529" rIns="69056" bIns="34529" anchor="ctr">
                  <a:spAutoFit/>
                </a:bodyPr>
                <a:lstStyle>
                  <a:lvl1pPr marL="177800" indent="-1778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115888" indent="-115888">
                    <a:buClr>
                      <a:schemeClr val="bg2"/>
                    </a:buClr>
                    <a:buFont typeface="Wingdings" charset="2"/>
                    <a:buChar char="l"/>
                  </a:pPr>
                  <a:r>
                    <a:rPr lang="en-US" altLang="en-US" sz="900">
                      <a:latin typeface="+mn-lt"/>
                      <a:ea typeface="MS PGothic" charset="-128"/>
                    </a:rPr>
                    <a:t>Interactive Edge</a:t>
                  </a:r>
                </a:p>
              </p:txBody>
            </p:sp>
          </p:grpSp>
        </p:grpSp>
      </p:grpSp>
      <p:sp>
        <p:nvSpPr>
          <p:cNvPr id="28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0059726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Harvey-Ball tables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35842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his table may be expanded to accommodate as many rows and columns as can fit on page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All Harvey Ball columns and rows are evenly distributed.</a:t>
            </a:r>
          </a:p>
          <a:p>
            <a:pPr lvl="1">
              <a:spcBef>
                <a:spcPct val="50000"/>
              </a:spcBef>
              <a:buClr>
                <a:schemeClr val="tx1"/>
              </a:buClr>
            </a:pPr>
            <a:r>
              <a:rPr lang="en-US" altLang="en-US"/>
              <a:t>Type should be left-aligned within each</a:t>
            </a:r>
          </a:p>
          <a:p>
            <a:pPr lvl="1"/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1214433"/>
              </p:ext>
            </p:extLst>
          </p:nvPr>
        </p:nvGraphicFramePr>
        <p:xfrm>
          <a:off x="2529392" y="1167571"/>
          <a:ext cx="6400800" cy="259038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3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ACNiels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Demantr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formation Resources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Interactive Edg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Kenosia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Mercari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</a:rPr>
                        <a:t>RW3 Tech</a:t>
                      </a:r>
                      <a:endParaRPr kumimoji="0" lang="en-US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Breadth and Depth of Functionality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738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trength of Architecture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98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Ability to Support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46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ase of Implementa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8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Overall Strength of Solution</a:t>
                      </a:r>
                      <a:endParaRPr kumimoji="0" lang="en-US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9525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68580" marR="68580" marT="34298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31258" y="3965621"/>
            <a:ext cx="1191817" cy="161925"/>
            <a:chOff x="2531258" y="3965621"/>
            <a:chExt cx="1191817" cy="161925"/>
          </a:xfrm>
        </p:grpSpPr>
        <p:sp>
          <p:nvSpPr>
            <p:cNvPr id="35949" name="Rectangle 96"/>
            <p:cNvSpPr>
              <a:spLocks noChangeArrowheads="1"/>
            </p:cNvSpPr>
            <p:nvPr/>
          </p:nvSpPr>
          <p:spPr bwMode="auto">
            <a:xfrm>
              <a:off x="3330168" y="3965621"/>
              <a:ext cx="30003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>
                  <a:solidFill>
                    <a:srgbClr val="000000"/>
                  </a:solidFill>
                  <a:latin typeface="+mn-lt"/>
                </a:rPr>
                <a:t>High</a:t>
              </a:r>
            </a:p>
          </p:txBody>
        </p:sp>
        <p:sp>
          <p:nvSpPr>
            <p:cNvPr id="35950" name="Rectangle 97"/>
            <p:cNvSpPr>
              <a:spLocks noChangeArrowheads="1"/>
            </p:cNvSpPr>
            <p:nvPr/>
          </p:nvSpPr>
          <p:spPr bwMode="auto">
            <a:xfrm>
              <a:off x="2637224" y="3965621"/>
              <a:ext cx="28217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600">
                  <a:solidFill>
                    <a:srgbClr val="000000"/>
                  </a:solidFill>
                  <a:latin typeface="+mn-lt"/>
                </a:rPr>
                <a:t>Low</a:t>
              </a:r>
            </a:p>
          </p:txBody>
        </p:sp>
        <p:sp>
          <p:nvSpPr>
            <p:cNvPr id="35951" name="Line 98"/>
            <p:cNvSpPr>
              <a:spLocks noChangeShapeType="1"/>
            </p:cNvSpPr>
            <p:nvPr/>
          </p:nvSpPr>
          <p:spPr bwMode="auto">
            <a:xfrm>
              <a:off x="2896780" y="4047744"/>
              <a:ext cx="459582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35952" name="Oval 5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blackWhite">
            <a:xfrm>
              <a:off x="2531258" y="3975146"/>
              <a:ext cx="136922" cy="136922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35953" name="Oval 18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black">
            <a:xfrm>
              <a:off x="3586153" y="3975146"/>
              <a:ext cx="136922" cy="13692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</p:grpSp>
      <p:sp>
        <p:nvSpPr>
          <p:cNvPr id="105" name="Oval 5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638608" y="1648010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sp>
        <p:nvSpPr>
          <p:cNvPr id="143" name="Oval 5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blackWhite">
          <a:xfrm>
            <a:off x="3638608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sp>
        <p:nvSpPr>
          <p:cNvPr id="147" name="Oval 5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blackWhite">
          <a:xfrm>
            <a:off x="3643943" y="2091345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55" name="Group 163"/>
          <p:cNvGrpSpPr>
            <a:grpSpLocks/>
          </p:cNvGrpSpPr>
          <p:nvPr/>
        </p:nvGrpSpPr>
        <p:grpSpPr bwMode="auto">
          <a:xfrm>
            <a:off x="3639053" y="3005027"/>
            <a:ext cx="205979" cy="205978"/>
            <a:chOff x="3110" y="3772"/>
            <a:chExt cx="231" cy="231"/>
          </a:xfrm>
        </p:grpSpPr>
        <p:sp>
          <p:nvSpPr>
            <p:cNvPr id="156" name="Oval 8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57" name="Arc 9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73" name="Oval 5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blackWhite">
          <a:xfrm>
            <a:off x="3639498" y="3436948"/>
            <a:ext cx="205979" cy="205979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09" name="Group 110"/>
          <p:cNvGrpSpPr>
            <a:grpSpLocks/>
          </p:cNvGrpSpPr>
          <p:nvPr/>
        </p:nvGrpSpPr>
        <p:grpSpPr bwMode="auto">
          <a:xfrm>
            <a:off x="6812700" y="2091345"/>
            <a:ext cx="205978" cy="204788"/>
            <a:chOff x="3398" y="3773"/>
            <a:chExt cx="231" cy="230"/>
          </a:xfrm>
        </p:grpSpPr>
        <p:sp>
          <p:nvSpPr>
            <p:cNvPr id="110" name="Oval 11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11" name="Arc 12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12" name="Group 113"/>
          <p:cNvGrpSpPr>
            <a:grpSpLocks/>
          </p:cNvGrpSpPr>
          <p:nvPr/>
        </p:nvGrpSpPr>
        <p:grpSpPr bwMode="auto">
          <a:xfrm>
            <a:off x="6812255" y="1648010"/>
            <a:ext cx="207169" cy="205978"/>
            <a:chOff x="3686" y="3772"/>
            <a:chExt cx="232" cy="231"/>
          </a:xfrm>
        </p:grpSpPr>
        <p:sp>
          <p:nvSpPr>
            <p:cNvPr id="113" name="Oval 14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14" name="Arc 15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16" name="Oval 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blackWhite">
          <a:xfrm>
            <a:off x="6812255" y="2543386"/>
            <a:ext cx="205978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sp>
        <p:nvSpPr>
          <p:cNvPr id="129" name="Oval 18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black">
          <a:xfrm>
            <a:off x="6812255" y="3005027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74" name="Group 286"/>
          <p:cNvGrpSpPr>
            <a:grpSpLocks/>
          </p:cNvGrpSpPr>
          <p:nvPr/>
        </p:nvGrpSpPr>
        <p:grpSpPr bwMode="auto">
          <a:xfrm>
            <a:off x="6812700" y="3436948"/>
            <a:ext cx="207169" cy="205979"/>
            <a:chOff x="3686" y="3772"/>
            <a:chExt cx="232" cy="231"/>
          </a:xfrm>
        </p:grpSpPr>
        <p:sp>
          <p:nvSpPr>
            <p:cNvPr id="175" name="Oval 14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76" name="Arc 15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06" name="Group 107"/>
          <p:cNvGrpSpPr>
            <a:grpSpLocks/>
          </p:cNvGrpSpPr>
          <p:nvPr/>
        </p:nvGrpSpPr>
        <p:grpSpPr bwMode="auto">
          <a:xfrm>
            <a:off x="7608738" y="2091345"/>
            <a:ext cx="205979" cy="205978"/>
            <a:chOff x="3110" y="3772"/>
            <a:chExt cx="231" cy="231"/>
          </a:xfrm>
        </p:grpSpPr>
        <p:sp>
          <p:nvSpPr>
            <p:cNvPr id="107" name="Oval 8"/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08" name="Arc 9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15" name="Oval 18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black">
          <a:xfrm>
            <a:off x="7608293" y="2543386"/>
            <a:ext cx="205979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20" name="Group 128"/>
          <p:cNvGrpSpPr>
            <a:grpSpLocks/>
          </p:cNvGrpSpPr>
          <p:nvPr/>
        </p:nvGrpSpPr>
        <p:grpSpPr bwMode="auto">
          <a:xfrm>
            <a:off x="7608293" y="1648010"/>
            <a:ext cx="205979" cy="205978"/>
            <a:chOff x="3110" y="3772"/>
            <a:chExt cx="231" cy="231"/>
          </a:xfrm>
        </p:grpSpPr>
        <p:sp>
          <p:nvSpPr>
            <p:cNvPr id="121" name="Oval 8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22" name="Arc 9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0" name="Group 138"/>
          <p:cNvGrpSpPr>
            <a:grpSpLocks/>
          </p:cNvGrpSpPr>
          <p:nvPr/>
        </p:nvGrpSpPr>
        <p:grpSpPr bwMode="auto">
          <a:xfrm>
            <a:off x="7608294" y="3005027"/>
            <a:ext cx="207169" cy="205978"/>
            <a:chOff x="3686" y="3772"/>
            <a:chExt cx="232" cy="231"/>
          </a:xfrm>
        </p:grpSpPr>
        <p:sp>
          <p:nvSpPr>
            <p:cNvPr id="131" name="Oval 14"/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32" name="Arc 15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77" name="Group 289"/>
          <p:cNvGrpSpPr>
            <a:grpSpLocks/>
          </p:cNvGrpSpPr>
          <p:nvPr/>
        </p:nvGrpSpPr>
        <p:grpSpPr bwMode="auto">
          <a:xfrm>
            <a:off x="7608738" y="3436948"/>
            <a:ext cx="205979" cy="205979"/>
            <a:chOff x="3110" y="3772"/>
            <a:chExt cx="231" cy="231"/>
          </a:xfrm>
        </p:grpSpPr>
        <p:sp>
          <p:nvSpPr>
            <p:cNvPr id="178" name="Oval 8"/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79" name="Arc 9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23" name="Group 131"/>
          <p:cNvGrpSpPr>
            <a:grpSpLocks/>
          </p:cNvGrpSpPr>
          <p:nvPr/>
        </p:nvGrpSpPr>
        <p:grpSpPr bwMode="auto">
          <a:xfrm>
            <a:off x="4424142" y="3005027"/>
            <a:ext cx="205978" cy="204788"/>
            <a:chOff x="3398" y="3773"/>
            <a:chExt cx="231" cy="230"/>
          </a:xfrm>
        </p:grpSpPr>
        <p:sp>
          <p:nvSpPr>
            <p:cNvPr id="124" name="Oval 11"/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25" name="Arc 12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26" name="Group 134"/>
          <p:cNvGrpSpPr>
            <a:grpSpLocks/>
          </p:cNvGrpSpPr>
          <p:nvPr/>
        </p:nvGrpSpPr>
        <p:grpSpPr bwMode="auto">
          <a:xfrm>
            <a:off x="4422951" y="2543386"/>
            <a:ext cx="207169" cy="205978"/>
            <a:chOff x="3686" y="3772"/>
            <a:chExt cx="232" cy="231"/>
          </a:xfrm>
        </p:grpSpPr>
        <p:sp>
          <p:nvSpPr>
            <p:cNvPr id="127" name="Oval 14"/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28" name="Arc 15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6" name="Group 144"/>
          <p:cNvGrpSpPr>
            <a:grpSpLocks/>
          </p:cNvGrpSpPr>
          <p:nvPr/>
        </p:nvGrpSpPr>
        <p:grpSpPr bwMode="auto">
          <a:xfrm>
            <a:off x="4423396" y="2091345"/>
            <a:ext cx="205979" cy="204788"/>
            <a:chOff x="3398" y="3773"/>
            <a:chExt cx="231" cy="230"/>
          </a:xfrm>
        </p:grpSpPr>
        <p:sp>
          <p:nvSpPr>
            <p:cNvPr id="137" name="Oval 11"/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38" name="Arc 1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9" name="Group 147"/>
          <p:cNvGrpSpPr>
            <a:grpSpLocks/>
          </p:cNvGrpSpPr>
          <p:nvPr/>
        </p:nvGrpSpPr>
        <p:grpSpPr bwMode="auto">
          <a:xfrm>
            <a:off x="4422951" y="1648010"/>
            <a:ext cx="207169" cy="205978"/>
            <a:chOff x="3686" y="3772"/>
            <a:chExt cx="232" cy="231"/>
          </a:xfrm>
        </p:grpSpPr>
        <p:sp>
          <p:nvSpPr>
            <p:cNvPr id="140" name="Oval 14"/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41" name="Arc 1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0" name="Group 292"/>
          <p:cNvGrpSpPr>
            <a:grpSpLocks/>
          </p:cNvGrpSpPr>
          <p:nvPr/>
        </p:nvGrpSpPr>
        <p:grpSpPr bwMode="auto">
          <a:xfrm>
            <a:off x="4423396" y="3436948"/>
            <a:ext cx="207169" cy="205979"/>
            <a:chOff x="3686" y="3772"/>
            <a:chExt cx="232" cy="231"/>
          </a:xfrm>
        </p:grpSpPr>
        <p:sp>
          <p:nvSpPr>
            <p:cNvPr id="181" name="Oval 14"/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82" name="Arc 15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17" name="Group 125"/>
          <p:cNvGrpSpPr>
            <a:grpSpLocks/>
          </p:cNvGrpSpPr>
          <p:nvPr/>
        </p:nvGrpSpPr>
        <p:grpSpPr bwMode="auto">
          <a:xfrm>
            <a:off x="6021692" y="3005027"/>
            <a:ext cx="207169" cy="205978"/>
            <a:chOff x="3686" y="3772"/>
            <a:chExt cx="232" cy="231"/>
          </a:xfrm>
        </p:grpSpPr>
        <p:sp>
          <p:nvSpPr>
            <p:cNvPr id="118" name="Oval 117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19" name="Arc 15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33" name="Group 141"/>
          <p:cNvGrpSpPr>
            <a:grpSpLocks/>
          </p:cNvGrpSpPr>
          <p:nvPr/>
        </p:nvGrpSpPr>
        <p:grpSpPr bwMode="auto">
          <a:xfrm>
            <a:off x="6020947" y="2091345"/>
            <a:ext cx="205978" cy="205978"/>
            <a:chOff x="3110" y="3772"/>
            <a:chExt cx="231" cy="231"/>
          </a:xfrm>
        </p:grpSpPr>
        <p:sp>
          <p:nvSpPr>
            <p:cNvPr id="134" name="Oval 8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35" name="Arc 9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42" name="Oval 18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black">
          <a:xfrm>
            <a:off x="6020502" y="2543386"/>
            <a:ext cx="205978" cy="20597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44" name="Group 152"/>
          <p:cNvGrpSpPr>
            <a:grpSpLocks/>
          </p:cNvGrpSpPr>
          <p:nvPr/>
        </p:nvGrpSpPr>
        <p:grpSpPr bwMode="auto">
          <a:xfrm>
            <a:off x="6020502" y="1648010"/>
            <a:ext cx="205978" cy="205978"/>
            <a:chOff x="3110" y="3772"/>
            <a:chExt cx="231" cy="231"/>
          </a:xfrm>
        </p:grpSpPr>
        <p:sp>
          <p:nvSpPr>
            <p:cNvPr id="145" name="Oval 8"/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46" name="Arc 9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3" name="Group 295"/>
          <p:cNvGrpSpPr>
            <a:grpSpLocks/>
          </p:cNvGrpSpPr>
          <p:nvPr/>
        </p:nvGrpSpPr>
        <p:grpSpPr bwMode="auto">
          <a:xfrm>
            <a:off x="6020947" y="3436948"/>
            <a:ext cx="205978" cy="205979"/>
            <a:chOff x="3110" y="3772"/>
            <a:chExt cx="231" cy="231"/>
          </a:xfrm>
        </p:grpSpPr>
        <p:sp>
          <p:nvSpPr>
            <p:cNvPr id="184" name="Oval 8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blackWhite">
            <a:xfrm>
              <a:off x="3110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85" name="Arc 9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black">
            <a:xfrm>
              <a:off x="3226" y="3773"/>
              <a:ext cx="115" cy="11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0" y="-1"/>
                  </a:moveTo>
                  <a:cubicBezTo>
                    <a:pt x="11929" y="-1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48" name="Group 156"/>
          <p:cNvGrpSpPr>
            <a:grpSpLocks/>
          </p:cNvGrpSpPr>
          <p:nvPr/>
        </p:nvGrpSpPr>
        <p:grpSpPr bwMode="auto">
          <a:xfrm>
            <a:off x="8448575" y="2091345"/>
            <a:ext cx="205979" cy="204788"/>
            <a:chOff x="3398" y="3773"/>
            <a:chExt cx="231" cy="230"/>
          </a:xfrm>
        </p:grpSpPr>
        <p:sp>
          <p:nvSpPr>
            <p:cNvPr id="149" name="Oval 11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50" name="Arc 1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51" name="Group 159"/>
          <p:cNvGrpSpPr>
            <a:grpSpLocks/>
          </p:cNvGrpSpPr>
          <p:nvPr/>
        </p:nvGrpSpPr>
        <p:grpSpPr bwMode="auto">
          <a:xfrm>
            <a:off x="8448130" y="1648010"/>
            <a:ext cx="207169" cy="205978"/>
            <a:chOff x="3686" y="3772"/>
            <a:chExt cx="232" cy="231"/>
          </a:xfrm>
        </p:grpSpPr>
        <p:sp>
          <p:nvSpPr>
            <p:cNvPr id="152" name="Oval 14"/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53" name="Arc 15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54" name="Oval 5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blackWhite">
          <a:xfrm>
            <a:off x="8448130" y="2543386"/>
            <a:ext cx="205979" cy="205978"/>
          </a:xfrm>
          <a:prstGeom prst="ellipse">
            <a:avLst/>
          </a:prstGeom>
          <a:solidFill>
            <a:srgbClr val="B4B4B4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endParaRPr lang="zh-CN" altLang="en-US" sz="1200">
              <a:latin typeface="+mn-lt"/>
              <a:ea typeface="SimSun" charset="-122"/>
            </a:endParaRPr>
          </a:p>
        </p:txBody>
      </p:sp>
      <p:grpSp>
        <p:nvGrpSpPr>
          <p:cNvPr id="158" name="Group 166"/>
          <p:cNvGrpSpPr>
            <a:grpSpLocks/>
          </p:cNvGrpSpPr>
          <p:nvPr/>
        </p:nvGrpSpPr>
        <p:grpSpPr bwMode="auto">
          <a:xfrm>
            <a:off x="8448130" y="3005027"/>
            <a:ext cx="207169" cy="205978"/>
            <a:chOff x="3686" y="3772"/>
            <a:chExt cx="232" cy="231"/>
          </a:xfrm>
        </p:grpSpPr>
        <p:sp>
          <p:nvSpPr>
            <p:cNvPr id="159" name="Oval 14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0" name="Arc 15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6" name="Group 298"/>
          <p:cNvGrpSpPr>
            <a:grpSpLocks/>
          </p:cNvGrpSpPr>
          <p:nvPr/>
        </p:nvGrpSpPr>
        <p:grpSpPr bwMode="auto">
          <a:xfrm>
            <a:off x="8448575" y="3436948"/>
            <a:ext cx="207169" cy="205979"/>
            <a:chOff x="3686" y="3772"/>
            <a:chExt cx="232" cy="231"/>
          </a:xfrm>
        </p:grpSpPr>
        <p:sp>
          <p:nvSpPr>
            <p:cNvPr id="187" name="Oval 14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88" name="Arc 15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61" name="Group 273"/>
          <p:cNvGrpSpPr>
            <a:grpSpLocks/>
          </p:cNvGrpSpPr>
          <p:nvPr/>
        </p:nvGrpSpPr>
        <p:grpSpPr bwMode="auto">
          <a:xfrm>
            <a:off x="5225655" y="3005027"/>
            <a:ext cx="205978" cy="204788"/>
            <a:chOff x="3398" y="3773"/>
            <a:chExt cx="231" cy="230"/>
          </a:xfrm>
        </p:grpSpPr>
        <p:sp>
          <p:nvSpPr>
            <p:cNvPr id="162" name="Oval 11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3" name="Arc 1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64" name="Group 276"/>
          <p:cNvGrpSpPr>
            <a:grpSpLocks/>
          </p:cNvGrpSpPr>
          <p:nvPr/>
        </p:nvGrpSpPr>
        <p:grpSpPr bwMode="auto">
          <a:xfrm>
            <a:off x="5224464" y="2543386"/>
            <a:ext cx="207169" cy="205978"/>
            <a:chOff x="3686" y="3772"/>
            <a:chExt cx="232" cy="231"/>
          </a:xfrm>
        </p:grpSpPr>
        <p:sp>
          <p:nvSpPr>
            <p:cNvPr id="165" name="Oval 14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6" name="Arc 1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67" name="Group 279"/>
          <p:cNvGrpSpPr>
            <a:grpSpLocks/>
          </p:cNvGrpSpPr>
          <p:nvPr/>
        </p:nvGrpSpPr>
        <p:grpSpPr bwMode="auto">
          <a:xfrm>
            <a:off x="5224909" y="2091345"/>
            <a:ext cx="205979" cy="204788"/>
            <a:chOff x="3398" y="3773"/>
            <a:chExt cx="231" cy="230"/>
          </a:xfrm>
        </p:grpSpPr>
        <p:sp>
          <p:nvSpPr>
            <p:cNvPr id="168" name="Oval 11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blackWhite">
            <a:xfrm>
              <a:off x="3398" y="3773"/>
              <a:ext cx="231" cy="230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69" name="Arc 12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3514" y="3773"/>
              <a:ext cx="115" cy="230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</a:path>
                <a:path w="21600" h="43200" stroke="0" extrusionOk="0">
                  <a:moveTo>
                    <a:pt x="0" y="-1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200"/>
                    <a:pt x="-1" y="43200"/>
                  </a:cubicBezTo>
                  <a:lnTo>
                    <a:pt x="0" y="21600"/>
                  </a:lnTo>
                  <a:lnTo>
                    <a:pt x="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70" name="Group 282"/>
          <p:cNvGrpSpPr>
            <a:grpSpLocks/>
          </p:cNvGrpSpPr>
          <p:nvPr/>
        </p:nvGrpSpPr>
        <p:grpSpPr bwMode="auto">
          <a:xfrm>
            <a:off x="5224464" y="1648010"/>
            <a:ext cx="207169" cy="205978"/>
            <a:chOff x="3686" y="3772"/>
            <a:chExt cx="232" cy="231"/>
          </a:xfrm>
        </p:grpSpPr>
        <p:sp>
          <p:nvSpPr>
            <p:cNvPr id="171" name="Oval 14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72" name="Arc 15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grpSp>
        <p:nvGrpSpPr>
          <p:cNvPr id="189" name="Group 301"/>
          <p:cNvGrpSpPr>
            <a:grpSpLocks/>
          </p:cNvGrpSpPr>
          <p:nvPr/>
        </p:nvGrpSpPr>
        <p:grpSpPr bwMode="auto">
          <a:xfrm>
            <a:off x="5224909" y="3436948"/>
            <a:ext cx="207169" cy="205979"/>
            <a:chOff x="3686" y="3772"/>
            <a:chExt cx="232" cy="231"/>
          </a:xfrm>
        </p:grpSpPr>
        <p:sp>
          <p:nvSpPr>
            <p:cNvPr id="190" name="Oval 14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3686" y="3772"/>
              <a:ext cx="231" cy="231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endParaRPr lang="zh-CN" altLang="en-US" sz="1200">
                <a:latin typeface="+mn-lt"/>
                <a:ea typeface="SimSun" charset="-122"/>
              </a:endParaRPr>
            </a:p>
          </p:txBody>
        </p:sp>
        <p:sp>
          <p:nvSpPr>
            <p:cNvPr id="191" name="Arc 1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3687" y="3772"/>
              <a:ext cx="231" cy="231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</a:path>
                <a:path w="43200" h="43200" stroke="0" extrusionOk="0">
                  <a:moveTo>
                    <a:pt x="21600" y="-1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199"/>
                    <a:pt x="-1" y="33529"/>
                    <a:pt x="-1" y="21599"/>
                  </a:cubicBezTo>
                  <a:lnTo>
                    <a:pt x="21600" y="21600"/>
                  </a:lnTo>
                  <a:lnTo>
                    <a:pt x="21600" y="-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013"/>
            </a:p>
          </p:txBody>
        </p:sp>
      </p:grpSp>
      <p:sp>
        <p:nvSpPr>
          <p:cNvPr id="102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18766143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ategy overview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2514600" y="1135412"/>
            <a:ext cx="6400800" cy="1944802"/>
            <a:chOff x="2514600" y="1135412"/>
            <a:chExt cx="6400800" cy="1944802"/>
          </a:xfrm>
        </p:grpSpPr>
        <p:sp>
          <p:nvSpPr>
            <p:cNvPr id="30" name="Pentagon 29"/>
            <p:cNvSpPr/>
            <p:nvPr/>
          </p:nvSpPr>
          <p:spPr>
            <a:xfrm>
              <a:off x="6373504" y="1410623"/>
              <a:ext cx="2541896" cy="1545183"/>
            </a:xfrm>
            <a:prstGeom prst="homePlate">
              <a:avLst>
                <a:gd name="adj" fmla="val 31760"/>
              </a:avLst>
            </a:prstGeom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0800000" scaled="1"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47" name="Chevron 23"/>
            <p:cNvSpPr/>
            <p:nvPr/>
          </p:nvSpPr>
          <p:spPr>
            <a:xfrm>
              <a:off x="4343400" y="1410623"/>
              <a:ext cx="25146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10800000" scaled="1"/>
              <a:tileRect/>
            </a:gra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5053277" y="1142879"/>
              <a:ext cx="1722835" cy="19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b="1">
                  <a:latin typeface="+mn-lt"/>
                  <a:ea typeface="SimSun" charset="-122"/>
                </a:rPr>
                <a:t>Key Features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5053277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 eaLnBrk="1" hangingPunct="1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Pillar 1 Features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734114" y="1139008"/>
              <a:ext cx="1339619" cy="19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b="1">
                  <a:latin typeface="+mn-lt"/>
                  <a:ea typeface="SimSun" charset="-122"/>
                </a:rPr>
                <a:t>Pillars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053277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Pillar 2 Features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5053277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171450" indent="-171450">
                <a:lnSpc>
                  <a:spcPct val="80000"/>
                </a:lnSpc>
                <a:spcBef>
                  <a:spcPct val="30000"/>
                </a:spcBef>
                <a:buFont typeface="Arial" charset="0"/>
                <a:buChar char="•"/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Pillar 3 Features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7091386" y="1135412"/>
              <a:ext cx="1722835" cy="192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lnSpc>
                  <a:spcPct val="104000"/>
                </a:lnSpc>
                <a:spcBef>
                  <a:spcPct val="20000"/>
                </a:spcBef>
                <a:buClr>
                  <a:schemeClr val="accent1"/>
                </a:buClr>
                <a:buFont typeface="Wingdings" charset="2"/>
                <a:buNone/>
              </a:pPr>
              <a:r>
                <a:rPr lang="en-US" altLang="zh-CN" sz="1200" b="1">
                  <a:latin typeface="+mn-lt"/>
                  <a:ea typeface="SimSun" charset="-122"/>
                </a:rPr>
                <a:t>Value</a:t>
              </a: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auto">
            <a:xfrm>
              <a:off x="7086600" y="2067942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>
                  <a:solidFill>
                    <a:schemeClr val="bg2"/>
                  </a:solidFill>
                  <a:latin typeface="+mn-lt"/>
                  <a:ea typeface="SimSun" charset="-122"/>
                </a:rPr>
                <a:t>Strategic value created for client</a:t>
              </a:r>
            </a:p>
          </p:txBody>
        </p:sp>
        <p:sp>
          <p:nvSpPr>
            <p:cNvPr id="24" name="Chevron 23"/>
            <p:cNvSpPr/>
            <p:nvPr/>
          </p:nvSpPr>
          <p:spPr>
            <a:xfrm>
              <a:off x="2514600" y="1410623"/>
              <a:ext cx="2286000" cy="1545183"/>
            </a:xfrm>
            <a:custGeom>
              <a:avLst/>
              <a:gdLst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471976 w 2481756"/>
                <a:gd name="connsiteY5" fmla="*/ 772592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84049 w 2481756"/>
                <a:gd name="connsiteY5" fmla="*/ 828010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776 w 2481756"/>
                <a:gd name="connsiteY5" fmla="*/ 841864 h 1545183"/>
                <a:gd name="connsiteX6" fmla="*/ 0 w 2481756"/>
                <a:gd name="connsiteY6" fmla="*/ 0 h 1545183"/>
                <a:gd name="connsiteX0" fmla="*/ 0 w 2481756"/>
                <a:gd name="connsiteY0" fmla="*/ 0 h 1545183"/>
                <a:gd name="connsiteX1" fmla="*/ 2009780 w 2481756"/>
                <a:gd name="connsiteY1" fmla="*/ 0 h 1545183"/>
                <a:gd name="connsiteX2" fmla="*/ 2481756 w 2481756"/>
                <a:gd name="connsiteY2" fmla="*/ 772592 h 1545183"/>
                <a:gd name="connsiteX3" fmla="*/ 2009780 w 2481756"/>
                <a:gd name="connsiteY3" fmla="*/ 1545183 h 1545183"/>
                <a:gd name="connsiteX4" fmla="*/ 0 w 2481756"/>
                <a:gd name="connsiteY4" fmla="*/ 1545183 h 1545183"/>
                <a:gd name="connsiteX5" fmla="*/ 141776 w 2481756"/>
                <a:gd name="connsiteY5" fmla="*/ 841864 h 1545183"/>
                <a:gd name="connsiteX6" fmla="*/ 0 w 2481756"/>
                <a:gd name="connsiteY6" fmla="*/ 0 h 1545183"/>
                <a:gd name="connsiteX0" fmla="*/ 1099 w 2482855"/>
                <a:gd name="connsiteY0" fmla="*/ 0 h 1545183"/>
                <a:gd name="connsiteX1" fmla="*/ 2010879 w 2482855"/>
                <a:gd name="connsiteY1" fmla="*/ 0 h 1545183"/>
                <a:gd name="connsiteX2" fmla="*/ 2482855 w 2482855"/>
                <a:gd name="connsiteY2" fmla="*/ 772592 h 1545183"/>
                <a:gd name="connsiteX3" fmla="*/ 2010879 w 2482855"/>
                <a:gd name="connsiteY3" fmla="*/ 1545183 h 1545183"/>
                <a:gd name="connsiteX4" fmla="*/ 1099 w 2482855"/>
                <a:gd name="connsiteY4" fmla="*/ 1545183 h 1545183"/>
                <a:gd name="connsiteX5" fmla="*/ 0 w 2482855"/>
                <a:gd name="connsiteY5" fmla="*/ 832339 h 1545183"/>
                <a:gd name="connsiteX6" fmla="*/ 1099 w 2482855"/>
                <a:gd name="connsiteY6" fmla="*/ 0 h 1545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2855" h="1545183">
                  <a:moveTo>
                    <a:pt x="1099" y="0"/>
                  </a:moveTo>
                  <a:lnTo>
                    <a:pt x="2010879" y="0"/>
                  </a:lnTo>
                  <a:lnTo>
                    <a:pt x="2482855" y="772592"/>
                  </a:lnTo>
                  <a:lnTo>
                    <a:pt x="2010879" y="1545183"/>
                  </a:lnTo>
                  <a:lnTo>
                    <a:pt x="1099" y="1545183"/>
                  </a:lnTo>
                  <a:cubicBezTo>
                    <a:pt x="733" y="1307568"/>
                    <a:pt x="366" y="1069954"/>
                    <a:pt x="0" y="832339"/>
                  </a:cubicBezTo>
                  <a:cubicBezTo>
                    <a:pt x="366" y="554893"/>
                    <a:pt x="733" y="277446"/>
                    <a:pt x="1099" y="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err="1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2734114" y="1606133"/>
              <a:ext cx="1287066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b="1">
                  <a:solidFill>
                    <a:schemeClr val="bg2"/>
                  </a:solidFill>
                  <a:latin typeface="+mn-lt"/>
                  <a:ea typeface="SimSun" charset="-122"/>
                </a:rPr>
                <a:t>Strategic Pillar 1</a:t>
              </a: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2734114" y="2135972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b="1">
                  <a:solidFill>
                    <a:schemeClr val="bg2"/>
                  </a:solidFill>
                  <a:latin typeface="+mn-lt"/>
                  <a:ea typeface="SimSun" charset="-122"/>
                </a:rPr>
                <a:t>Strategic Pillar 2</a:t>
              </a: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2734114" y="2651589"/>
              <a:ext cx="1322784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12713" indent="-112713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7874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000" b="1">
                  <a:solidFill>
                    <a:schemeClr val="bg2"/>
                  </a:solidFill>
                  <a:latin typeface="+mn-lt"/>
                  <a:ea typeface="SimSun" charset="-122"/>
                </a:rPr>
                <a:t>Strategic Pillar 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15904" y="1897039"/>
            <a:ext cx="3763273" cy="545910"/>
            <a:chOff x="2715904" y="1897039"/>
            <a:chExt cx="3684895" cy="54591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715904" y="189703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2715904" y="2442949"/>
              <a:ext cx="368489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50376063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8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roject phase</a:t>
            </a:r>
          </a:p>
        </p:txBody>
      </p:sp>
      <p:sp>
        <p:nvSpPr>
          <p:cNvPr id="4198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gray">
          <a:xfrm>
            <a:off x="2514600" y="2047561"/>
            <a:ext cx="1236518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36538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36538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174625" lvl="1" indent="-103188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288925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0" name="Rectangle 8"/>
          <p:cNvSpPr>
            <a:spLocks noChangeArrowheads="1"/>
          </p:cNvSpPr>
          <p:nvPr/>
        </p:nvSpPr>
        <p:spPr bwMode="gray">
          <a:xfrm>
            <a:off x="3765579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1" name="Rectangle 9"/>
          <p:cNvSpPr>
            <a:spLocks noChangeArrowheads="1"/>
          </p:cNvSpPr>
          <p:nvPr/>
        </p:nvSpPr>
        <p:spPr bwMode="gray">
          <a:xfrm>
            <a:off x="5018646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2" name="Rectangle 10"/>
          <p:cNvSpPr>
            <a:spLocks noChangeArrowheads="1"/>
          </p:cNvSpPr>
          <p:nvPr/>
        </p:nvSpPr>
        <p:spPr bwMode="gray">
          <a:xfrm>
            <a:off x="6271713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3" name="Rectangle 11"/>
          <p:cNvSpPr>
            <a:spLocks noChangeArrowheads="1"/>
          </p:cNvSpPr>
          <p:nvPr/>
        </p:nvSpPr>
        <p:spPr bwMode="gray">
          <a:xfrm>
            <a:off x="2514600" y="3945059"/>
            <a:ext cx="1236518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4" name="Rectangle 12"/>
          <p:cNvSpPr>
            <a:spLocks noChangeArrowheads="1"/>
          </p:cNvSpPr>
          <p:nvPr/>
        </p:nvSpPr>
        <p:spPr bwMode="gray">
          <a:xfrm>
            <a:off x="3765579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5" name="Rectangle 13"/>
          <p:cNvSpPr>
            <a:spLocks noChangeArrowheads="1"/>
          </p:cNvSpPr>
          <p:nvPr/>
        </p:nvSpPr>
        <p:spPr bwMode="gray">
          <a:xfrm>
            <a:off x="5016558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6" name="Rectangle 14"/>
          <p:cNvSpPr>
            <a:spLocks noChangeArrowheads="1"/>
          </p:cNvSpPr>
          <p:nvPr/>
        </p:nvSpPr>
        <p:spPr bwMode="gray">
          <a:xfrm>
            <a:off x="6268417" y="3945059"/>
            <a:ext cx="1243584" cy="540544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23825"/>
            <a:r>
              <a:rPr lang="en-US" altLang="en-US" sz="105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7" name="Rectangle 17"/>
          <p:cNvSpPr>
            <a:spLocks noChangeArrowheads="1"/>
          </p:cNvSpPr>
          <p:nvPr/>
        </p:nvSpPr>
        <p:spPr bwMode="gray">
          <a:xfrm>
            <a:off x="7524780" y="2047561"/>
            <a:ext cx="1243584" cy="1703699"/>
          </a:xfrm>
          <a:prstGeom prst="rect">
            <a:avLst/>
          </a:prstGeom>
          <a:solidFill>
            <a:schemeClr val="bg2"/>
          </a:solidFill>
          <a:ln w="3175">
            <a:solidFill>
              <a:schemeClr val="tx2"/>
            </a:solidFill>
          </a:ln>
          <a:extLst/>
        </p:spPr>
        <p:txBody>
          <a:bodyPr tIns="9144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79388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358775" indent="-1778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  <a:br>
              <a:rPr lang="en-US" altLang="en-US" sz="900">
                <a:latin typeface="+mn-lt"/>
                <a:ea typeface="MS PGothic" charset="-128"/>
              </a:rPr>
            </a:br>
            <a:endParaRPr lang="en-US" altLang="en-US" sz="900">
              <a:latin typeface="+mn-lt"/>
              <a:ea typeface="MS PGothic" charset="-128"/>
            </a:endParaRPr>
          </a:p>
          <a:p>
            <a:pPr marL="288925" indent="-165100">
              <a:spcAft>
                <a:spcPct val="20000"/>
              </a:spcAft>
            </a:pPr>
            <a:r>
              <a:rPr lang="en-US" altLang="en-US" sz="900" b="1">
                <a:latin typeface="+mn-lt"/>
                <a:ea typeface="MS PGothic" charset="-128"/>
              </a:rPr>
              <a:t>xxx</a:t>
            </a:r>
          </a:p>
          <a:p>
            <a:pPr marL="236538" lvl="1" indent="-112713">
              <a:spcAft>
                <a:spcPct val="20000"/>
              </a:spcAft>
              <a:buFont typeface="Wingdings" charset="2"/>
              <a:buChar char="§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  <a:p>
            <a:pPr marL="350838" lvl="2" indent="-114300">
              <a:spcAft>
                <a:spcPct val="20000"/>
              </a:spcAft>
              <a:buFont typeface="Arial" charset="0"/>
              <a:buChar char="–"/>
            </a:pPr>
            <a:r>
              <a:rPr lang="en-US" altLang="en-US" sz="900">
                <a:latin typeface="+mn-lt"/>
                <a:ea typeface="MS PGothic" charset="-128"/>
              </a:rPr>
              <a:t>Xxx</a:t>
            </a:r>
          </a:p>
        </p:txBody>
      </p:sp>
      <p:sp>
        <p:nvSpPr>
          <p:cNvPr id="41999" name="AutoShape 3"/>
          <p:cNvSpPr>
            <a:spLocks noChangeArrowheads="1"/>
          </p:cNvSpPr>
          <p:nvPr/>
        </p:nvSpPr>
        <p:spPr bwMode="gray">
          <a:xfrm>
            <a:off x="2514600" y="1164736"/>
            <a:ext cx="1380744" cy="872024"/>
          </a:xfrm>
          <a:prstGeom prst="homePlate">
            <a:avLst>
              <a:gd name="adj" fmla="val 16143"/>
            </a:avLst>
          </a:prstGeom>
          <a:solidFill>
            <a:schemeClr val="tx1"/>
          </a:solidFill>
          <a:ln w="3175">
            <a:noFill/>
          </a:ln>
          <a:extLst/>
        </p:spPr>
        <p:txBody>
          <a:bodyPr tIns="109728" bIns="62100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61913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Assess:</a:t>
            </a:r>
          </a:p>
          <a:p>
            <a:pPr marL="61913">
              <a:lnSpc>
                <a:spcPct val="90000"/>
              </a:lnSpc>
            </a:pPr>
            <a:endParaRPr lang="en-US" altLang="en-US" sz="800" b="1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61913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Motivations constraints and complications</a:t>
            </a:r>
          </a:p>
        </p:txBody>
      </p:sp>
      <p:sp>
        <p:nvSpPr>
          <p:cNvPr id="42000" name="AutoShape 4"/>
          <p:cNvSpPr>
            <a:spLocks noChangeArrowheads="1"/>
          </p:cNvSpPr>
          <p:nvPr/>
        </p:nvSpPr>
        <p:spPr bwMode="gray">
          <a:xfrm>
            <a:off x="3752505" y="1164736"/>
            <a:ext cx="1399032" cy="872024"/>
          </a:xfrm>
          <a:prstGeom prst="chevron">
            <a:avLst>
              <a:gd name="adj" fmla="val 16143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10800000" scaled="1"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Define:</a:t>
            </a:r>
          </a:p>
          <a:p>
            <a:pPr marL="9525">
              <a:lnSpc>
                <a:spcPct val="90000"/>
              </a:lnSpc>
            </a:pPr>
            <a:endParaRPr lang="en-US" altLang="en-US" sz="800" b="1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Functions defined are in scope</a:t>
            </a:r>
          </a:p>
        </p:txBody>
      </p:sp>
      <p:sp>
        <p:nvSpPr>
          <p:cNvPr id="42001" name="AutoShape 5"/>
          <p:cNvSpPr>
            <a:spLocks noChangeArrowheads="1"/>
          </p:cNvSpPr>
          <p:nvPr/>
        </p:nvSpPr>
        <p:spPr bwMode="gray">
          <a:xfrm>
            <a:off x="5008698" y="1164736"/>
            <a:ext cx="1399032" cy="872024"/>
          </a:xfrm>
          <a:prstGeom prst="chevron">
            <a:avLst>
              <a:gd name="adj" fmla="val 16143"/>
            </a:avLst>
          </a:pr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Target:</a:t>
            </a:r>
          </a:p>
          <a:p>
            <a:pPr marL="9525">
              <a:lnSpc>
                <a:spcPct val="90000"/>
              </a:lnSpc>
            </a:pPr>
            <a:endParaRPr lang="en-US" altLang="en-US" sz="800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Used as a point of reference for future goals</a:t>
            </a:r>
          </a:p>
        </p:txBody>
      </p:sp>
      <p:sp>
        <p:nvSpPr>
          <p:cNvPr id="42002" name="AutoShape 6"/>
          <p:cNvSpPr>
            <a:spLocks noChangeArrowheads="1"/>
          </p:cNvSpPr>
          <p:nvPr/>
        </p:nvSpPr>
        <p:spPr bwMode="gray">
          <a:xfrm>
            <a:off x="6264891" y="1164736"/>
            <a:ext cx="1399032" cy="872024"/>
          </a:xfrm>
          <a:prstGeom prst="chevron">
            <a:avLst>
              <a:gd name="adj" fmla="val 16143"/>
            </a:avLst>
          </a:prstGeom>
          <a:gradFill>
            <a:gsLst>
              <a:gs pos="0">
                <a:schemeClr val="bg2">
                  <a:lumMod val="65000"/>
                </a:schemeClr>
              </a:gs>
              <a:gs pos="100000">
                <a:schemeClr val="bg2">
                  <a:lumMod val="50000"/>
                </a:schemeClr>
              </a:gs>
            </a:gsLst>
            <a:lin ang="10800000" scaled="1"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Transform:</a:t>
            </a:r>
          </a:p>
          <a:p>
            <a:pPr marL="9525">
              <a:lnSpc>
                <a:spcPct val="90000"/>
              </a:lnSpc>
            </a:pPr>
            <a:endParaRPr lang="en-US" altLang="en-US" sz="800">
              <a:solidFill>
                <a:schemeClr val="bg2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>
                <a:solidFill>
                  <a:schemeClr val="bg2"/>
                </a:solidFill>
                <a:latin typeface="+mn-lt"/>
                <a:ea typeface="MS PGothic" charset="-128"/>
              </a:rPr>
              <a:t>Steps required to bring about change</a:t>
            </a:r>
          </a:p>
        </p:txBody>
      </p:sp>
      <p:sp>
        <p:nvSpPr>
          <p:cNvPr id="42003" name="AutoShape 6"/>
          <p:cNvSpPr>
            <a:spLocks noChangeArrowheads="1"/>
          </p:cNvSpPr>
          <p:nvPr/>
        </p:nvSpPr>
        <p:spPr bwMode="gray">
          <a:xfrm>
            <a:off x="7521083" y="1164736"/>
            <a:ext cx="1389888" cy="872024"/>
          </a:xfrm>
          <a:prstGeom prst="chevron">
            <a:avLst>
              <a:gd name="adj" fmla="val 16143"/>
            </a:avLst>
          </a:prstGeom>
          <a:gradFill flip="none" rotWithShape="1"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0800000" scaled="1"/>
            <a:tileRect/>
          </a:gradFill>
          <a:ln w="3175">
            <a:noFill/>
          </a:ln>
          <a:extLst/>
        </p:spPr>
        <p:txBody>
          <a:bodyPr tIns="109728" bIns="62100"/>
          <a:lstStyle>
            <a:lvl1pPr marL="180975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9525">
              <a:lnSpc>
                <a:spcPct val="90000"/>
              </a:lnSpc>
            </a:pPr>
            <a:r>
              <a:rPr lang="en-US" altLang="en-US" sz="1000" b="1" dirty="0">
                <a:solidFill>
                  <a:schemeClr val="bg1"/>
                </a:solidFill>
                <a:latin typeface="+mn-lt"/>
                <a:ea typeface="MS PGothic" charset="-128"/>
              </a:rPr>
              <a:t>Result:</a:t>
            </a:r>
          </a:p>
          <a:p>
            <a:pPr marL="9525">
              <a:lnSpc>
                <a:spcPct val="90000"/>
              </a:lnSpc>
            </a:pPr>
            <a:endParaRPr lang="en-US" altLang="en-US" sz="800" dirty="0">
              <a:solidFill>
                <a:schemeClr val="bg1"/>
              </a:solidFill>
              <a:latin typeface="+mn-lt"/>
              <a:ea typeface="MS PGothic" charset="-128"/>
            </a:endParaRPr>
          </a:p>
          <a:p>
            <a:pPr marL="9525">
              <a:lnSpc>
                <a:spcPct val="90000"/>
              </a:lnSpc>
            </a:pPr>
            <a:r>
              <a:rPr lang="en-US" altLang="en-US" sz="800" dirty="0">
                <a:solidFill>
                  <a:schemeClr val="bg1"/>
                </a:solidFill>
                <a:latin typeface="+mn-lt"/>
                <a:ea typeface="MS PGothic" charset="-128"/>
              </a:rPr>
              <a:t>Organizational attributes, leadership and incentives</a:t>
            </a:r>
          </a:p>
        </p:txBody>
      </p:sp>
      <p:sp>
        <p:nvSpPr>
          <p:cNvPr id="42004" name="AutoShape 32"/>
          <p:cNvSpPr>
            <a:spLocks noChangeArrowheads="1"/>
          </p:cNvSpPr>
          <p:nvPr/>
        </p:nvSpPr>
        <p:spPr bwMode="auto">
          <a:xfrm rot="10800000">
            <a:off x="2994421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42005" name="AutoShape 33"/>
          <p:cNvSpPr>
            <a:spLocks noChangeArrowheads="1"/>
          </p:cNvSpPr>
          <p:nvPr/>
        </p:nvSpPr>
        <p:spPr bwMode="auto">
          <a:xfrm rot="10800000">
            <a:off x="4229100" y="3797746"/>
            <a:ext cx="225028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42006" name="AutoShape 34"/>
          <p:cNvSpPr>
            <a:spLocks noChangeArrowheads="1"/>
          </p:cNvSpPr>
          <p:nvPr/>
        </p:nvSpPr>
        <p:spPr bwMode="auto">
          <a:xfrm rot="10800000">
            <a:off x="5463777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42007" name="AutoShape 35"/>
          <p:cNvSpPr>
            <a:spLocks noChangeArrowheads="1"/>
          </p:cNvSpPr>
          <p:nvPr/>
        </p:nvSpPr>
        <p:spPr bwMode="auto">
          <a:xfrm rot="10800000">
            <a:off x="6697265" y="3797746"/>
            <a:ext cx="225029" cy="1095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charset="2"/>
              <a:buNone/>
            </a:pPr>
            <a:endParaRPr lang="en-US" altLang="en-US" sz="1050">
              <a:latin typeface="+mn-lt"/>
            </a:endParaRPr>
          </a:p>
        </p:txBody>
      </p:sp>
      <p:sp>
        <p:nvSpPr>
          <p:cNvPr id="2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78542689"/>
      </p:ext>
    </p:extLst>
  </p:cSld>
  <p:clrMapOvr>
    <a:masterClrMapping/>
  </p:clrMapOvr>
  <p:transition advClick="0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Timeline / Fishbone chart</a:t>
            </a:r>
            <a:endParaRPr lang="nl-NL" altLang="en-US">
              <a:ea typeface="ＭＳ Ｐゴシック" charset="-128"/>
            </a:endParaRPr>
          </a:p>
        </p:txBody>
      </p:sp>
      <p:sp>
        <p:nvSpPr>
          <p:cNvPr id="44034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2506897" y="1071517"/>
            <a:ext cx="6427416" cy="1721198"/>
            <a:chOff x="2506897" y="1071517"/>
            <a:chExt cx="6427416" cy="1721198"/>
          </a:xfrm>
        </p:grpSpPr>
        <p:sp>
          <p:nvSpPr>
            <p:cNvPr id="44037" name="Rectangle 33"/>
            <p:cNvSpPr>
              <a:spLocks noChangeArrowheads="1"/>
            </p:cNvSpPr>
            <p:nvPr/>
          </p:nvSpPr>
          <p:spPr bwMode="auto">
            <a:xfrm>
              <a:off x="2506897" y="1071519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1. Discover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Understand current client capabilities</a:t>
              </a:r>
            </a:p>
          </p:txBody>
        </p:sp>
        <p:sp>
          <p:nvSpPr>
            <p:cNvPr id="44039" name="Line 5"/>
            <p:cNvSpPr>
              <a:spLocks noChangeShapeType="1"/>
            </p:cNvSpPr>
            <p:nvPr/>
          </p:nvSpPr>
          <p:spPr bwMode="auto">
            <a:xfrm>
              <a:off x="260116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0" name="Rectangle 33"/>
            <p:cNvSpPr>
              <a:spLocks noChangeArrowheads="1"/>
            </p:cNvSpPr>
            <p:nvPr/>
          </p:nvSpPr>
          <p:spPr bwMode="auto">
            <a:xfrm>
              <a:off x="3456731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2. Assess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Develop future state and create gap analysis</a:t>
              </a:r>
            </a:p>
          </p:txBody>
        </p:sp>
        <p:sp>
          <p:nvSpPr>
            <p:cNvPr id="44041" name="Line 8"/>
            <p:cNvSpPr>
              <a:spLocks noChangeShapeType="1"/>
            </p:cNvSpPr>
            <p:nvPr/>
          </p:nvSpPr>
          <p:spPr bwMode="auto">
            <a:xfrm>
              <a:off x="3544413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2" name="Rectangle 33"/>
            <p:cNvSpPr>
              <a:spLocks noChangeArrowheads="1"/>
            </p:cNvSpPr>
            <p:nvPr/>
          </p:nvSpPr>
          <p:spPr bwMode="auto">
            <a:xfrm>
              <a:off x="4796728" y="1071517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3. Recommend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Prepare BAO Plan</a:t>
              </a:r>
            </a:p>
          </p:txBody>
        </p:sp>
        <p:sp>
          <p:nvSpPr>
            <p:cNvPr id="44043" name="Line 11"/>
            <p:cNvSpPr>
              <a:spLocks noChangeShapeType="1"/>
            </p:cNvSpPr>
            <p:nvPr/>
          </p:nvSpPr>
          <p:spPr bwMode="auto">
            <a:xfrm>
              <a:off x="4883393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4" name="Rectangle 33"/>
            <p:cNvSpPr>
              <a:spLocks noChangeArrowheads="1"/>
            </p:cNvSpPr>
            <p:nvPr/>
          </p:nvSpPr>
          <p:spPr bwMode="auto">
            <a:xfrm>
              <a:off x="7683277" y="1071518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5. Reveal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Sign the client to strategy</a:t>
              </a:r>
            </a:p>
          </p:txBody>
        </p:sp>
        <p:sp>
          <p:nvSpPr>
            <p:cNvPr id="44045" name="Line 14"/>
            <p:cNvSpPr>
              <a:spLocks noChangeShapeType="1"/>
            </p:cNvSpPr>
            <p:nvPr/>
          </p:nvSpPr>
          <p:spPr bwMode="auto">
            <a:xfrm>
              <a:off x="7766137" y="1620854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/>
            </a:p>
          </p:txBody>
        </p:sp>
        <p:sp>
          <p:nvSpPr>
            <p:cNvPr id="44046" name="Rectangle 33"/>
            <p:cNvSpPr>
              <a:spLocks noChangeArrowheads="1"/>
            </p:cNvSpPr>
            <p:nvPr/>
          </p:nvSpPr>
          <p:spPr bwMode="auto">
            <a:xfrm>
              <a:off x="5188128" y="2244075"/>
              <a:ext cx="1225296" cy="54864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40" tIns="73152" rIns="73152" bIns="34529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900" b="1">
                  <a:latin typeface="+mn-lt"/>
                  <a:ea typeface="MS PGothic" charset="-128"/>
                </a:rPr>
                <a:t>4. Identify</a:t>
              </a:r>
            </a:p>
            <a:p>
              <a:pPr>
                <a:spcBef>
                  <a:spcPct val="20000"/>
                </a:spcBef>
                <a:buClr>
                  <a:schemeClr val="tx2"/>
                </a:buClr>
                <a:buFont typeface="Wingdings" charset="2"/>
                <a:buNone/>
              </a:pPr>
              <a:r>
                <a:rPr lang="en-US" altLang="en-US" sz="750">
                  <a:latin typeface="+mn-lt"/>
                  <a:ea typeface="MS PGothic" charset="-128"/>
                </a:rPr>
                <a:t>Sources of data and subjects</a:t>
              </a:r>
            </a:p>
          </p:txBody>
        </p:sp>
        <p:sp>
          <p:nvSpPr>
            <p:cNvPr id="44047" name="Line 17"/>
            <p:cNvSpPr>
              <a:spLocks noChangeShapeType="1"/>
            </p:cNvSpPr>
            <p:nvPr/>
          </p:nvSpPr>
          <p:spPr bwMode="auto">
            <a:xfrm>
              <a:off x="5275810" y="2238789"/>
              <a:ext cx="1143000" cy="0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48" name="Rectangle 19"/>
            <p:cNvSpPr>
              <a:spLocks noChangeArrowheads="1"/>
            </p:cNvSpPr>
            <p:nvPr/>
          </p:nvSpPr>
          <p:spPr bwMode="auto">
            <a:xfrm>
              <a:off x="2518225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1</a:t>
              </a:r>
            </a:p>
          </p:txBody>
        </p:sp>
        <p:sp>
          <p:nvSpPr>
            <p:cNvPr id="44049" name="Rectangle 20"/>
            <p:cNvSpPr>
              <a:spLocks noChangeArrowheads="1"/>
            </p:cNvSpPr>
            <p:nvPr/>
          </p:nvSpPr>
          <p:spPr bwMode="auto">
            <a:xfrm>
              <a:off x="3319856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2</a:t>
              </a:r>
            </a:p>
          </p:txBody>
        </p:sp>
        <p:sp>
          <p:nvSpPr>
            <p:cNvPr id="44050" name="Rectangle 21"/>
            <p:cNvSpPr>
              <a:spLocks noChangeArrowheads="1"/>
            </p:cNvSpPr>
            <p:nvPr/>
          </p:nvSpPr>
          <p:spPr bwMode="auto">
            <a:xfrm>
              <a:off x="4121487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3</a:t>
              </a:r>
            </a:p>
          </p:txBody>
        </p:sp>
        <p:sp>
          <p:nvSpPr>
            <p:cNvPr id="44051" name="Rectangle 22"/>
            <p:cNvSpPr>
              <a:spLocks noChangeArrowheads="1"/>
            </p:cNvSpPr>
            <p:nvPr/>
          </p:nvSpPr>
          <p:spPr bwMode="auto">
            <a:xfrm>
              <a:off x="4923118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4</a:t>
              </a:r>
            </a:p>
          </p:txBody>
        </p:sp>
        <p:sp>
          <p:nvSpPr>
            <p:cNvPr id="44052" name="Rectangle 23"/>
            <p:cNvSpPr>
              <a:spLocks noChangeArrowheads="1"/>
            </p:cNvSpPr>
            <p:nvPr/>
          </p:nvSpPr>
          <p:spPr bwMode="auto">
            <a:xfrm>
              <a:off x="5724749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5</a:t>
              </a:r>
            </a:p>
          </p:txBody>
        </p:sp>
        <p:sp>
          <p:nvSpPr>
            <p:cNvPr id="44053" name="Rectangle 24"/>
            <p:cNvSpPr>
              <a:spLocks noChangeArrowheads="1"/>
            </p:cNvSpPr>
            <p:nvPr/>
          </p:nvSpPr>
          <p:spPr bwMode="auto">
            <a:xfrm>
              <a:off x="6526380" y="1758966"/>
              <a:ext cx="804672" cy="3429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 6</a:t>
              </a:r>
            </a:p>
          </p:txBody>
        </p:sp>
        <p:sp>
          <p:nvSpPr>
            <p:cNvPr id="44054" name="Rectangle 25"/>
            <p:cNvSpPr>
              <a:spLocks noChangeArrowheads="1"/>
            </p:cNvSpPr>
            <p:nvPr/>
          </p:nvSpPr>
          <p:spPr bwMode="auto">
            <a:xfrm>
              <a:off x="732801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 7</a:t>
              </a:r>
            </a:p>
          </p:txBody>
        </p:sp>
        <p:sp>
          <p:nvSpPr>
            <p:cNvPr id="44055" name="Rectangle 26"/>
            <p:cNvSpPr>
              <a:spLocks noChangeArrowheads="1"/>
            </p:cNvSpPr>
            <p:nvPr/>
          </p:nvSpPr>
          <p:spPr bwMode="auto">
            <a:xfrm>
              <a:off x="8129641" y="1758966"/>
              <a:ext cx="804672" cy="342900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altLang="en-US" sz="750">
                  <a:solidFill>
                    <a:schemeClr val="bg2"/>
                  </a:solidFill>
                  <a:latin typeface="+mn-lt"/>
                </a:rPr>
                <a:t>Week 8</a:t>
              </a:r>
            </a:p>
          </p:txBody>
        </p:sp>
        <p:sp>
          <p:nvSpPr>
            <p:cNvPr id="44056" name="Line 6"/>
            <p:cNvSpPr>
              <a:spLocks noChangeShapeType="1"/>
            </p:cNvSpPr>
            <p:nvPr/>
          </p:nvSpPr>
          <p:spPr bwMode="auto">
            <a:xfrm>
              <a:off x="3594339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57" name="Line 9"/>
            <p:cNvSpPr>
              <a:spLocks noChangeShapeType="1"/>
            </p:cNvSpPr>
            <p:nvPr/>
          </p:nvSpPr>
          <p:spPr bwMode="auto">
            <a:xfrm flipV="1">
              <a:off x="4556575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58" name="Line 12"/>
            <p:cNvSpPr>
              <a:spLocks noChangeShapeType="1"/>
            </p:cNvSpPr>
            <p:nvPr/>
          </p:nvSpPr>
          <p:spPr bwMode="auto">
            <a:xfrm>
              <a:off x="5890434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  <p:sp>
          <p:nvSpPr>
            <p:cNvPr id="44059" name="Line 15"/>
            <p:cNvSpPr>
              <a:spLocks noChangeShapeType="1"/>
            </p:cNvSpPr>
            <p:nvPr/>
          </p:nvSpPr>
          <p:spPr bwMode="auto">
            <a:xfrm>
              <a:off x="8775791" y="1620854"/>
              <a:ext cx="0" cy="138113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/>
            </a:p>
          </p:txBody>
        </p:sp>
        <p:sp>
          <p:nvSpPr>
            <p:cNvPr id="44060" name="Line 18"/>
            <p:cNvSpPr>
              <a:spLocks noChangeShapeType="1"/>
            </p:cNvSpPr>
            <p:nvPr/>
          </p:nvSpPr>
          <p:spPr bwMode="auto">
            <a:xfrm flipV="1">
              <a:off x="6256657" y="2101867"/>
              <a:ext cx="0" cy="136922"/>
            </a:xfrm>
            <a:prstGeom prst="line">
              <a:avLst/>
            </a:prstGeom>
            <a:noFill/>
            <a:ln w="6350">
              <a:solidFill>
                <a:schemeClr val="tx2">
                  <a:lumMod val="50000"/>
                </a:schemeClr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013">
                <a:solidFill>
                  <a:schemeClr val="bg2"/>
                </a:solidFill>
              </a:endParaRPr>
            </a:p>
          </p:txBody>
        </p:sp>
      </p:grpSp>
      <p:sp>
        <p:nvSpPr>
          <p:cNvPr id="3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8106359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400" dirty="0" err="1">
                <a:latin typeface="+mj-lt"/>
              </a:rPr>
              <a:t>Inteligência</a:t>
            </a:r>
            <a:r>
              <a:rPr lang="en-US" sz="2400" dirty="0">
                <a:latin typeface="+mj-lt"/>
              </a:rPr>
              <a:t> Artificia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“Arte de criar máquinas inteligentes para realizar tarefas como seres humanos.”</a:t>
            </a:r>
          </a:p>
          <a:p>
            <a:endParaRPr lang="en-US" dirty="0"/>
          </a:p>
          <a:p>
            <a:pPr lvl="1"/>
            <a:r>
              <a:rPr lang="en-US" dirty="0" err="1"/>
              <a:t>Predição</a:t>
            </a:r>
            <a:r>
              <a:rPr lang="en-US" dirty="0"/>
              <a:t>/</a:t>
            </a:r>
            <a:r>
              <a:rPr lang="en-US" dirty="0" err="1"/>
              <a:t>classificação</a:t>
            </a:r>
            <a:r>
              <a:rPr lang="en-US" dirty="0"/>
              <a:t> de dados;</a:t>
            </a:r>
          </a:p>
          <a:p>
            <a:pPr lvl="1"/>
            <a:r>
              <a:rPr lang="en-US" dirty="0" err="1"/>
              <a:t>Aprendizado</a:t>
            </a:r>
            <a:r>
              <a:rPr lang="en-US" dirty="0"/>
              <a:t> com o </a:t>
            </a:r>
            <a:r>
              <a:rPr lang="en-US" dirty="0" err="1"/>
              <a:t>ambiente</a:t>
            </a:r>
            <a:r>
              <a:rPr lang="en-US" dirty="0"/>
              <a:t>;</a:t>
            </a:r>
          </a:p>
          <a:p>
            <a:pPr lvl="1"/>
            <a:r>
              <a:rPr lang="en-US" dirty="0"/>
              <a:t>Speech Recognition;</a:t>
            </a:r>
          </a:p>
          <a:p>
            <a:pPr lvl="1"/>
            <a:r>
              <a:rPr lang="en-US" b="1" dirty="0" err="1"/>
              <a:t>Detecção</a:t>
            </a:r>
            <a:r>
              <a:rPr lang="en-US" b="1" dirty="0"/>
              <a:t> de </a:t>
            </a:r>
            <a:r>
              <a:rPr lang="en-US" b="1" dirty="0" err="1"/>
              <a:t>objetos</a:t>
            </a:r>
            <a:r>
              <a:rPr lang="en-US" dirty="0"/>
              <a:t>;</a:t>
            </a:r>
          </a:p>
          <a:p>
            <a:pPr lvl="1"/>
            <a:r>
              <a:rPr lang="en-US" dirty="0"/>
              <a:t>etc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pic>
        <p:nvPicPr>
          <p:cNvPr id="2052" name="Picture 4" descr="Resultado de imagem para autonomous vehicles">
            <a:extLst>
              <a:ext uri="{FF2B5EF4-FFF2-40B4-BE49-F238E27FC236}">
                <a16:creationId xmlns:a16="http://schemas.microsoft.com/office/drawing/2014/main" id="{E68B8DC4-579F-4DD0-9C99-CA49722AE6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033" y="2571751"/>
            <a:ext cx="4580965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Resultado de imagem para data analytics">
            <a:extLst>
              <a:ext uri="{FF2B5EF4-FFF2-40B4-BE49-F238E27FC236}">
                <a16:creationId xmlns:a16="http://schemas.microsoft.com/office/drawing/2014/main" id="{B3D2A8C4-F105-456F-BEDC-A136A4A5BE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033" y="0"/>
            <a:ext cx="2303936" cy="257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AI-generated image Google">
            <a:extLst>
              <a:ext uri="{FF2B5EF4-FFF2-40B4-BE49-F238E27FC236}">
                <a16:creationId xmlns:a16="http://schemas.microsoft.com/office/drawing/2014/main" id="{6DABE223-F87B-4933-AAF4-629B758919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0" r="19994"/>
          <a:stretch/>
        </p:blipFill>
        <p:spPr bwMode="auto">
          <a:xfrm>
            <a:off x="6857999" y="0"/>
            <a:ext cx="2294965" cy="257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488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rformance health </a:t>
            </a:r>
            <a:br>
              <a:rPr lang="en-US"/>
            </a:br>
            <a:r>
              <a:rPr lang="en-US"/>
              <a:t>check framework</a:t>
            </a:r>
          </a:p>
        </p:txBody>
      </p:sp>
      <p:sp>
        <p:nvSpPr>
          <p:cNvPr id="6861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28600" y="1181803"/>
            <a:ext cx="1828800" cy="34544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urpos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learly articulated vision and mission that all staff and clients are aligned to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rformance</a:t>
            </a:r>
            <a:br>
              <a:rPr lang="en-US" altLang="en-US" sz="1000" b="1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Mechanisms in place to plan and</a:t>
            </a:r>
            <a:r>
              <a:rPr lang="en-US" altLang="en-US" sz="1000" b="1" dirty="0">
                <a:ea typeface="MS PGothic" charset="-128"/>
              </a:rPr>
              <a:t> </a:t>
            </a:r>
            <a:r>
              <a:rPr lang="en-US" altLang="en-US" sz="1000" dirty="0">
                <a:ea typeface="MS PGothic" charset="-128"/>
              </a:rPr>
              <a:t>forecast workload, match capacity, and measure performance and feedback.</a:t>
            </a: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rocess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Processes, tools and technology to support the organization’</a:t>
            </a:r>
            <a:r>
              <a:rPr lang="en-US" altLang="ja-JP" sz="1000" dirty="0">
                <a:ea typeface="MS PGothic" charset="-128"/>
              </a:rPr>
              <a:t>s workflow.</a:t>
            </a:r>
            <a:endParaRPr lang="en-US" altLang="en-US" sz="1000" dirty="0">
              <a:ea typeface="MS PGothic" charset="-128"/>
            </a:endParaRPr>
          </a:p>
          <a:p>
            <a:pPr>
              <a:spcBef>
                <a:spcPts val="1200"/>
              </a:spcBef>
            </a:pPr>
            <a:r>
              <a:rPr lang="en-US" altLang="en-US" sz="1000" b="1" dirty="0">
                <a:ea typeface="MS PGothic" charset="-128"/>
              </a:rPr>
              <a:t>People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n organizational structure that matches client demands and facilitates collaboration and </a:t>
            </a:r>
            <a:br>
              <a:rPr lang="en-US" altLang="en-US" sz="1000" dirty="0">
                <a:ea typeface="MS PGothic" charset="-128"/>
              </a:rPr>
            </a:br>
            <a:r>
              <a:rPr lang="en-US" altLang="en-US" sz="1000" dirty="0">
                <a:ea typeface="MS PGothic" charset="-128"/>
              </a:rPr>
              <a:t>a culture that makes this the </a:t>
            </a:r>
            <a:r>
              <a:rPr lang="ja-JP" altLang="en-US" sz="1000" dirty="0">
                <a:ea typeface="MS PGothic" charset="-128"/>
              </a:rPr>
              <a:t>“</a:t>
            </a:r>
            <a:r>
              <a:rPr lang="en-US" altLang="ja-JP" sz="1000" dirty="0">
                <a:ea typeface="MS PGothic" charset="-128"/>
              </a:rPr>
              <a:t>best place to work.</a:t>
            </a:r>
            <a:r>
              <a:rPr lang="ja-JP" altLang="en-US" sz="1000" dirty="0">
                <a:ea typeface="MS PGothic" charset="-128"/>
              </a:rPr>
              <a:t>”</a:t>
            </a:r>
            <a:endParaRPr lang="en-US" altLang="en-US" sz="1000" dirty="0">
              <a:ea typeface="MS PGothic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14601" y="1162050"/>
            <a:ext cx="4108862" cy="3328988"/>
            <a:chOff x="5095436" y="1162050"/>
            <a:chExt cx="2587061" cy="2240757"/>
          </a:xfrm>
        </p:grpSpPr>
        <p:sp>
          <p:nvSpPr>
            <p:cNvPr id="68612" name="AutoShape 3"/>
            <p:cNvSpPr>
              <a:spLocks noChangeArrowheads="1"/>
            </p:cNvSpPr>
            <p:nvPr/>
          </p:nvSpPr>
          <p:spPr bwMode="auto">
            <a:xfrm rot="10800000">
              <a:off x="5741945" y="2278856"/>
              <a:ext cx="1295400" cy="1120379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1620000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en-US" altLang="en-US" sz="900"/>
            </a:p>
          </p:txBody>
        </p:sp>
        <p:sp>
          <p:nvSpPr>
            <p:cNvPr id="68613" name="AutoShape 4"/>
            <p:cNvSpPr>
              <a:spLocks noChangeArrowheads="1"/>
            </p:cNvSpPr>
            <p:nvPr/>
          </p:nvSpPr>
          <p:spPr bwMode="auto">
            <a:xfrm>
              <a:off x="5095436" y="2281237"/>
              <a:ext cx="1295400" cy="1120379"/>
            </a:xfrm>
            <a:prstGeom prst="triangle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</a:rPr>
                <a:t>Process</a:t>
              </a:r>
            </a:p>
          </p:txBody>
        </p:sp>
        <p:sp>
          <p:nvSpPr>
            <p:cNvPr id="68614" name="AutoShape 5"/>
            <p:cNvSpPr>
              <a:spLocks noChangeArrowheads="1"/>
            </p:cNvSpPr>
            <p:nvPr/>
          </p:nvSpPr>
          <p:spPr bwMode="auto">
            <a:xfrm>
              <a:off x="6387097" y="2282429"/>
              <a:ext cx="1295400" cy="1120378"/>
            </a:xfrm>
            <a:prstGeom prst="triangle">
              <a:avLst>
                <a:gd name="adj" fmla="val 50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</a:rPr>
                <a:t>People</a:t>
              </a:r>
            </a:p>
          </p:txBody>
        </p:sp>
        <p:sp>
          <p:nvSpPr>
            <p:cNvPr id="68615" name="AutoShape 6"/>
            <p:cNvSpPr>
              <a:spLocks noChangeArrowheads="1"/>
            </p:cNvSpPr>
            <p:nvPr/>
          </p:nvSpPr>
          <p:spPr bwMode="auto">
            <a:xfrm>
              <a:off x="5740755" y="1162050"/>
              <a:ext cx="1295400" cy="1120379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  <a:tileRect/>
            </a:gradFill>
            <a:ln w="6350">
              <a:noFill/>
              <a:miter lim="800000"/>
              <a:headEnd/>
              <a:tailEnd/>
            </a:ln>
          </p:spPr>
          <p:txBody>
            <a:bodyPr wrap="none" lIns="0" tIns="118872" rIns="0" bIns="0" anchor="t" anchorCtr="0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</a:rPr>
                <a:t>Purpose</a:t>
              </a:r>
            </a:p>
          </p:txBody>
        </p:sp>
        <p:sp>
          <p:nvSpPr>
            <p:cNvPr id="68616" name="Text Box 7"/>
            <p:cNvSpPr txBox="1">
              <a:spLocks noChangeArrowheads="1"/>
            </p:cNvSpPr>
            <p:nvPr/>
          </p:nvSpPr>
          <p:spPr bwMode="auto">
            <a:xfrm>
              <a:off x="6075626" y="2578258"/>
              <a:ext cx="607800" cy="165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en-US" sz="1000" b="1">
                  <a:solidFill>
                    <a:schemeClr val="bg2"/>
                  </a:solidFill>
                  <a:latin typeface="+mn-lt"/>
                  <a:ea typeface="MS PGothic" charset="-128"/>
                </a:rPr>
                <a:t>Performance</a:t>
              </a:r>
            </a:p>
          </p:txBody>
        </p:sp>
      </p:grpSp>
      <p:sp>
        <p:nvSpPr>
          <p:cNvPr id="13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64014956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6" name="Trapezoid 5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bg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>
                  <a:solidFill>
                    <a:srgbClr val="FFFFFF"/>
                  </a:solidFill>
                  <a:cs typeface="Arial"/>
                </a:rPr>
                <a:t>Text</a:t>
              </a:r>
            </a:p>
          </p:txBody>
        </p:sp>
        <p:sp>
          <p:nvSpPr>
            <p:cNvPr id="7" name="Trapezoid 6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>
                  <a:solidFill>
                    <a:srgbClr val="FFFFFF"/>
                  </a:solidFill>
                  <a:cs typeface="Arial"/>
                </a:rPr>
                <a:t>Text</a:t>
              </a:r>
            </a:p>
          </p:txBody>
        </p:sp>
        <p:sp>
          <p:nvSpPr>
            <p:cNvPr id="8" name="Triangle 7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  <a:tileRect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763" algn="ctr"/>
              <a:r>
                <a:rPr lang="en-US" sz="1100" dirty="0">
                  <a:solidFill>
                    <a:srgbClr val="FFFFFF"/>
                  </a:solidFill>
                  <a:cs typeface="Arial"/>
                </a:rPr>
                <a:t>Text</a:t>
              </a:r>
            </a:p>
          </p:txBody>
        </p:sp>
      </p:grpSp>
      <p:sp>
        <p:nvSpPr>
          <p:cNvPr id="1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4540347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pyramid – 3 layer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97878" y="1127530"/>
            <a:ext cx="1917522" cy="822587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lIns="91440" tIns="91440" rIns="91440" bIns="91440"/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b="1">
                <a:latin typeface="+mn-lt"/>
                <a:ea typeface="SimSun" charset="-122"/>
              </a:rPr>
              <a:t>Industry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endParaRPr lang="en-US" altLang="ja-JP" sz="800">
              <a:latin typeface="+mn-lt"/>
              <a:ea typeface="SimSun" charset="-122"/>
            </a:endParaRPr>
          </a:p>
        </p:txBody>
      </p:sp>
      <p:sp>
        <p:nvSpPr>
          <p:cNvPr id="1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97878" y="2233942"/>
            <a:ext cx="1917522" cy="959731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b="1">
                <a:latin typeface="+mn-lt"/>
                <a:ea typeface="SimSun" charset="-122"/>
              </a:rPr>
              <a:t>Cognitive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</a:t>
            </a:r>
          </a:p>
        </p:txBody>
      </p:sp>
      <p:sp>
        <p:nvSpPr>
          <p:cNvPr id="1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97877" y="3357246"/>
            <a:ext cx="1912873" cy="1087720"/>
          </a:xfrm>
          <a:prstGeom prst="rect">
            <a:avLst/>
          </a:prstGeom>
          <a:noFill/>
          <a:ln w="6350">
            <a:solidFill>
              <a:schemeClr val="tx2"/>
            </a:solidFill>
          </a:ln>
          <a:extLst/>
        </p:spPr>
        <p:txBody>
          <a:bodyPr wrap="square" lIns="91440" tIns="91440" rIns="91440" bIns="91440">
            <a:noAutofit/>
          </a:bodyPr>
          <a:lstStyle>
            <a:lvl1pPr marL="171450" indent="-1714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eaLnBrk="1" hangingPunct="1">
              <a:lnSpc>
                <a:spcPct val="95000"/>
              </a:lnSpc>
            </a:pPr>
            <a:r>
              <a:rPr lang="en-US" altLang="ja-JP" sz="800" b="1">
                <a:latin typeface="+mn-lt"/>
                <a:ea typeface="SimSun" charset="-122"/>
              </a:rPr>
              <a:t>Cloud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 dolor sit </a:t>
            </a:r>
            <a:r>
              <a:rPr lang="en-US" altLang="ja-JP" sz="800" err="1">
                <a:latin typeface="+mn-lt"/>
                <a:ea typeface="SimSun" charset="-122"/>
              </a:rPr>
              <a:t>amet</a:t>
            </a:r>
            <a:r>
              <a:rPr lang="en-US" altLang="ja-JP" sz="800">
                <a:latin typeface="+mn-lt"/>
                <a:ea typeface="SimSun" charset="-122"/>
              </a:rPr>
              <a:t> </a:t>
            </a:r>
          </a:p>
          <a:p>
            <a:pPr marL="57150" indent="-57150">
              <a:lnSpc>
                <a:spcPct val="95000"/>
              </a:lnSpc>
              <a:buFont typeface="Arial" charset="0"/>
              <a:buChar char="•"/>
            </a:pPr>
            <a:r>
              <a:rPr lang="en-US" altLang="ja-JP" sz="800">
                <a:latin typeface="+mn-lt"/>
                <a:ea typeface="SimSun" charset="-122"/>
              </a:rPr>
              <a:t>Text goes here lorem ipsum dolor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4584861" y="1163125"/>
            <a:ext cx="4069080" cy="13867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47317" y="3381949"/>
            <a:ext cx="2706624" cy="0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5252373" y="2269371"/>
            <a:ext cx="3401568" cy="2966"/>
          </a:xfrm>
          <a:prstGeom prst="line">
            <a:avLst/>
          </a:prstGeom>
          <a:ln w="63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3" name="Group 22"/>
          <p:cNvGrpSpPr>
            <a:grpSpLocks/>
          </p:cNvGrpSpPr>
          <p:nvPr/>
        </p:nvGrpSpPr>
        <p:grpSpPr>
          <a:xfrm>
            <a:off x="2514600" y="1161288"/>
            <a:ext cx="4114800" cy="3332005"/>
            <a:chOff x="1514746" y="666750"/>
            <a:chExt cx="4806697" cy="3824288"/>
          </a:xfrm>
        </p:grpSpPr>
        <p:sp>
          <p:nvSpPr>
            <p:cNvPr id="24" name="Trapezoid 23"/>
            <p:cNvSpPr/>
            <p:nvPr/>
          </p:nvSpPr>
          <p:spPr>
            <a:xfrm>
              <a:off x="1514746" y="3209925"/>
              <a:ext cx="4806697" cy="1281113"/>
            </a:xfrm>
            <a:prstGeom prst="trapezoid">
              <a:avLst>
                <a:gd name="adj" fmla="val 63067"/>
              </a:avLst>
            </a:prstGeom>
            <a:solidFill>
              <a:schemeClr val="tx1"/>
            </a:soli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089025"/>
              <a:r>
                <a:rPr lang="en-US" sz="1100">
                  <a:solidFill>
                    <a:srgbClr val="FFFFFF"/>
                  </a:solidFill>
                  <a:cs typeface="Arial"/>
                </a:rPr>
                <a:t>Cloud Application </a:t>
              </a:r>
              <a:br>
                <a:rPr lang="en-US" sz="1100">
                  <a:solidFill>
                    <a:srgbClr val="FFFFFF"/>
                  </a:solidFill>
                  <a:cs typeface="Arial"/>
                </a:rPr>
              </a:br>
              <a:r>
                <a:rPr lang="en-US" sz="1100">
                  <a:solidFill>
                    <a:srgbClr val="FFFFFF"/>
                  </a:solidFill>
                  <a:cs typeface="Arial"/>
                </a:rPr>
                <a:t>Innovation</a:t>
              </a:r>
            </a:p>
          </p:txBody>
        </p:sp>
        <p:sp>
          <p:nvSpPr>
            <p:cNvPr id="25" name="Trapezoid 24"/>
            <p:cNvSpPr/>
            <p:nvPr/>
          </p:nvSpPr>
          <p:spPr>
            <a:xfrm>
              <a:off x="2326544" y="1942305"/>
              <a:ext cx="3183102" cy="1281113"/>
            </a:xfrm>
            <a:prstGeom prst="trapezoid">
              <a:avLst>
                <a:gd name="adj" fmla="val 6294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404813"/>
              <a:r>
                <a:rPr lang="en-US" sz="1100" dirty="0">
                  <a:solidFill>
                    <a:srgbClr val="FFFFFF"/>
                  </a:solidFill>
                  <a:cs typeface="Arial"/>
                </a:rPr>
                <a:t>Cognitive Process Transformation</a:t>
              </a:r>
              <a:br>
                <a:rPr lang="en-US" sz="1100" dirty="0">
                  <a:solidFill>
                    <a:srgbClr val="FFFFFF"/>
                  </a:solidFill>
                  <a:cs typeface="Arial"/>
                </a:rPr>
              </a:br>
              <a:endParaRPr lang="en-US" sz="1100" dirty="0">
                <a:solidFill>
                  <a:srgbClr val="FFFFFF"/>
                </a:solidFill>
                <a:cs typeface="Arial"/>
              </a:endParaRPr>
            </a:p>
            <a:p>
              <a:pPr marL="4763" algn="ctr"/>
              <a:endParaRPr lang="en-US" sz="110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26" name="Triangle 25"/>
            <p:cNvSpPr/>
            <p:nvPr/>
          </p:nvSpPr>
          <p:spPr>
            <a:xfrm>
              <a:off x="3149023" y="666750"/>
              <a:ext cx="1538143" cy="1275555"/>
            </a:xfrm>
            <a:prstGeom prst="triangle">
              <a:avLst/>
            </a:prstGeom>
            <a:gradFill>
              <a:gsLst>
                <a:gs pos="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</a:gradFill>
            <a:ln w="6350"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17475"/>
              <a:r>
                <a:rPr lang="en-US" sz="1100">
                  <a:solidFill>
                    <a:srgbClr val="FFFFFF"/>
                  </a:solidFill>
                  <a:cs typeface="Arial"/>
                </a:rPr>
                <a:t>Digital Strategy and </a:t>
              </a:r>
              <a:r>
                <a:rPr lang="en-US" sz="1100" dirty="0" err="1">
                  <a:solidFill>
                    <a:srgbClr val="FFFFFF"/>
                  </a:solidFill>
                  <a:cs typeface="Arial"/>
                </a:rPr>
                <a:t>iX</a:t>
              </a:r>
              <a:br>
                <a:rPr lang="en-US" sz="1100" dirty="0">
                  <a:solidFill>
                    <a:srgbClr val="FFFFFF"/>
                  </a:solidFill>
                  <a:cs typeface="Arial"/>
                </a:rPr>
              </a:br>
              <a:endParaRPr lang="en-US" sz="1100" dirty="0">
                <a:solidFill>
                  <a:srgbClr val="FFFFFF"/>
                </a:solidFill>
                <a:cs typeface="Arial"/>
              </a:endParaRPr>
            </a:p>
          </p:txBody>
        </p:sp>
      </p:grpSp>
      <p:sp>
        <p:nvSpPr>
          <p:cNvPr id="27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174530470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zzle piece detail</a:t>
            </a:r>
            <a:br>
              <a:rPr lang="en-US"/>
            </a:br>
            <a:endParaRPr lang="en-US"/>
          </a:p>
        </p:txBody>
      </p:sp>
      <p:sp>
        <p:nvSpPr>
          <p:cNvPr id="75778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1"/>
            <a:r>
              <a:rPr lang="en-US"/>
              <a:t>Text goes here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5780" name="Freeform 27"/>
          <p:cNvSpPr>
            <a:spLocks/>
          </p:cNvSpPr>
          <p:nvPr/>
        </p:nvSpPr>
        <p:spPr bwMode="gray">
          <a:xfrm>
            <a:off x="4265761" y="1867758"/>
            <a:ext cx="1404938" cy="1233488"/>
          </a:xfrm>
          <a:custGeom>
            <a:avLst/>
            <a:gdLst>
              <a:gd name="T0" fmla="*/ 2147483646 w 822"/>
              <a:gd name="T1" fmla="*/ 2147483646 h 667"/>
              <a:gd name="T2" fmla="*/ 2147483646 w 822"/>
              <a:gd name="T3" fmla="*/ 2147483646 h 667"/>
              <a:gd name="T4" fmla="*/ 2147483646 w 822"/>
              <a:gd name="T5" fmla="*/ 2147483646 h 667"/>
              <a:gd name="T6" fmla="*/ 2147483646 w 822"/>
              <a:gd name="T7" fmla="*/ 2147483646 h 667"/>
              <a:gd name="T8" fmla="*/ 2147483646 w 822"/>
              <a:gd name="T9" fmla="*/ 2147483646 h 667"/>
              <a:gd name="T10" fmla="*/ 2147483646 w 822"/>
              <a:gd name="T11" fmla="*/ 2147483646 h 667"/>
              <a:gd name="T12" fmla="*/ 2147483646 w 822"/>
              <a:gd name="T13" fmla="*/ 2147483646 h 667"/>
              <a:gd name="T14" fmla="*/ 2147483646 w 822"/>
              <a:gd name="T15" fmla="*/ 2147483646 h 667"/>
              <a:gd name="T16" fmla="*/ 2147483646 w 822"/>
              <a:gd name="T17" fmla="*/ 2147483646 h 667"/>
              <a:gd name="T18" fmla="*/ 2147483646 w 822"/>
              <a:gd name="T19" fmla="*/ 2147483646 h 667"/>
              <a:gd name="T20" fmla="*/ 2147483646 w 822"/>
              <a:gd name="T21" fmla="*/ 2147483646 h 667"/>
              <a:gd name="T22" fmla="*/ 2147483646 w 822"/>
              <a:gd name="T23" fmla="*/ 2147483646 h 667"/>
              <a:gd name="T24" fmla="*/ 2147483646 w 822"/>
              <a:gd name="T25" fmla="*/ 2147483646 h 667"/>
              <a:gd name="T26" fmla="*/ 2147483646 w 822"/>
              <a:gd name="T27" fmla="*/ 2147483646 h 667"/>
              <a:gd name="T28" fmla="*/ 2147483646 w 822"/>
              <a:gd name="T29" fmla="*/ 2147483646 h 667"/>
              <a:gd name="T30" fmla="*/ 2147483646 w 822"/>
              <a:gd name="T31" fmla="*/ 2147483646 h 667"/>
              <a:gd name="T32" fmla="*/ 2147483646 w 822"/>
              <a:gd name="T33" fmla="*/ 2147483646 h 667"/>
              <a:gd name="T34" fmla="*/ 2147483646 w 822"/>
              <a:gd name="T35" fmla="*/ 2147483646 h 667"/>
              <a:gd name="T36" fmla="*/ 2147483646 w 822"/>
              <a:gd name="T37" fmla="*/ 2147483646 h 667"/>
              <a:gd name="T38" fmla="*/ 2147483646 w 822"/>
              <a:gd name="T39" fmla="*/ 0 h 667"/>
              <a:gd name="T40" fmla="*/ 2147483646 w 822"/>
              <a:gd name="T41" fmla="*/ 2147483646 h 667"/>
              <a:gd name="T42" fmla="*/ 2147483646 w 822"/>
              <a:gd name="T43" fmla="*/ 2147483646 h 667"/>
              <a:gd name="T44" fmla="*/ 2147483646 w 822"/>
              <a:gd name="T45" fmla="*/ 2147483646 h 667"/>
              <a:gd name="T46" fmla="*/ 2147483646 w 822"/>
              <a:gd name="T47" fmla="*/ 2147483646 h 667"/>
              <a:gd name="T48" fmla="*/ 2147483646 w 822"/>
              <a:gd name="T49" fmla="*/ 2147483646 h 667"/>
              <a:gd name="T50" fmla="*/ 2147483646 w 822"/>
              <a:gd name="T51" fmla="*/ 2147483646 h 667"/>
              <a:gd name="T52" fmla="*/ 2147483646 w 822"/>
              <a:gd name="T53" fmla="*/ 2147483646 h 667"/>
              <a:gd name="T54" fmla="*/ 2147483646 w 822"/>
              <a:gd name="T55" fmla="*/ 2147483646 h 667"/>
              <a:gd name="T56" fmla="*/ 2147483646 w 822"/>
              <a:gd name="T57" fmla="*/ 2147483646 h 667"/>
              <a:gd name="T58" fmla="*/ 2147483646 w 822"/>
              <a:gd name="T59" fmla="*/ 2147483646 h 667"/>
              <a:gd name="T60" fmla="*/ 2147483646 w 822"/>
              <a:gd name="T61" fmla="*/ 2147483646 h 667"/>
              <a:gd name="T62" fmla="*/ 2147483646 w 822"/>
              <a:gd name="T63" fmla="*/ 2147483646 h 667"/>
              <a:gd name="T64" fmla="*/ 2147483646 w 822"/>
              <a:gd name="T65" fmla="*/ 2147483646 h 667"/>
              <a:gd name="T66" fmla="*/ 2147483646 w 822"/>
              <a:gd name="T67" fmla="*/ 2147483646 h 667"/>
              <a:gd name="T68" fmla="*/ 2147483646 w 822"/>
              <a:gd name="T69" fmla="*/ 2147483646 h 667"/>
              <a:gd name="T70" fmla="*/ 2147483646 w 822"/>
              <a:gd name="T71" fmla="*/ 2147483646 h 667"/>
              <a:gd name="T72" fmla="*/ 2147483646 w 822"/>
              <a:gd name="T73" fmla="*/ 2147483646 h 667"/>
              <a:gd name="T74" fmla="*/ 2147483646 w 822"/>
              <a:gd name="T75" fmla="*/ 2147483646 h 667"/>
              <a:gd name="T76" fmla="*/ 2147483646 w 822"/>
              <a:gd name="T77" fmla="*/ 2147483646 h 667"/>
              <a:gd name="T78" fmla="*/ 2147483646 w 822"/>
              <a:gd name="T79" fmla="*/ 2147483646 h 667"/>
              <a:gd name="T80" fmla="*/ 2147483646 w 822"/>
              <a:gd name="T81" fmla="*/ 2147483646 h 667"/>
              <a:gd name="T82" fmla="*/ 2147483646 w 822"/>
              <a:gd name="T83" fmla="*/ 2147483646 h 667"/>
              <a:gd name="T84" fmla="*/ 2147483646 w 822"/>
              <a:gd name="T85" fmla="*/ 2147483646 h 667"/>
              <a:gd name="T86" fmla="*/ 2147483646 w 822"/>
              <a:gd name="T87" fmla="*/ 2147483646 h 667"/>
              <a:gd name="T88" fmla="*/ 2147483646 w 822"/>
              <a:gd name="T89" fmla="*/ 2147483646 h 667"/>
              <a:gd name="T90" fmla="*/ 2147483646 w 822"/>
              <a:gd name="T91" fmla="*/ 2147483646 h 667"/>
              <a:gd name="T92" fmla="*/ 2147483646 w 822"/>
              <a:gd name="T93" fmla="*/ 2147483646 h 667"/>
              <a:gd name="T94" fmla="*/ 2147483646 w 822"/>
              <a:gd name="T95" fmla="*/ 2147483646 h 667"/>
              <a:gd name="T96" fmla="*/ 2147483646 w 822"/>
              <a:gd name="T97" fmla="*/ 2147483646 h 6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667"/>
              <a:gd name="T149" fmla="*/ 822 w 822"/>
              <a:gd name="T150" fmla="*/ 667 h 6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667">
                <a:moveTo>
                  <a:pt x="35" y="332"/>
                </a:moveTo>
                <a:lnTo>
                  <a:pt x="39" y="329"/>
                </a:lnTo>
                <a:lnTo>
                  <a:pt x="44" y="327"/>
                </a:lnTo>
                <a:lnTo>
                  <a:pt x="48" y="326"/>
                </a:lnTo>
                <a:lnTo>
                  <a:pt x="53" y="325"/>
                </a:lnTo>
                <a:lnTo>
                  <a:pt x="57" y="325"/>
                </a:lnTo>
                <a:lnTo>
                  <a:pt x="61" y="325"/>
                </a:lnTo>
                <a:lnTo>
                  <a:pt x="66" y="326"/>
                </a:lnTo>
                <a:lnTo>
                  <a:pt x="70" y="327"/>
                </a:lnTo>
                <a:lnTo>
                  <a:pt x="77" y="331"/>
                </a:lnTo>
                <a:lnTo>
                  <a:pt x="85" y="335"/>
                </a:lnTo>
                <a:lnTo>
                  <a:pt x="92" y="340"/>
                </a:lnTo>
                <a:lnTo>
                  <a:pt x="99" y="345"/>
                </a:lnTo>
                <a:lnTo>
                  <a:pt x="107" y="349"/>
                </a:lnTo>
                <a:lnTo>
                  <a:pt x="113" y="353"/>
                </a:lnTo>
                <a:lnTo>
                  <a:pt x="119" y="356"/>
                </a:lnTo>
                <a:lnTo>
                  <a:pt x="121" y="357"/>
                </a:lnTo>
                <a:lnTo>
                  <a:pt x="124" y="357"/>
                </a:lnTo>
                <a:lnTo>
                  <a:pt x="129" y="356"/>
                </a:lnTo>
                <a:lnTo>
                  <a:pt x="132" y="355"/>
                </a:lnTo>
                <a:lnTo>
                  <a:pt x="134" y="353"/>
                </a:lnTo>
                <a:lnTo>
                  <a:pt x="136" y="350"/>
                </a:lnTo>
                <a:lnTo>
                  <a:pt x="138" y="347"/>
                </a:lnTo>
                <a:lnTo>
                  <a:pt x="140" y="343"/>
                </a:lnTo>
                <a:lnTo>
                  <a:pt x="142" y="338"/>
                </a:lnTo>
                <a:lnTo>
                  <a:pt x="142" y="142"/>
                </a:lnTo>
                <a:lnTo>
                  <a:pt x="414" y="142"/>
                </a:lnTo>
                <a:lnTo>
                  <a:pt x="421" y="139"/>
                </a:lnTo>
                <a:lnTo>
                  <a:pt x="426" y="137"/>
                </a:lnTo>
                <a:lnTo>
                  <a:pt x="430" y="134"/>
                </a:lnTo>
                <a:lnTo>
                  <a:pt x="432" y="130"/>
                </a:lnTo>
                <a:lnTo>
                  <a:pt x="434" y="127"/>
                </a:lnTo>
                <a:lnTo>
                  <a:pt x="435" y="123"/>
                </a:lnTo>
                <a:lnTo>
                  <a:pt x="434" y="120"/>
                </a:lnTo>
                <a:lnTo>
                  <a:pt x="433" y="116"/>
                </a:lnTo>
                <a:lnTo>
                  <a:pt x="429" y="108"/>
                </a:lnTo>
                <a:lnTo>
                  <a:pt x="424" y="100"/>
                </a:lnTo>
                <a:lnTo>
                  <a:pt x="418" y="92"/>
                </a:lnTo>
                <a:lnTo>
                  <a:pt x="413" y="84"/>
                </a:lnTo>
                <a:lnTo>
                  <a:pt x="409" y="77"/>
                </a:lnTo>
                <a:lnTo>
                  <a:pt x="406" y="71"/>
                </a:lnTo>
                <a:lnTo>
                  <a:pt x="405" y="67"/>
                </a:lnTo>
                <a:lnTo>
                  <a:pt x="404" y="64"/>
                </a:lnTo>
                <a:lnTo>
                  <a:pt x="403" y="58"/>
                </a:lnTo>
                <a:lnTo>
                  <a:pt x="403" y="52"/>
                </a:lnTo>
                <a:lnTo>
                  <a:pt x="404" y="46"/>
                </a:lnTo>
                <a:lnTo>
                  <a:pt x="406" y="39"/>
                </a:lnTo>
                <a:lnTo>
                  <a:pt x="408" y="34"/>
                </a:lnTo>
                <a:lnTo>
                  <a:pt x="411" y="29"/>
                </a:lnTo>
                <a:lnTo>
                  <a:pt x="415" y="25"/>
                </a:lnTo>
                <a:lnTo>
                  <a:pt x="419" y="21"/>
                </a:lnTo>
                <a:lnTo>
                  <a:pt x="424" y="17"/>
                </a:lnTo>
                <a:lnTo>
                  <a:pt x="430" y="13"/>
                </a:lnTo>
                <a:lnTo>
                  <a:pt x="435" y="10"/>
                </a:lnTo>
                <a:lnTo>
                  <a:pt x="443" y="7"/>
                </a:lnTo>
                <a:lnTo>
                  <a:pt x="449" y="5"/>
                </a:lnTo>
                <a:lnTo>
                  <a:pt x="456" y="3"/>
                </a:lnTo>
                <a:lnTo>
                  <a:pt x="463" y="1"/>
                </a:lnTo>
                <a:lnTo>
                  <a:pt x="470" y="0"/>
                </a:lnTo>
                <a:lnTo>
                  <a:pt x="477" y="0"/>
                </a:lnTo>
                <a:lnTo>
                  <a:pt x="485" y="0"/>
                </a:lnTo>
                <a:lnTo>
                  <a:pt x="492" y="0"/>
                </a:lnTo>
                <a:lnTo>
                  <a:pt x="499" y="1"/>
                </a:lnTo>
                <a:lnTo>
                  <a:pt x="506" y="2"/>
                </a:lnTo>
                <a:lnTo>
                  <a:pt x="513" y="4"/>
                </a:lnTo>
                <a:lnTo>
                  <a:pt x="520" y="6"/>
                </a:lnTo>
                <a:lnTo>
                  <a:pt x="525" y="8"/>
                </a:lnTo>
                <a:lnTo>
                  <a:pt x="528" y="9"/>
                </a:lnTo>
                <a:lnTo>
                  <a:pt x="534" y="13"/>
                </a:lnTo>
                <a:lnTo>
                  <a:pt x="540" y="17"/>
                </a:lnTo>
                <a:lnTo>
                  <a:pt x="545" y="21"/>
                </a:lnTo>
                <a:lnTo>
                  <a:pt x="548" y="24"/>
                </a:lnTo>
                <a:lnTo>
                  <a:pt x="550" y="26"/>
                </a:lnTo>
                <a:lnTo>
                  <a:pt x="555" y="32"/>
                </a:lnTo>
                <a:lnTo>
                  <a:pt x="558" y="37"/>
                </a:lnTo>
                <a:lnTo>
                  <a:pt x="560" y="42"/>
                </a:lnTo>
                <a:lnTo>
                  <a:pt x="561" y="48"/>
                </a:lnTo>
                <a:lnTo>
                  <a:pt x="561" y="55"/>
                </a:lnTo>
                <a:lnTo>
                  <a:pt x="560" y="61"/>
                </a:lnTo>
                <a:lnTo>
                  <a:pt x="559" y="64"/>
                </a:lnTo>
                <a:lnTo>
                  <a:pt x="558" y="68"/>
                </a:lnTo>
                <a:lnTo>
                  <a:pt x="554" y="75"/>
                </a:lnTo>
                <a:lnTo>
                  <a:pt x="552" y="79"/>
                </a:lnTo>
                <a:lnTo>
                  <a:pt x="550" y="83"/>
                </a:lnTo>
                <a:lnTo>
                  <a:pt x="540" y="96"/>
                </a:lnTo>
                <a:lnTo>
                  <a:pt x="534" y="106"/>
                </a:lnTo>
                <a:lnTo>
                  <a:pt x="531" y="111"/>
                </a:lnTo>
                <a:lnTo>
                  <a:pt x="529" y="115"/>
                </a:lnTo>
                <a:lnTo>
                  <a:pt x="527" y="119"/>
                </a:lnTo>
                <a:lnTo>
                  <a:pt x="527" y="123"/>
                </a:lnTo>
                <a:lnTo>
                  <a:pt x="527" y="127"/>
                </a:lnTo>
                <a:lnTo>
                  <a:pt x="527" y="129"/>
                </a:lnTo>
                <a:lnTo>
                  <a:pt x="528" y="130"/>
                </a:lnTo>
                <a:lnTo>
                  <a:pt x="530" y="132"/>
                </a:lnTo>
                <a:lnTo>
                  <a:pt x="531" y="134"/>
                </a:lnTo>
                <a:lnTo>
                  <a:pt x="535" y="137"/>
                </a:lnTo>
                <a:lnTo>
                  <a:pt x="538" y="138"/>
                </a:lnTo>
                <a:lnTo>
                  <a:pt x="541" y="140"/>
                </a:lnTo>
                <a:lnTo>
                  <a:pt x="548" y="142"/>
                </a:lnTo>
                <a:lnTo>
                  <a:pt x="822" y="142"/>
                </a:lnTo>
                <a:lnTo>
                  <a:pt x="822" y="667"/>
                </a:lnTo>
                <a:lnTo>
                  <a:pt x="142" y="667"/>
                </a:lnTo>
                <a:lnTo>
                  <a:pt x="142" y="470"/>
                </a:lnTo>
                <a:lnTo>
                  <a:pt x="138" y="460"/>
                </a:lnTo>
                <a:lnTo>
                  <a:pt x="136" y="456"/>
                </a:lnTo>
                <a:lnTo>
                  <a:pt x="134" y="454"/>
                </a:lnTo>
                <a:lnTo>
                  <a:pt x="132" y="451"/>
                </a:lnTo>
                <a:lnTo>
                  <a:pt x="129" y="450"/>
                </a:lnTo>
                <a:lnTo>
                  <a:pt x="127" y="449"/>
                </a:lnTo>
                <a:lnTo>
                  <a:pt x="124" y="449"/>
                </a:lnTo>
                <a:lnTo>
                  <a:pt x="121" y="450"/>
                </a:lnTo>
                <a:lnTo>
                  <a:pt x="118" y="451"/>
                </a:lnTo>
                <a:lnTo>
                  <a:pt x="112" y="454"/>
                </a:lnTo>
                <a:lnTo>
                  <a:pt x="106" y="458"/>
                </a:lnTo>
                <a:lnTo>
                  <a:pt x="98" y="463"/>
                </a:lnTo>
                <a:lnTo>
                  <a:pt x="83" y="473"/>
                </a:lnTo>
                <a:lnTo>
                  <a:pt x="75" y="478"/>
                </a:lnTo>
                <a:lnTo>
                  <a:pt x="72" y="480"/>
                </a:lnTo>
                <a:lnTo>
                  <a:pt x="68" y="481"/>
                </a:lnTo>
                <a:lnTo>
                  <a:pt x="59" y="484"/>
                </a:lnTo>
                <a:lnTo>
                  <a:pt x="55" y="484"/>
                </a:lnTo>
                <a:lnTo>
                  <a:pt x="51" y="484"/>
                </a:lnTo>
                <a:lnTo>
                  <a:pt x="47" y="483"/>
                </a:lnTo>
                <a:lnTo>
                  <a:pt x="42" y="482"/>
                </a:lnTo>
                <a:lnTo>
                  <a:pt x="38" y="480"/>
                </a:lnTo>
                <a:lnTo>
                  <a:pt x="34" y="478"/>
                </a:lnTo>
                <a:lnTo>
                  <a:pt x="26" y="471"/>
                </a:lnTo>
                <a:lnTo>
                  <a:pt x="22" y="467"/>
                </a:lnTo>
                <a:lnTo>
                  <a:pt x="19" y="463"/>
                </a:lnTo>
                <a:lnTo>
                  <a:pt x="12" y="455"/>
                </a:lnTo>
                <a:lnTo>
                  <a:pt x="10" y="450"/>
                </a:lnTo>
                <a:lnTo>
                  <a:pt x="8" y="446"/>
                </a:lnTo>
                <a:lnTo>
                  <a:pt x="4" y="435"/>
                </a:lnTo>
                <a:lnTo>
                  <a:pt x="3" y="429"/>
                </a:lnTo>
                <a:lnTo>
                  <a:pt x="2" y="424"/>
                </a:lnTo>
                <a:lnTo>
                  <a:pt x="1" y="414"/>
                </a:lnTo>
                <a:lnTo>
                  <a:pt x="0" y="403"/>
                </a:lnTo>
                <a:lnTo>
                  <a:pt x="1" y="392"/>
                </a:lnTo>
                <a:lnTo>
                  <a:pt x="3" y="382"/>
                </a:lnTo>
                <a:lnTo>
                  <a:pt x="6" y="371"/>
                </a:lnTo>
                <a:lnTo>
                  <a:pt x="7" y="366"/>
                </a:lnTo>
                <a:lnTo>
                  <a:pt x="9" y="361"/>
                </a:lnTo>
                <a:lnTo>
                  <a:pt x="14" y="352"/>
                </a:lnTo>
                <a:lnTo>
                  <a:pt x="18" y="348"/>
                </a:lnTo>
                <a:lnTo>
                  <a:pt x="21" y="344"/>
                </a:lnTo>
                <a:lnTo>
                  <a:pt x="27" y="337"/>
                </a:lnTo>
                <a:lnTo>
                  <a:pt x="31" y="334"/>
                </a:lnTo>
                <a:lnTo>
                  <a:pt x="35" y="332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 w="6350" cmpd="sng">
            <a:solidFill>
              <a:schemeClr val="accent3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1" name="Freeform 28"/>
          <p:cNvSpPr>
            <a:spLocks/>
          </p:cNvSpPr>
          <p:nvPr/>
        </p:nvSpPr>
        <p:spPr bwMode="gray">
          <a:xfrm>
            <a:off x="3358505" y="1867758"/>
            <a:ext cx="1151335" cy="1233488"/>
          </a:xfrm>
          <a:custGeom>
            <a:avLst/>
            <a:gdLst>
              <a:gd name="T0" fmla="*/ 2147483646 w 674"/>
              <a:gd name="T1" fmla="*/ 2147483646 h 667"/>
              <a:gd name="T2" fmla="*/ 2147483646 w 674"/>
              <a:gd name="T3" fmla="*/ 2147483646 h 667"/>
              <a:gd name="T4" fmla="*/ 2147483646 w 674"/>
              <a:gd name="T5" fmla="*/ 2147483646 h 667"/>
              <a:gd name="T6" fmla="*/ 2147483646 w 674"/>
              <a:gd name="T7" fmla="*/ 2147483646 h 667"/>
              <a:gd name="T8" fmla="*/ 2147483646 w 674"/>
              <a:gd name="T9" fmla="*/ 2147483646 h 667"/>
              <a:gd name="T10" fmla="*/ 2147483646 w 674"/>
              <a:gd name="T11" fmla="*/ 2147483646 h 667"/>
              <a:gd name="T12" fmla="*/ 2147483646 w 674"/>
              <a:gd name="T13" fmla="*/ 2147483646 h 667"/>
              <a:gd name="T14" fmla="*/ 2147483646 w 674"/>
              <a:gd name="T15" fmla="*/ 2147483646 h 667"/>
              <a:gd name="T16" fmla="*/ 2147483646 w 674"/>
              <a:gd name="T17" fmla="*/ 2147483646 h 667"/>
              <a:gd name="T18" fmla="*/ 2147483646 w 674"/>
              <a:gd name="T19" fmla="*/ 2147483646 h 667"/>
              <a:gd name="T20" fmla="*/ 2147483646 w 674"/>
              <a:gd name="T21" fmla="*/ 2147483646 h 667"/>
              <a:gd name="T22" fmla="*/ 2147483646 w 674"/>
              <a:gd name="T23" fmla="*/ 2147483646 h 667"/>
              <a:gd name="T24" fmla="*/ 2147483646 w 674"/>
              <a:gd name="T25" fmla="*/ 0 h 667"/>
              <a:gd name="T26" fmla="*/ 2147483646 w 674"/>
              <a:gd name="T27" fmla="*/ 2147483646 h 667"/>
              <a:gd name="T28" fmla="*/ 2147483646 w 674"/>
              <a:gd name="T29" fmla="*/ 2147483646 h 667"/>
              <a:gd name="T30" fmla="*/ 2147483646 w 674"/>
              <a:gd name="T31" fmla="*/ 2147483646 h 667"/>
              <a:gd name="T32" fmla="*/ 2147483646 w 674"/>
              <a:gd name="T33" fmla="*/ 2147483646 h 667"/>
              <a:gd name="T34" fmla="*/ 2147483646 w 674"/>
              <a:gd name="T35" fmla="*/ 2147483646 h 667"/>
              <a:gd name="T36" fmla="*/ 2147483646 w 674"/>
              <a:gd name="T37" fmla="*/ 2147483646 h 667"/>
              <a:gd name="T38" fmla="*/ 2147483646 w 674"/>
              <a:gd name="T39" fmla="*/ 2147483646 h 667"/>
              <a:gd name="T40" fmla="*/ 2147483646 w 674"/>
              <a:gd name="T41" fmla="*/ 2147483646 h 667"/>
              <a:gd name="T42" fmla="*/ 2147483646 w 674"/>
              <a:gd name="T43" fmla="*/ 2147483646 h 667"/>
              <a:gd name="T44" fmla="*/ 2147483646 w 674"/>
              <a:gd name="T45" fmla="*/ 2147483646 h 667"/>
              <a:gd name="T46" fmla="*/ 2147483646 w 674"/>
              <a:gd name="T47" fmla="*/ 2147483646 h 667"/>
              <a:gd name="T48" fmla="*/ 2147483646 w 674"/>
              <a:gd name="T49" fmla="*/ 2147483646 h 667"/>
              <a:gd name="T50" fmla="*/ 2147483646 w 674"/>
              <a:gd name="T51" fmla="*/ 2147483646 h 667"/>
              <a:gd name="T52" fmla="*/ 2147483646 w 674"/>
              <a:gd name="T53" fmla="*/ 2147483646 h 667"/>
              <a:gd name="T54" fmla="*/ 2147483646 w 674"/>
              <a:gd name="T55" fmla="*/ 2147483646 h 667"/>
              <a:gd name="T56" fmla="*/ 2147483646 w 674"/>
              <a:gd name="T57" fmla="*/ 2147483646 h 667"/>
              <a:gd name="T58" fmla="*/ 2147483646 w 674"/>
              <a:gd name="T59" fmla="*/ 2147483646 h 667"/>
              <a:gd name="T60" fmla="*/ 2147483646 w 674"/>
              <a:gd name="T61" fmla="*/ 2147483646 h 667"/>
              <a:gd name="T62" fmla="*/ 2147483646 w 674"/>
              <a:gd name="T63" fmla="*/ 2147483646 h 667"/>
              <a:gd name="T64" fmla="*/ 2147483646 w 674"/>
              <a:gd name="T65" fmla="*/ 2147483646 h 667"/>
              <a:gd name="T66" fmla="*/ 2147483646 w 674"/>
              <a:gd name="T67" fmla="*/ 2147483646 h 667"/>
              <a:gd name="T68" fmla="*/ 2147483646 w 674"/>
              <a:gd name="T69" fmla="*/ 2147483646 h 667"/>
              <a:gd name="T70" fmla="*/ 2147483646 w 674"/>
              <a:gd name="T71" fmla="*/ 2147483646 h 667"/>
              <a:gd name="T72" fmla="*/ 2147483646 w 674"/>
              <a:gd name="T73" fmla="*/ 2147483646 h 667"/>
              <a:gd name="T74" fmla="*/ 2147483646 w 674"/>
              <a:gd name="T75" fmla="*/ 2147483646 h 667"/>
              <a:gd name="T76" fmla="*/ 2147483646 w 674"/>
              <a:gd name="T77" fmla="*/ 2147483646 h 667"/>
              <a:gd name="T78" fmla="*/ 2147483646 w 674"/>
              <a:gd name="T79" fmla="*/ 2147483646 h 667"/>
              <a:gd name="T80" fmla="*/ 2147483646 w 674"/>
              <a:gd name="T81" fmla="*/ 2147483646 h 667"/>
              <a:gd name="T82" fmla="*/ 2147483646 w 674"/>
              <a:gd name="T83" fmla="*/ 2147483646 h 667"/>
              <a:gd name="T84" fmla="*/ 2147483646 w 674"/>
              <a:gd name="T85" fmla="*/ 2147483646 h 667"/>
              <a:gd name="T86" fmla="*/ 2147483646 w 674"/>
              <a:gd name="T87" fmla="*/ 2147483646 h 667"/>
              <a:gd name="T88" fmla="*/ 2147483646 w 674"/>
              <a:gd name="T89" fmla="*/ 2147483646 h 667"/>
              <a:gd name="T90" fmla="*/ 2147483646 w 674"/>
              <a:gd name="T91" fmla="*/ 2147483646 h 667"/>
              <a:gd name="T92" fmla="*/ 2147483646 w 674"/>
              <a:gd name="T93" fmla="*/ 2147483646 h 667"/>
              <a:gd name="T94" fmla="*/ 2147483646 w 674"/>
              <a:gd name="T95" fmla="*/ 2147483646 h 667"/>
              <a:gd name="T96" fmla="*/ 2147483646 w 674"/>
              <a:gd name="T97" fmla="*/ 2147483646 h 667"/>
              <a:gd name="T98" fmla="*/ 2147483646 w 674"/>
              <a:gd name="T99" fmla="*/ 2147483646 h 6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74"/>
              <a:gd name="T151" fmla="*/ 0 h 667"/>
              <a:gd name="T152" fmla="*/ 674 w 674"/>
              <a:gd name="T153" fmla="*/ 667 h 6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74" h="667">
                <a:moveTo>
                  <a:pt x="0" y="142"/>
                </a:moveTo>
                <a:lnTo>
                  <a:pt x="270" y="142"/>
                </a:lnTo>
                <a:lnTo>
                  <a:pt x="275" y="140"/>
                </a:lnTo>
                <a:lnTo>
                  <a:pt x="279" y="138"/>
                </a:lnTo>
                <a:lnTo>
                  <a:pt x="283" y="136"/>
                </a:lnTo>
                <a:lnTo>
                  <a:pt x="285" y="134"/>
                </a:lnTo>
                <a:lnTo>
                  <a:pt x="287" y="131"/>
                </a:lnTo>
                <a:lnTo>
                  <a:pt x="289" y="129"/>
                </a:lnTo>
                <a:lnTo>
                  <a:pt x="289" y="126"/>
                </a:lnTo>
                <a:lnTo>
                  <a:pt x="290" y="124"/>
                </a:lnTo>
                <a:lnTo>
                  <a:pt x="289" y="121"/>
                </a:lnTo>
                <a:lnTo>
                  <a:pt x="289" y="118"/>
                </a:lnTo>
                <a:lnTo>
                  <a:pt x="286" y="113"/>
                </a:lnTo>
                <a:lnTo>
                  <a:pt x="282" y="105"/>
                </a:lnTo>
                <a:lnTo>
                  <a:pt x="277" y="99"/>
                </a:lnTo>
                <a:lnTo>
                  <a:pt x="268" y="85"/>
                </a:lnTo>
                <a:lnTo>
                  <a:pt x="263" y="77"/>
                </a:lnTo>
                <a:lnTo>
                  <a:pt x="262" y="73"/>
                </a:lnTo>
                <a:lnTo>
                  <a:pt x="260" y="69"/>
                </a:lnTo>
                <a:lnTo>
                  <a:pt x="259" y="65"/>
                </a:lnTo>
                <a:lnTo>
                  <a:pt x="258" y="61"/>
                </a:lnTo>
                <a:lnTo>
                  <a:pt x="258" y="57"/>
                </a:lnTo>
                <a:lnTo>
                  <a:pt x="258" y="52"/>
                </a:lnTo>
                <a:lnTo>
                  <a:pt x="259" y="48"/>
                </a:lnTo>
                <a:lnTo>
                  <a:pt x="260" y="43"/>
                </a:lnTo>
                <a:lnTo>
                  <a:pt x="262" y="38"/>
                </a:lnTo>
                <a:lnTo>
                  <a:pt x="264" y="33"/>
                </a:lnTo>
                <a:lnTo>
                  <a:pt x="267" y="29"/>
                </a:lnTo>
                <a:lnTo>
                  <a:pt x="270" y="26"/>
                </a:lnTo>
                <a:lnTo>
                  <a:pt x="273" y="22"/>
                </a:lnTo>
                <a:lnTo>
                  <a:pt x="277" y="19"/>
                </a:lnTo>
                <a:lnTo>
                  <a:pt x="285" y="14"/>
                </a:lnTo>
                <a:lnTo>
                  <a:pt x="294" y="9"/>
                </a:lnTo>
                <a:lnTo>
                  <a:pt x="299" y="7"/>
                </a:lnTo>
                <a:lnTo>
                  <a:pt x="304" y="5"/>
                </a:lnTo>
                <a:lnTo>
                  <a:pt x="314" y="2"/>
                </a:lnTo>
                <a:lnTo>
                  <a:pt x="325" y="1"/>
                </a:lnTo>
                <a:lnTo>
                  <a:pt x="335" y="0"/>
                </a:lnTo>
                <a:lnTo>
                  <a:pt x="346" y="0"/>
                </a:lnTo>
                <a:lnTo>
                  <a:pt x="357" y="1"/>
                </a:lnTo>
                <a:lnTo>
                  <a:pt x="367" y="4"/>
                </a:lnTo>
                <a:lnTo>
                  <a:pt x="377" y="7"/>
                </a:lnTo>
                <a:lnTo>
                  <a:pt x="383" y="9"/>
                </a:lnTo>
                <a:lnTo>
                  <a:pt x="388" y="12"/>
                </a:lnTo>
                <a:lnTo>
                  <a:pt x="392" y="14"/>
                </a:lnTo>
                <a:lnTo>
                  <a:pt x="396" y="17"/>
                </a:lnTo>
                <a:lnTo>
                  <a:pt x="400" y="21"/>
                </a:lnTo>
                <a:lnTo>
                  <a:pt x="404" y="24"/>
                </a:lnTo>
                <a:lnTo>
                  <a:pt x="407" y="28"/>
                </a:lnTo>
                <a:lnTo>
                  <a:pt x="410" y="32"/>
                </a:lnTo>
                <a:lnTo>
                  <a:pt x="413" y="37"/>
                </a:lnTo>
                <a:lnTo>
                  <a:pt x="415" y="41"/>
                </a:lnTo>
                <a:lnTo>
                  <a:pt x="416" y="46"/>
                </a:lnTo>
                <a:lnTo>
                  <a:pt x="417" y="51"/>
                </a:lnTo>
                <a:lnTo>
                  <a:pt x="417" y="55"/>
                </a:lnTo>
                <a:lnTo>
                  <a:pt x="416" y="59"/>
                </a:lnTo>
                <a:lnTo>
                  <a:pt x="414" y="67"/>
                </a:lnTo>
                <a:lnTo>
                  <a:pt x="410" y="75"/>
                </a:lnTo>
                <a:lnTo>
                  <a:pt x="406" y="83"/>
                </a:lnTo>
                <a:lnTo>
                  <a:pt x="395" y="98"/>
                </a:lnTo>
                <a:lnTo>
                  <a:pt x="390" y="104"/>
                </a:lnTo>
                <a:lnTo>
                  <a:pt x="386" y="112"/>
                </a:lnTo>
                <a:lnTo>
                  <a:pt x="383" y="118"/>
                </a:lnTo>
                <a:lnTo>
                  <a:pt x="382" y="121"/>
                </a:lnTo>
                <a:lnTo>
                  <a:pt x="382" y="124"/>
                </a:lnTo>
                <a:lnTo>
                  <a:pt x="382" y="126"/>
                </a:lnTo>
                <a:lnTo>
                  <a:pt x="383" y="129"/>
                </a:lnTo>
                <a:lnTo>
                  <a:pt x="384" y="132"/>
                </a:lnTo>
                <a:lnTo>
                  <a:pt x="386" y="134"/>
                </a:lnTo>
                <a:lnTo>
                  <a:pt x="389" y="136"/>
                </a:lnTo>
                <a:lnTo>
                  <a:pt x="393" y="138"/>
                </a:lnTo>
                <a:lnTo>
                  <a:pt x="397" y="140"/>
                </a:lnTo>
                <a:lnTo>
                  <a:pt x="403" y="142"/>
                </a:lnTo>
                <a:lnTo>
                  <a:pt x="674" y="142"/>
                </a:lnTo>
                <a:lnTo>
                  <a:pt x="674" y="336"/>
                </a:lnTo>
                <a:lnTo>
                  <a:pt x="672" y="342"/>
                </a:lnTo>
                <a:lnTo>
                  <a:pt x="670" y="346"/>
                </a:lnTo>
                <a:lnTo>
                  <a:pt x="668" y="350"/>
                </a:lnTo>
                <a:lnTo>
                  <a:pt x="666" y="352"/>
                </a:lnTo>
                <a:lnTo>
                  <a:pt x="664" y="355"/>
                </a:lnTo>
                <a:lnTo>
                  <a:pt x="661" y="356"/>
                </a:lnTo>
                <a:lnTo>
                  <a:pt x="659" y="357"/>
                </a:lnTo>
                <a:lnTo>
                  <a:pt x="656" y="357"/>
                </a:lnTo>
                <a:lnTo>
                  <a:pt x="653" y="357"/>
                </a:lnTo>
                <a:lnTo>
                  <a:pt x="651" y="356"/>
                </a:lnTo>
                <a:lnTo>
                  <a:pt x="645" y="353"/>
                </a:lnTo>
                <a:lnTo>
                  <a:pt x="639" y="350"/>
                </a:lnTo>
                <a:lnTo>
                  <a:pt x="631" y="345"/>
                </a:lnTo>
                <a:lnTo>
                  <a:pt x="624" y="340"/>
                </a:lnTo>
                <a:lnTo>
                  <a:pt x="617" y="335"/>
                </a:lnTo>
                <a:lnTo>
                  <a:pt x="609" y="331"/>
                </a:lnTo>
                <a:lnTo>
                  <a:pt x="601" y="328"/>
                </a:lnTo>
                <a:lnTo>
                  <a:pt x="597" y="326"/>
                </a:lnTo>
                <a:lnTo>
                  <a:pt x="593" y="325"/>
                </a:lnTo>
                <a:lnTo>
                  <a:pt x="589" y="325"/>
                </a:lnTo>
                <a:lnTo>
                  <a:pt x="585" y="325"/>
                </a:lnTo>
                <a:lnTo>
                  <a:pt x="580" y="326"/>
                </a:lnTo>
                <a:lnTo>
                  <a:pt x="576" y="327"/>
                </a:lnTo>
                <a:lnTo>
                  <a:pt x="571" y="329"/>
                </a:lnTo>
                <a:lnTo>
                  <a:pt x="566" y="332"/>
                </a:lnTo>
                <a:lnTo>
                  <a:pt x="562" y="334"/>
                </a:lnTo>
                <a:lnTo>
                  <a:pt x="559" y="337"/>
                </a:lnTo>
                <a:lnTo>
                  <a:pt x="555" y="341"/>
                </a:lnTo>
                <a:lnTo>
                  <a:pt x="552" y="344"/>
                </a:lnTo>
                <a:lnTo>
                  <a:pt x="546" y="352"/>
                </a:lnTo>
                <a:lnTo>
                  <a:pt x="541" y="361"/>
                </a:lnTo>
                <a:lnTo>
                  <a:pt x="539" y="366"/>
                </a:lnTo>
                <a:lnTo>
                  <a:pt x="537" y="371"/>
                </a:lnTo>
                <a:lnTo>
                  <a:pt x="534" y="382"/>
                </a:lnTo>
                <a:lnTo>
                  <a:pt x="533" y="392"/>
                </a:lnTo>
                <a:lnTo>
                  <a:pt x="532" y="397"/>
                </a:lnTo>
                <a:lnTo>
                  <a:pt x="532" y="403"/>
                </a:lnTo>
                <a:lnTo>
                  <a:pt x="532" y="414"/>
                </a:lnTo>
                <a:lnTo>
                  <a:pt x="533" y="424"/>
                </a:lnTo>
                <a:lnTo>
                  <a:pt x="536" y="435"/>
                </a:lnTo>
                <a:lnTo>
                  <a:pt x="539" y="446"/>
                </a:lnTo>
                <a:lnTo>
                  <a:pt x="541" y="450"/>
                </a:lnTo>
                <a:lnTo>
                  <a:pt x="544" y="455"/>
                </a:lnTo>
                <a:lnTo>
                  <a:pt x="546" y="459"/>
                </a:lnTo>
                <a:lnTo>
                  <a:pt x="550" y="463"/>
                </a:lnTo>
                <a:lnTo>
                  <a:pt x="554" y="467"/>
                </a:lnTo>
                <a:lnTo>
                  <a:pt x="557" y="471"/>
                </a:lnTo>
                <a:lnTo>
                  <a:pt x="561" y="475"/>
                </a:lnTo>
                <a:lnTo>
                  <a:pt x="565" y="478"/>
                </a:lnTo>
                <a:lnTo>
                  <a:pt x="570" y="480"/>
                </a:lnTo>
                <a:lnTo>
                  <a:pt x="574" y="482"/>
                </a:lnTo>
                <a:lnTo>
                  <a:pt x="578" y="483"/>
                </a:lnTo>
                <a:lnTo>
                  <a:pt x="583" y="484"/>
                </a:lnTo>
                <a:lnTo>
                  <a:pt x="587" y="484"/>
                </a:lnTo>
                <a:lnTo>
                  <a:pt x="591" y="484"/>
                </a:lnTo>
                <a:lnTo>
                  <a:pt x="599" y="481"/>
                </a:lnTo>
                <a:lnTo>
                  <a:pt x="603" y="480"/>
                </a:lnTo>
                <a:lnTo>
                  <a:pt x="607" y="477"/>
                </a:lnTo>
                <a:lnTo>
                  <a:pt x="615" y="473"/>
                </a:lnTo>
                <a:lnTo>
                  <a:pt x="630" y="462"/>
                </a:lnTo>
                <a:lnTo>
                  <a:pt x="638" y="457"/>
                </a:lnTo>
                <a:lnTo>
                  <a:pt x="644" y="453"/>
                </a:lnTo>
                <a:lnTo>
                  <a:pt x="647" y="452"/>
                </a:lnTo>
                <a:lnTo>
                  <a:pt x="650" y="450"/>
                </a:lnTo>
                <a:lnTo>
                  <a:pt x="653" y="450"/>
                </a:lnTo>
                <a:lnTo>
                  <a:pt x="656" y="449"/>
                </a:lnTo>
                <a:lnTo>
                  <a:pt x="659" y="450"/>
                </a:lnTo>
                <a:lnTo>
                  <a:pt x="661" y="450"/>
                </a:lnTo>
                <a:lnTo>
                  <a:pt x="664" y="452"/>
                </a:lnTo>
                <a:lnTo>
                  <a:pt x="666" y="454"/>
                </a:lnTo>
                <a:lnTo>
                  <a:pt x="668" y="457"/>
                </a:lnTo>
                <a:lnTo>
                  <a:pt x="671" y="461"/>
                </a:lnTo>
                <a:lnTo>
                  <a:pt x="673" y="465"/>
                </a:lnTo>
                <a:lnTo>
                  <a:pt x="674" y="471"/>
                </a:lnTo>
                <a:lnTo>
                  <a:pt x="674" y="667"/>
                </a:lnTo>
                <a:lnTo>
                  <a:pt x="0" y="667"/>
                </a:lnTo>
                <a:lnTo>
                  <a:pt x="0" y="142"/>
                </a:lnTo>
                <a:close/>
              </a:path>
            </a:pathLst>
          </a:custGeom>
          <a:gradFill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5400000" scaled="1"/>
          </a:gradFill>
          <a:ln w="6350" cmpd="sng">
            <a:solidFill>
              <a:schemeClr val="accent4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2" name="Freeform 29"/>
          <p:cNvSpPr>
            <a:spLocks/>
          </p:cNvSpPr>
          <p:nvPr/>
        </p:nvSpPr>
        <p:spPr bwMode="gray">
          <a:xfrm>
            <a:off x="3358505" y="1159336"/>
            <a:ext cx="1151335" cy="971550"/>
          </a:xfrm>
          <a:custGeom>
            <a:avLst/>
            <a:gdLst>
              <a:gd name="T0" fmla="*/ 2147483646 w 674"/>
              <a:gd name="T1" fmla="*/ 2147483646 h 525"/>
              <a:gd name="T2" fmla="*/ 2147483646 w 674"/>
              <a:gd name="T3" fmla="*/ 2147483646 h 525"/>
              <a:gd name="T4" fmla="*/ 2147483646 w 674"/>
              <a:gd name="T5" fmla="*/ 2147483646 h 525"/>
              <a:gd name="T6" fmla="*/ 2147483646 w 674"/>
              <a:gd name="T7" fmla="*/ 2147483646 h 525"/>
              <a:gd name="T8" fmla="*/ 2147483646 w 674"/>
              <a:gd name="T9" fmla="*/ 2147483646 h 525"/>
              <a:gd name="T10" fmla="*/ 2147483646 w 674"/>
              <a:gd name="T11" fmla="*/ 2147483646 h 525"/>
              <a:gd name="T12" fmla="*/ 2147483646 w 674"/>
              <a:gd name="T13" fmla="*/ 2147483646 h 525"/>
              <a:gd name="T14" fmla="*/ 2147483646 w 674"/>
              <a:gd name="T15" fmla="*/ 2147483646 h 525"/>
              <a:gd name="T16" fmla="*/ 2147483646 w 674"/>
              <a:gd name="T17" fmla="*/ 2147483646 h 525"/>
              <a:gd name="T18" fmla="*/ 2147483646 w 674"/>
              <a:gd name="T19" fmla="*/ 2147483646 h 525"/>
              <a:gd name="T20" fmla="*/ 2147483646 w 674"/>
              <a:gd name="T21" fmla="*/ 2147483646 h 525"/>
              <a:gd name="T22" fmla="*/ 2147483646 w 674"/>
              <a:gd name="T23" fmla="*/ 2147483646 h 525"/>
              <a:gd name="T24" fmla="*/ 2147483646 w 674"/>
              <a:gd name="T25" fmla="*/ 2147483646 h 525"/>
              <a:gd name="T26" fmla="*/ 2147483646 w 674"/>
              <a:gd name="T27" fmla="*/ 2147483646 h 525"/>
              <a:gd name="T28" fmla="*/ 2147483646 w 674"/>
              <a:gd name="T29" fmla="*/ 2147483646 h 525"/>
              <a:gd name="T30" fmla="*/ 2147483646 w 674"/>
              <a:gd name="T31" fmla="*/ 2147483646 h 525"/>
              <a:gd name="T32" fmla="*/ 2147483646 w 674"/>
              <a:gd name="T33" fmla="*/ 2147483646 h 525"/>
              <a:gd name="T34" fmla="*/ 2147483646 w 674"/>
              <a:gd name="T35" fmla="*/ 2147483646 h 525"/>
              <a:gd name="T36" fmla="*/ 2147483646 w 674"/>
              <a:gd name="T37" fmla="*/ 2147483646 h 525"/>
              <a:gd name="T38" fmla="*/ 2147483646 w 674"/>
              <a:gd name="T39" fmla="*/ 2147483646 h 525"/>
              <a:gd name="T40" fmla="*/ 2147483646 w 674"/>
              <a:gd name="T41" fmla="*/ 2147483646 h 525"/>
              <a:gd name="T42" fmla="*/ 2147483646 w 674"/>
              <a:gd name="T43" fmla="*/ 2147483646 h 525"/>
              <a:gd name="T44" fmla="*/ 2147483646 w 674"/>
              <a:gd name="T45" fmla="*/ 2147483646 h 525"/>
              <a:gd name="T46" fmla="*/ 2147483646 w 674"/>
              <a:gd name="T47" fmla="*/ 2147483646 h 525"/>
              <a:gd name="T48" fmla="*/ 2147483646 w 674"/>
              <a:gd name="T49" fmla="*/ 2147483646 h 525"/>
              <a:gd name="T50" fmla="*/ 2147483646 w 674"/>
              <a:gd name="T51" fmla="*/ 2147483646 h 525"/>
              <a:gd name="T52" fmla="*/ 2147483646 w 674"/>
              <a:gd name="T53" fmla="*/ 2147483646 h 525"/>
              <a:gd name="T54" fmla="*/ 2147483646 w 674"/>
              <a:gd name="T55" fmla="*/ 2147483646 h 525"/>
              <a:gd name="T56" fmla="*/ 2147483646 w 674"/>
              <a:gd name="T57" fmla="*/ 2147483646 h 525"/>
              <a:gd name="T58" fmla="*/ 2147483646 w 674"/>
              <a:gd name="T59" fmla="*/ 2147483646 h 525"/>
              <a:gd name="T60" fmla="*/ 2147483646 w 674"/>
              <a:gd name="T61" fmla="*/ 2147483646 h 525"/>
              <a:gd name="T62" fmla="*/ 2147483646 w 674"/>
              <a:gd name="T63" fmla="*/ 2147483646 h 525"/>
              <a:gd name="T64" fmla="*/ 2147483646 w 674"/>
              <a:gd name="T65" fmla="*/ 2147483646 h 525"/>
              <a:gd name="T66" fmla="*/ 2147483646 w 674"/>
              <a:gd name="T67" fmla="*/ 2147483646 h 525"/>
              <a:gd name="T68" fmla="*/ 2147483646 w 674"/>
              <a:gd name="T69" fmla="*/ 2147483646 h 525"/>
              <a:gd name="T70" fmla="*/ 2147483646 w 674"/>
              <a:gd name="T71" fmla="*/ 2147483646 h 525"/>
              <a:gd name="T72" fmla="*/ 2147483646 w 674"/>
              <a:gd name="T73" fmla="*/ 2147483646 h 525"/>
              <a:gd name="T74" fmla="*/ 2147483646 w 674"/>
              <a:gd name="T75" fmla="*/ 2147483646 h 525"/>
              <a:gd name="T76" fmla="*/ 2147483646 w 674"/>
              <a:gd name="T77" fmla="*/ 2147483646 h 525"/>
              <a:gd name="T78" fmla="*/ 2147483646 w 674"/>
              <a:gd name="T79" fmla="*/ 2147483646 h 525"/>
              <a:gd name="T80" fmla="*/ 2147483646 w 674"/>
              <a:gd name="T81" fmla="*/ 2147483646 h 525"/>
              <a:gd name="T82" fmla="*/ 2147483646 w 674"/>
              <a:gd name="T83" fmla="*/ 2147483646 h 525"/>
              <a:gd name="T84" fmla="*/ 2147483646 w 674"/>
              <a:gd name="T85" fmla="*/ 2147483646 h 525"/>
              <a:gd name="T86" fmla="*/ 2147483646 w 674"/>
              <a:gd name="T87" fmla="*/ 2147483646 h 525"/>
              <a:gd name="T88" fmla="*/ 2147483646 w 674"/>
              <a:gd name="T89" fmla="*/ 2147483646 h 525"/>
              <a:gd name="T90" fmla="*/ 2147483646 w 674"/>
              <a:gd name="T91" fmla="*/ 2147483646 h 525"/>
              <a:gd name="T92" fmla="*/ 2147483646 w 674"/>
              <a:gd name="T93" fmla="*/ 2147483646 h 525"/>
              <a:gd name="T94" fmla="*/ 2147483646 w 674"/>
              <a:gd name="T95" fmla="*/ 2147483646 h 525"/>
              <a:gd name="T96" fmla="*/ 2147483646 w 674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74"/>
              <a:gd name="T148" fmla="*/ 0 h 525"/>
              <a:gd name="T149" fmla="*/ 674 w 674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74" h="525">
                <a:moveTo>
                  <a:pt x="0" y="0"/>
                </a:moveTo>
                <a:lnTo>
                  <a:pt x="674" y="0"/>
                </a:lnTo>
                <a:lnTo>
                  <a:pt x="674" y="196"/>
                </a:lnTo>
                <a:lnTo>
                  <a:pt x="672" y="201"/>
                </a:lnTo>
                <a:lnTo>
                  <a:pt x="670" y="205"/>
                </a:lnTo>
                <a:lnTo>
                  <a:pt x="668" y="208"/>
                </a:lnTo>
                <a:lnTo>
                  <a:pt x="666" y="211"/>
                </a:lnTo>
                <a:lnTo>
                  <a:pt x="664" y="213"/>
                </a:lnTo>
                <a:lnTo>
                  <a:pt x="661" y="214"/>
                </a:lnTo>
                <a:lnTo>
                  <a:pt x="659" y="215"/>
                </a:lnTo>
                <a:lnTo>
                  <a:pt x="656" y="215"/>
                </a:lnTo>
                <a:lnTo>
                  <a:pt x="653" y="215"/>
                </a:lnTo>
                <a:lnTo>
                  <a:pt x="651" y="214"/>
                </a:lnTo>
                <a:lnTo>
                  <a:pt x="645" y="211"/>
                </a:lnTo>
                <a:lnTo>
                  <a:pt x="639" y="207"/>
                </a:lnTo>
                <a:lnTo>
                  <a:pt x="631" y="203"/>
                </a:lnTo>
                <a:lnTo>
                  <a:pt x="617" y="193"/>
                </a:lnTo>
                <a:lnTo>
                  <a:pt x="609" y="189"/>
                </a:lnTo>
                <a:lnTo>
                  <a:pt x="606" y="187"/>
                </a:lnTo>
                <a:lnTo>
                  <a:pt x="602" y="185"/>
                </a:lnTo>
                <a:lnTo>
                  <a:pt x="598" y="184"/>
                </a:lnTo>
                <a:lnTo>
                  <a:pt x="593" y="183"/>
                </a:lnTo>
                <a:lnTo>
                  <a:pt x="589" y="183"/>
                </a:lnTo>
                <a:lnTo>
                  <a:pt x="585" y="183"/>
                </a:lnTo>
                <a:lnTo>
                  <a:pt x="580" y="184"/>
                </a:lnTo>
                <a:lnTo>
                  <a:pt x="576" y="185"/>
                </a:lnTo>
                <a:lnTo>
                  <a:pt x="571" y="187"/>
                </a:lnTo>
                <a:lnTo>
                  <a:pt x="567" y="190"/>
                </a:lnTo>
                <a:lnTo>
                  <a:pt x="563" y="192"/>
                </a:lnTo>
                <a:lnTo>
                  <a:pt x="559" y="195"/>
                </a:lnTo>
                <a:lnTo>
                  <a:pt x="556" y="199"/>
                </a:lnTo>
                <a:lnTo>
                  <a:pt x="553" y="202"/>
                </a:lnTo>
                <a:lnTo>
                  <a:pt x="546" y="210"/>
                </a:lnTo>
                <a:lnTo>
                  <a:pt x="541" y="219"/>
                </a:lnTo>
                <a:lnTo>
                  <a:pt x="539" y="224"/>
                </a:lnTo>
                <a:lnTo>
                  <a:pt x="538" y="229"/>
                </a:lnTo>
                <a:lnTo>
                  <a:pt x="535" y="240"/>
                </a:lnTo>
                <a:lnTo>
                  <a:pt x="533" y="250"/>
                </a:lnTo>
                <a:lnTo>
                  <a:pt x="532" y="255"/>
                </a:lnTo>
                <a:lnTo>
                  <a:pt x="532" y="261"/>
                </a:lnTo>
                <a:lnTo>
                  <a:pt x="532" y="272"/>
                </a:lnTo>
                <a:lnTo>
                  <a:pt x="534" y="282"/>
                </a:lnTo>
                <a:lnTo>
                  <a:pt x="536" y="293"/>
                </a:lnTo>
                <a:lnTo>
                  <a:pt x="540" y="304"/>
                </a:lnTo>
                <a:lnTo>
                  <a:pt x="542" y="308"/>
                </a:lnTo>
                <a:lnTo>
                  <a:pt x="544" y="313"/>
                </a:lnTo>
                <a:lnTo>
                  <a:pt x="547" y="317"/>
                </a:lnTo>
                <a:lnTo>
                  <a:pt x="551" y="321"/>
                </a:lnTo>
                <a:lnTo>
                  <a:pt x="554" y="325"/>
                </a:lnTo>
                <a:lnTo>
                  <a:pt x="558" y="329"/>
                </a:lnTo>
                <a:lnTo>
                  <a:pt x="562" y="332"/>
                </a:lnTo>
                <a:lnTo>
                  <a:pt x="566" y="336"/>
                </a:lnTo>
                <a:lnTo>
                  <a:pt x="570" y="338"/>
                </a:lnTo>
                <a:lnTo>
                  <a:pt x="574" y="340"/>
                </a:lnTo>
                <a:lnTo>
                  <a:pt x="579" y="341"/>
                </a:lnTo>
                <a:lnTo>
                  <a:pt x="583" y="342"/>
                </a:lnTo>
                <a:lnTo>
                  <a:pt x="587" y="342"/>
                </a:lnTo>
                <a:lnTo>
                  <a:pt x="591" y="342"/>
                </a:lnTo>
                <a:lnTo>
                  <a:pt x="600" y="339"/>
                </a:lnTo>
                <a:lnTo>
                  <a:pt x="607" y="336"/>
                </a:lnTo>
                <a:lnTo>
                  <a:pt x="615" y="331"/>
                </a:lnTo>
                <a:lnTo>
                  <a:pt x="623" y="326"/>
                </a:lnTo>
                <a:lnTo>
                  <a:pt x="630" y="320"/>
                </a:lnTo>
                <a:lnTo>
                  <a:pt x="638" y="316"/>
                </a:lnTo>
                <a:lnTo>
                  <a:pt x="644" y="311"/>
                </a:lnTo>
                <a:lnTo>
                  <a:pt x="650" y="309"/>
                </a:lnTo>
                <a:lnTo>
                  <a:pt x="653" y="308"/>
                </a:lnTo>
                <a:lnTo>
                  <a:pt x="656" y="307"/>
                </a:lnTo>
                <a:lnTo>
                  <a:pt x="661" y="308"/>
                </a:lnTo>
                <a:lnTo>
                  <a:pt x="664" y="309"/>
                </a:lnTo>
                <a:lnTo>
                  <a:pt x="666" y="312"/>
                </a:lnTo>
                <a:lnTo>
                  <a:pt x="668" y="314"/>
                </a:lnTo>
                <a:lnTo>
                  <a:pt x="670" y="318"/>
                </a:lnTo>
                <a:lnTo>
                  <a:pt x="672" y="322"/>
                </a:lnTo>
                <a:lnTo>
                  <a:pt x="674" y="328"/>
                </a:lnTo>
                <a:lnTo>
                  <a:pt x="674" y="525"/>
                </a:lnTo>
                <a:lnTo>
                  <a:pt x="403" y="525"/>
                </a:lnTo>
                <a:lnTo>
                  <a:pt x="393" y="521"/>
                </a:lnTo>
                <a:lnTo>
                  <a:pt x="390" y="519"/>
                </a:lnTo>
                <a:lnTo>
                  <a:pt x="387" y="517"/>
                </a:lnTo>
                <a:lnTo>
                  <a:pt x="384" y="515"/>
                </a:lnTo>
                <a:lnTo>
                  <a:pt x="383" y="512"/>
                </a:lnTo>
                <a:lnTo>
                  <a:pt x="382" y="509"/>
                </a:lnTo>
                <a:lnTo>
                  <a:pt x="382" y="507"/>
                </a:lnTo>
                <a:lnTo>
                  <a:pt x="382" y="504"/>
                </a:lnTo>
                <a:lnTo>
                  <a:pt x="383" y="501"/>
                </a:lnTo>
                <a:lnTo>
                  <a:pt x="386" y="495"/>
                </a:lnTo>
                <a:lnTo>
                  <a:pt x="390" y="487"/>
                </a:lnTo>
                <a:lnTo>
                  <a:pt x="395" y="481"/>
                </a:lnTo>
                <a:lnTo>
                  <a:pt x="400" y="473"/>
                </a:lnTo>
                <a:lnTo>
                  <a:pt x="405" y="466"/>
                </a:lnTo>
                <a:lnTo>
                  <a:pt x="410" y="458"/>
                </a:lnTo>
                <a:lnTo>
                  <a:pt x="414" y="450"/>
                </a:lnTo>
                <a:lnTo>
                  <a:pt x="416" y="442"/>
                </a:lnTo>
                <a:lnTo>
                  <a:pt x="417" y="438"/>
                </a:lnTo>
                <a:lnTo>
                  <a:pt x="417" y="433"/>
                </a:lnTo>
                <a:lnTo>
                  <a:pt x="416" y="429"/>
                </a:lnTo>
                <a:lnTo>
                  <a:pt x="415" y="424"/>
                </a:lnTo>
                <a:lnTo>
                  <a:pt x="413" y="419"/>
                </a:lnTo>
                <a:lnTo>
                  <a:pt x="410" y="415"/>
                </a:lnTo>
                <a:lnTo>
                  <a:pt x="404" y="407"/>
                </a:lnTo>
                <a:lnTo>
                  <a:pt x="400" y="404"/>
                </a:lnTo>
                <a:lnTo>
                  <a:pt x="396" y="400"/>
                </a:lnTo>
                <a:lnTo>
                  <a:pt x="388" y="395"/>
                </a:lnTo>
                <a:lnTo>
                  <a:pt x="383" y="392"/>
                </a:lnTo>
                <a:lnTo>
                  <a:pt x="377" y="390"/>
                </a:lnTo>
                <a:lnTo>
                  <a:pt x="367" y="387"/>
                </a:lnTo>
                <a:lnTo>
                  <a:pt x="362" y="385"/>
                </a:lnTo>
                <a:lnTo>
                  <a:pt x="357" y="384"/>
                </a:lnTo>
                <a:lnTo>
                  <a:pt x="346" y="383"/>
                </a:lnTo>
                <a:lnTo>
                  <a:pt x="335" y="383"/>
                </a:lnTo>
                <a:lnTo>
                  <a:pt x="325" y="383"/>
                </a:lnTo>
                <a:lnTo>
                  <a:pt x="314" y="385"/>
                </a:lnTo>
                <a:lnTo>
                  <a:pt x="304" y="388"/>
                </a:lnTo>
                <a:lnTo>
                  <a:pt x="299" y="390"/>
                </a:lnTo>
                <a:lnTo>
                  <a:pt x="294" y="392"/>
                </a:lnTo>
                <a:lnTo>
                  <a:pt x="285" y="396"/>
                </a:lnTo>
                <a:lnTo>
                  <a:pt x="281" y="399"/>
                </a:lnTo>
                <a:lnTo>
                  <a:pt x="277" y="402"/>
                </a:lnTo>
                <a:lnTo>
                  <a:pt x="270" y="409"/>
                </a:lnTo>
                <a:lnTo>
                  <a:pt x="267" y="412"/>
                </a:lnTo>
                <a:lnTo>
                  <a:pt x="264" y="416"/>
                </a:lnTo>
                <a:lnTo>
                  <a:pt x="262" y="421"/>
                </a:lnTo>
                <a:lnTo>
                  <a:pt x="260" y="425"/>
                </a:lnTo>
                <a:lnTo>
                  <a:pt x="259" y="431"/>
                </a:lnTo>
                <a:lnTo>
                  <a:pt x="258" y="435"/>
                </a:lnTo>
                <a:lnTo>
                  <a:pt x="258" y="440"/>
                </a:lnTo>
                <a:lnTo>
                  <a:pt x="258" y="444"/>
                </a:lnTo>
                <a:lnTo>
                  <a:pt x="259" y="448"/>
                </a:lnTo>
                <a:lnTo>
                  <a:pt x="260" y="452"/>
                </a:lnTo>
                <a:lnTo>
                  <a:pt x="263" y="460"/>
                </a:lnTo>
                <a:lnTo>
                  <a:pt x="268" y="467"/>
                </a:lnTo>
                <a:lnTo>
                  <a:pt x="273" y="475"/>
                </a:lnTo>
                <a:lnTo>
                  <a:pt x="277" y="482"/>
                </a:lnTo>
                <a:lnTo>
                  <a:pt x="282" y="488"/>
                </a:lnTo>
                <a:lnTo>
                  <a:pt x="286" y="495"/>
                </a:lnTo>
                <a:lnTo>
                  <a:pt x="288" y="501"/>
                </a:lnTo>
                <a:lnTo>
                  <a:pt x="289" y="504"/>
                </a:lnTo>
                <a:lnTo>
                  <a:pt x="289" y="507"/>
                </a:lnTo>
                <a:lnTo>
                  <a:pt x="289" y="509"/>
                </a:lnTo>
                <a:lnTo>
                  <a:pt x="288" y="512"/>
                </a:lnTo>
                <a:lnTo>
                  <a:pt x="287" y="514"/>
                </a:lnTo>
                <a:lnTo>
                  <a:pt x="285" y="517"/>
                </a:lnTo>
                <a:lnTo>
                  <a:pt x="282" y="519"/>
                </a:lnTo>
                <a:lnTo>
                  <a:pt x="279" y="521"/>
                </a:lnTo>
                <a:lnTo>
                  <a:pt x="274" y="523"/>
                </a:lnTo>
                <a:lnTo>
                  <a:pt x="269" y="525"/>
                </a:lnTo>
                <a:lnTo>
                  <a:pt x="0" y="52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3" name="Freeform 30"/>
          <p:cNvSpPr>
            <a:spLocks/>
          </p:cNvSpPr>
          <p:nvPr/>
        </p:nvSpPr>
        <p:spPr bwMode="gray">
          <a:xfrm>
            <a:off x="4265761" y="1159336"/>
            <a:ext cx="1404938" cy="971550"/>
          </a:xfrm>
          <a:custGeom>
            <a:avLst/>
            <a:gdLst>
              <a:gd name="T0" fmla="*/ 2147483646 w 822"/>
              <a:gd name="T1" fmla="*/ 2147483646 h 525"/>
              <a:gd name="T2" fmla="*/ 2147483646 w 822"/>
              <a:gd name="T3" fmla="*/ 2147483646 h 525"/>
              <a:gd name="T4" fmla="*/ 2147483646 w 822"/>
              <a:gd name="T5" fmla="*/ 2147483646 h 525"/>
              <a:gd name="T6" fmla="*/ 2147483646 w 822"/>
              <a:gd name="T7" fmla="*/ 2147483646 h 525"/>
              <a:gd name="T8" fmla="*/ 2147483646 w 822"/>
              <a:gd name="T9" fmla="*/ 2147483646 h 525"/>
              <a:gd name="T10" fmla="*/ 2147483646 w 822"/>
              <a:gd name="T11" fmla="*/ 2147483646 h 525"/>
              <a:gd name="T12" fmla="*/ 2147483646 w 822"/>
              <a:gd name="T13" fmla="*/ 2147483646 h 525"/>
              <a:gd name="T14" fmla="*/ 2147483646 w 822"/>
              <a:gd name="T15" fmla="*/ 2147483646 h 525"/>
              <a:gd name="T16" fmla="*/ 2147483646 w 822"/>
              <a:gd name="T17" fmla="*/ 2147483646 h 525"/>
              <a:gd name="T18" fmla="*/ 2147483646 w 822"/>
              <a:gd name="T19" fmla="*/ 2147483646 h 525"/>
              <a:gd name="T20" fmla="*/ 2147483646 w 822"/>
              <a:gd name="T21" fmla="*/ 2147483646 h 525"/>
              <a:gd name="T22" fmla="*/ 2147483646 w 822"/>
              <a:gd name="T23" fmla="*/ 2147483646 h 525"/>
              <a:gd name="T24" fmla="*/ 2147483646 w 822"/>
              <a:gd name="T25" fmla="*/ 2147483646 h 525"/>
              <a:gd name="T26" fmla="*/ 2147483646 w 822"/>
              <a:gd name="T27" fmla="*/ 2147483646 h 525"/>
              <a:gd name="T28" fmla="*/ 2147483646 w 822"/>
              <a:gd name="T29" fmla="*/ 2147483646 h 525"/>
              <a:gd name="T30" fmla="*/ 2147483646 w 822"/>
              <a:gd name="T31" fmla="*/ 2147483646 h 525"/>
              <a:gd name="T32" fmla="*/ 2147483646 w 822"/>
              <a:gd name="T33" fmla="*/ 2147483646 h 525"/>
              <a:gd name="T34" fmla="*/ 2147483646 w 822"/>
              <a:gd name="T35" fmla="*/ 2147483646 h 525"/>
              <a:gd name="T36" fmla="*/ 2147483646 w 822"/>
              <a:gd name="T37" fmla="*/ 2147483646 h 525"/>
              <a:gd name="T38" fmla="*/ 2147483646 w 822"/>
              <a:gd name="T39" fmla="*/ 2147483646 h 525"/>
              <a:gd name="T40" fmla="*/ 2147483646 w 822"/>
              <a:gd name="T41" fmla="*/ 2147483646 h 525"/>
              <a:gd name="T42" fmla="*/ 2147483646 w 822"/>
              <a:gd name="T43" fmla="*/ 2147483646 h 525"/>
              <a:gd name="T44" fmla="*/ 2147483646 w 822"/>
              <a:gd name="T45" fmla="*/ 2147483646 h 525"/>
              <a:gd name="T46" fmla="*/ 2147483646 w 822"/>
              <a:gd name="T47" fmla="*/ 2147483646 h 525"/>
              <a:gd name="T48" fmla="*/ 2147483646 w 822"/>
              <a:gd name="T49" fmla="*/ 2147483646 h 525"/>
              <a:gd name="T50" fmla="*/ 2147483646 w 822"/>
              <a:gd name="T51" fmla="*/ 2147483646 h 525"/>
              <a:gd name="T52" fmla="*/ 2147483646 w 822"/>
              <a:gd name="T53" fmla="*/ 2147483646 h 525"/>
              <a:gd name="T54" fmla="*/ 2147483646 w 822"/>
              <a:gd name="T55" fmla="*/ 2147483646 h 525"/>
              <a:gd name="T56" fmla="*/ 2147483646 w 822"/>
              <a:gd name="T57" fmla="*/ 2147483646 h 525"/>
              <a:gd name="T58" fmla="*/ 2147483646 w 822"/>
              <a:gd name="T59" fmla="*/ 2147483646 h 525"/>
              <a:gd name="T60" fmla="*/ 2147483646 w 822"/>
              <a:gd name="T61" fmla="*/ 2147483646 h 525"/>
              <a:gd name="T62" fmla="*/ 2147483646 w 822"/>
              <a:gd name="T63" fmla="*/ 2147483646 h 525"/>
              <a:gd name="T64" fmla="*/ 2147483646 w 822"/>
              <a:gd name="T65" fmla="*/ 2147483646 h 525"/>
              <a:gd name="T66" fmla="*/ 2147483646 w 822"/>
              <a:gd name="T67" fmla="*/ 2147483646 h 525"/>
              <a:gd name="T68" fmla="*/ 2147483646 w 822"/>
              <a:gd name="T69" fmla="*/ 2147483646 h 525"/>
              <a:gd name="T70" fmla="*/ 2147483646 w 822"/>
              <a:gd name="T71" fmla="*/ 2147483646 h 525"/>
              <a:gd name="T72" fmla="*/ 2147483646 w 822"/>
              <a:gd name="T73" fmla="*/ 2147483646 h 525"/>
              <a:gd name="T74" fmla="*/ 2147483646 w 822"/>
              <a:gd name="T75" fmla="*/ 2147483646 h 525"/>
              <a:gd name="T76" fmla="*/ 2147483646 w 822"/>
              <a:gd name="T77" fmla="*/ 2147483646 h 525"/>
              <a:gd name="T78" fmla="*/ 2147483646 w 822"/>
              <a:gd name="T79" fmla="*/ 2147483646 h 525"/>
              <a:gd name="T80" fmla="*/ 2147483646 w 822"/>
              <a:gd name="T81" fmla="*/ 2147483646 h 525"/>
              <a:gd name="T82" fmla="*/ 2147483646 w 822"/>
              <a:gd name="T83" fmla="*/ 2147483646 h 525"/>
              <a:gd name="T84" fmla="*/ 2147483646 w 822"/>
              <a:gd name="T85" fmla="*/ 2147483646 h 525"/>
              <a:gd name="T86" fmla="*/ 2147483646 w 822"/>
              <a:gd name="T87" fmla="*/ 2147483646 h 525"/>
              <a:gd name="T88" fmla="*/ 2147483646 w 822"/>
              <a:gd name="T89" fmla="*/ 2147483646 h 525"/>
              <a:gd name="T90" fmla="*/ 2147483646 w 822"/>
              <a:gd name="T91" fmla="*/ 2147483646 h 525"/>
              <a:gd name="T92" fmla="*/ 2147483646 w 822"/>
              <a:gd name="T93" fmla="*/ 2147483646 h 525"/>
              <a:gd name="T94" fmla="*/ 2147483646 w 822"/>
              <a:gd name="T95" fmla="*/ 2147483646 h 525"/>
              <a:gd name="T96" fmla="*/ 2147483646 w 822"/>
              <a:gd name="T97" fmla="*/ 2147483646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525"/>
              <a:gd name="T149" fmla="*/ 822 w 822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525">
                <a:moveTo>
                  <a:pt x="822" y="525"/>
                </a:moveTo>
                <a:lnTo>
                  <a:pt x="549" y="525"/>
                </a:lnTo>
                <a:lnTo>
                  <a:pt x="542" y="522"/>
                </a:lnTo>
                <a:lnTo>
                  <a:pt x="536" y="520"/>
                </a:lnTo>
                <a:lnTo>
                  <a:pt x="532" y="516"/>
                </a:lnTo>
                <a:lnTo>
                  <a:pt x="530" y="515"/>
                </a:lnTo>
                <a:lnTo>
                  <a:pt x="529" y="513"/>
                </a:lnTo>
                <a:lnTo>
                  <a:pt x="528" y="510"/>
                </a:lnTo>
                <a:lnTo>
                  <a:pt x="527" y="506"/>
                </a:lnTo>
                <a:lnTo>
                  <a:pt x="528" y="502"/>
                </a:lnTo>
                <a:lnTo>
                  <a:pt x="529" y="498"/>
                </a:lnTo>
                <a:lnTo>
                  <a:pt x="534" y="489"/>
                </a:lnTo>
                <a:lnTo>
                  <a:pt x="540" y="479"/>
                </a:lnTo>
                <a:lnTo>
                  <a:pt x="550" y="466"/>
                </a:lnTo>
                <a:lnTo>
                  <a:pt x="555" y="458"/>
                </a:lnTo>
                <a:lnTo>
                  <a:pt x="558" y="451"/>
                </a:lnTo>
                <a:lnTo>
                  <a:pt x="560" y="445"/>
                </a:lnTo>
                <a:lnTo>
                  <a:pt x="561" y="442"/>
                </a:lnTo>
                <a:lnTo>
                  <a:pt x="561" y="438"/>
                </a:lnTo>
                <a:lnTo>
                  <a:pt x="561" y="432"/>
                </a:lnTo>
                <a:lnTo>
                  <a:pt x="560" y="425"/>
                </a:lnTo>
                <a:lnTo>
                  <a:pt x="559" y="422"/>
                </a:lnTo>
                <a:lnTo>
                  <a:pt x="558" y="420"/>
                </a:lnTo>
                <a:lnTo>
                  <a:pt x="556" y="416"/>
                </a:lnTo>
                <a:lnTo>
                  <a:pt x="554" y="412"/>
                </a:lnTo>
                <a:lnTo>
                  <a:pt x="551" y="408"/>
                </a:lnTo>
                <a:lnTo>
                  <a:pt x="548" y="405"/>
                </a:lnTo>
                <a:lnTo>
                  <a:pt x="544" y="402"/>
                </a:lnTo>
                <a:lnTo>
                  <a:pt x="536" y="396"/>
                </a:lnTo>
                <a:lnTo>
                  <a:pt x="531" y="393"/>
                </a:lnTo>
                <a:lnTo>
                  <a:pt x="527" y="391"/>
                </a:lnTo>
                <a:lnTo>
                  <a:pt x="520" y="389"/>
                </a:lnTo>
                <a:lnTo>
                  <a:pt x="515" y="387"/>
                </a:lnTo>
                <a:lnTo>
                  <a:pt x="504" y="384"/>
                </a:lnTo>
                <a:lnTo>
                  <a:pt x="498" y="383"/>
                </a:lnTo>
                <a:lnTo>
                  <a:pt x="492" y="383"/>
                </a:lnTo>
                <a:lnTo>
                  <a:pt x="480" y="382"/>
                </a:lnTo>
                <a:lnTo>
                  <a:pt x="468" y="383"/>
                </a:lnTo>
                <a:lnTo>
                  <a:pt x="457" y="385"/>
                </a:lnTo>
                <a:lnTo>
                  <a:pt x="445" y="388"/>
                </a:lnTo>
                <a:lnTo>
                  <a:pt x="439" y="391"/>
                </a:lnTo>
                <a:lnTo>
                  <a:pt x="434" y="393"/>
                </a:lnTo>
                <a:lnTo>
                  <a:pt x="429" y="396"/>
                </a:lnTo>
                <a:lnTo>
                  <a:pt x="424" y="399"/>
                </a:lnTo>
                <a:lnTo>
                  <a:pt x="420" y="403"/>
                </a:lnTo>
                <a:lnTo>
                  <a:pt x="416" y="407"/>
                </a:lnTo>
                <a:lnTo>
                  <a:pt x="412" y="411"/>
                </a:lnTo>
                <a:lnTo>
                  <a:pt x="409" y="416"/>
                </a:lnTo>
                <a:lnTo>
                  <a:pt x="406" y="420"/>
                </a:lnTo>
                <a:lnTo>
                  <a:pt x="404" y="425"/>
                </a:lnTo>
                <a:lnTo>
                  <a:pt x="403" y="431"/>
                </a:lnTo>
                <a:lnTo>
                  <a:pt x="402" y="435"/>
                </a:lnTo>
                <a:lnTo>
                  <a:pt x="402" y="439"/>
                </a:lnTo>
                <a:lnTo>
                  <a:pt x="403" y="444"/>
                </a:lnTo>
                <a:lnTo>
                  <a:pt x="404" y="448"/>
                </a:lnTo>
                <a:lnTo>
                  <a:pt x="405" y="452"/>
                </a:lnTo>
                <a:lnTo>
                  <a:pt x="408" y="460"/>
                </a:lnTo>
                <a:lnTo>
                  <a:pt x="412" y="468"/>
                </a:lnTo>
                <a:lnTo>
                  <a:pt x="417" y="475"/>
                </a:lnTo>
                <a:lnTo>
                  <a:pt x="422" y="482"/>
                </a:lnTo>
                <a:lnTo>
                  <a:pt x="427" y="488"/>
                </a:lnTo>
                <a:lnTo>
                  <a:pt x="431" y="495"/>
                </a:lnTo>
                <a:lnTo>
                  <a:pt x="433" y="501"/>
                </a:lnTo>
                <a:lnTo>
                  <a:pt x="434" y="504"/>
                </a:lnTo>
                <a:lnTo>
                  <a:pt x="434" y="507"/>
                </a:lnTo>
                <a:lnTo>
                  <a:pt x="434" y="509"/>
                </a:lnTo>
                <a:lnTo>
                  <a:pt x="433" y="512"/>
                </a:lnTo>
                <a:lnTo>
                  <a:pt x="432" y="514"/>
                </a:lnTo>
                <a:lnTo>
                  <a:pt x="430" y="517"/>
                </a:lnTo>
                <a:lnTo>
                  <a:pt x="427" y="519"/>
                </a:lnTo>
                <a:lnTo>
                  <a:pt x="423" y="521"/>
                </a:lnTo>
                <a:lnTo>
                  <a:pt x="419" y="523"/>
                </a:lnTo>
                <a:lnTo>
                  <a:pt x="413" y="525"/>
                </a:lnTo>
                <a:lnTo>
                  <a:pt x="142" y="525"/>
                </a:lnTo>
                <a:lnTo>
                  <a:pt x="142" y="327"/>
                </a:lnTo>
                <a:lnTo>
                  <a:pt x="138" y="317"/>
                </a:lnTo>
                <a:lnTo>
                  <a:pt x="134" y="311"/>
                </a:lnTo>
                <a:lnTo>
                  <a:pt x="132" y="309"/>
                </a:lnTo>
                <a:lnTo>
                  <a:pt x="129" y="308"/>
                </a:lnTo>
                <a:lnTo>
                  <a:pt x="127" y="307"/>
                </a:lnTo>
                <a:lnTo>
                  <a:pt x="124" y="307"/>
                </a:lnTo>
                <a:lnTo>
                  <a:pt x="121" y="308"/>
                </a:lnTo>
                <a:lnTo>
                  <a:pt x="118" y="309"/>
                </a:lnTo>
                <a:lnTo>
                  <a:pt x="112" y="312"/>
                </a:lnTo>
                <a:lnTo>
                  <a:pt x="106" y="316"/>
                </a:lnTo>
                <a:lnTo>
                  <a:pt x="98" y="321"/>
                </a:lnTo>
                <a:lnTo>
                  <a:pt x="83" y="331"/>
                </a:lnTo>
                <a:lnTo>
                  <a:pt x="79" y="333"/>
                </a:lnTo>
                <a:lnTo>
                  <a:pt x="76" y="336"/>
                </a:lnTo>
                <a:lnTo>
                  <a:pt x="72" y="338"/>
                </a:lnTo>
                <a:lnTo>
                  <a:pt x="68" y="339"/>
                </a:lnTo>
                <a:lnTo>
                  <a:pt x="59" y="342"/>
                </a:lnTo>
                <a:lnTo>
                  <a:pt x="55" y="342"/>
                </a:lnTo>
                <a:lnTo>
                  <a:pt x="51" y="342"/>
                </a:lnTo>
                <a:lnTo>
                  <a:pt x="47" y="341"/>
                </a:lnTo>
                <a:lnTo>
                  <a:pt x="43" y="340"/>
                </a:lnTo>
                <a:lnTo>
                  <a:pt x="38" y="338"/>
                </a:lnTo>
                <a:lnTo>
                  <a:pt x="34" y="336"/>
                </a:lnTo>
                <a:lnTo>
                  <a:pt x="26" y="329"/>
                </a:lnTo>
                <a:lnTo>
                  <a:pt x="22" y="325"/>
                </a:lnTo>
                <a:lnTo>
                  <a:pt x="19" y="321"/>
                </a:lnTo>
                <a:lnTo>
                  <a:pt x="12" y="313"/>
                </a:lnTo>
                <a:lnTo>
                  <a:pt x="10" y="308"/>
                </a:lnTo>
                <a:lnTo>
                  <a:pt x="8" y="304"/>
                </a:lnTo>
                <a:lnTo>
                  <a:pt x="4" y="293"/>
                </a:lnTo>
                <a:lnTo>
                  <a:pt x="3" y="287"/>
                </a:lnTo>
                <a:lnTo>
                  <a:pt x="2" y="282"/>
                </a:lnTo>
                <a:lnTo>
                  <a:pt x="1" y="272"/>
                </a:lnTo>
                <a:lnTo>
                  <a:pt x="0" y="261"/>
                </a:lnTo>
                <a:lnTo>
                  <a:pt x="1" y="250"/>
                </a:lnTo>
                <a:lnTo>
                  <a:pt x="3" y="240"/>
                </a:lnTo>
                <a:lnTo>
                  <a:pt x="6" y="229"/>
                </a:lnTo>
                <a:lnTo>
                  <a:pt x="8" y="224"/>
                </a:lnTo>
                <a:lnTo>
                  <a:pt x="10" y="219"/>
                </a:lnTo>
                <a:lnTo>
                  <a:pt x="14" y="210"/>
                </a:lnTo>
                <a:lnTo>
                  <a:pt x="18" y="206"/>
                </a:lnTo>
                <a:lnTo>
                  <a:pt x="21" y="202"/>
                </a:lnTo>
                <a:lnTo>
                  <a:pt x="27" y="195"/>
                </a:lnTo>
                <a:lnTo>
                  <a:pt x="31" y="192"/>
                </a:lnTo>
                <a:lnTo>
                  <a:pt x="35" y="190"/>
                </a:lnTo>
                <a:lnTo>
                  <a:pt x="40" y="187"/>
                </a:lnTo>
                <a:lnTo>
                  <a:pt x="44" y="185"/>
                </a:lnTo>
                <a:lnTo>
                  <a:pt x="49" y="184"/>
                </a:lnTo>
                <a:lnTo>
                  <a:pt x="53" y="183"/>
                </a:lnTo>
                <a:lnTo>
                  <a:pt x="57" y="183"/>
                </a:lnTo>
                <a:lnTo>
                  <a:pt x="61" y="183"/>
                </a:lnTo>
                <a:lnTo>
                  <a:pt x="66" y="184"/>
                </a:lnTo>
                <a:lnTo>
                  <a:pt x="70" y="185"/>
                </a:lnTo>
                <a:lnTo>
                  <a:pt x="78" y="189"/>
                </a:lnTo>
                <a:lnTo>
                  <a:pt x="85" y="193"/>
                </a:lnTo>
                <a:lnTo>
                  <a:pt x="92" y="198"/>
                </a:lnTo>
                <a:lnTo>
                  <a:pt x="99" y="203"/>
                </a:lnTo>
                <a:lnTo>
                  <a:pt x="107" y="207"/>
                </a:lnTo>
                <a:lnTo>
                  <a:pt x="113" y="211"/>
                </a:lnTo>
                <a:lnTo>
                  <a:pt x="119" y="214"/>
                </a:lnTo>
                <a:lnTo>
                  <a:pt x="121" y="215"/>
                </a:lnTo>
                <a:lnTo>
                  <a:pt x="124" y="215"/>
                </a:lnTo>
                <a:lnTo>
                  <a:pt x="127" y="215"/>
                </a:lnTo>
                <a:lnTo>
                  <a:pt x="129" y="214"/>
                </a:lnTo>
                <a:lnTo>
                  <a:pt x="132" y="213"/>
                </a:lnTo>
                <a:lnTo>
                  <a:pt x="134" y="211"/>
                </a:lnTo>
                <a:lnTo>
                  <a:pt x="138" y="205"/>
                </a:lnTo>
                <a:lnTo>
                  <a:pt x="140" y="201"/>
                </a:lnTo>
                <a:lnTo>
                  <a:pt x="142" y="196"/>
                </a:lnTo>
                <a:lnTo>
                  <a:pt x="142" y="0"/>
                </a:lnTo>
                <a:lnTo>
                  <a:pt x="822" y="0"/>
                </a:lnTo>
                <a:lnTo>
                  <a:pt x="822" y="52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6350" cmpd="sng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en-US" sz="1000"/>
          </a:p>
        </p:txBody>
      </p:sp>
      <p:sp>
        <p:nvSpPr>
          <p:cNvPr id="75784" name="Text Box 13"/>
          <p:cNvSpPr txBox="1">
            <a:spLocks noChangeArrowheads="1"/>
          </p:cNvSpPr>
          <p:nvPr/>
        </p:nvSpPr>
        <p:spPr bwMode="auto">
          <a:xfrm>
            <a:off x="337491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1</a:t>
            </a:r>
          </a:p>
        </p:txBody>
      </p:sp>
      <p:sp>
        <p:nvSpPr>
          <p:cNvPr id="75785" name="Text Box 14"/>
          <p:cNvSpPr txBox="1">
            <a:spLocks noChangeArrowheads="1"/>
          </p:cNvSpPr>
          <p:nvPr/>
        </p:nvSpPr>
        <p:spPr bwMode="auto">
          <a:xfrm>
            <a:off x="337491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4 </a:t>
            </a:r>
          </a:p>
        </p:txBody>
      </p:sp>
      <p:sp>
        <p:nvSpPr>
          <p:cNvPr id="75786" name="Text Box 15"/>
          <p:cNvSpPr txBox="1">
            <a:spLocks noChangeArrowheads="1"/>
          </p:cNvSpPr>
          <p:nvPr/>
        </p:nvSpPr>
        <p:spPr bwMode="auto">
          <a:xfrm>
            <a:off x="4665143" y="1516663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2</a:t>
            </a:r>
          </a:p>
        </p:txBody>
      </p:sp>
      <p:sp>
        <p:nvSpPr>
          <p:cNvPr id="75787" name="Text Box 16"/>
          <p:cNvSpPr txBox="1">
            <a:spLocks noChangeArrowheads="1"/>
          </p:cNvSpPr>
          <p:nvPr/>
        </p:nvSpPr>
        <p:spPr bwMode="auto">
          <a:xfrm>
            <a:off x="4665143" y="2516089"/>
            <a:ext cx="8703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 anchor="ctr" anchorCtr="1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en-US" sz="1000" b="1">
                <a:solidFill>
                  <a:schemeClr val="bg2"/>
                </a:solidFill>
                <a:latin typeface="+mn-lt"/>
                <a:ea typeface="MS PGothic" charset="-128"/>
              </a:rPr>
              <a:t>Segment 3</a:t>
            </a:r>
          </a:p>
        </p:txBody>
      </p:sp>
      <p:sp>
        <p:nvSpPr>
          <p:cNvPr id="75789" name="Text Box 35"/>
          <p:cNvSpPr txBox="1">
            <a:spLocks noChangeArrowheads="1"/>
          </p:cNvSpPr>
          <p:nvPr/>
        </p:nvSpPr>
        <p:spPr bwMode="auto">
          <a:xfrm>
            <a:off x="2423782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1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75790" name="Text Box 37"/>
          <p:cNvSpPr txBox="1">
            <a:spLocks noChangeArrowheads="1"/>
          </p:cNvSpPr>
          <p:nvPr/>
        </p:nvSpPr>
        <p:spPr bwMode="auto">
          <a:xfrm>
            <a:off x="5790789" y="1496402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2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75791" name="Text Box 38"/>
          <p:cNvSpPr txBox="1">
            <a:spLocks noChangeArrowheads="1"/>
          </p:cNvSpPr>
          <p:nvPr/>
        </p:nvSpPr>
        <p:spPr bwMode="auto">
          <a:xfrm>
            <a:off x="2423782" y="2492074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4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75792" name="Text Box 39"/>
          <p:cNvSpPr txBox="1">
            <a:spLocks noChangeArrowheads="1"/>
          </p:cNvSpPr>
          <p:nvPr/>
        </p:nvSpPr>
        <p:spPr bwMode="auto">
          <a:xfrm>
            <a:off x="5790789" y="2501599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Segment 3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000">
                <a:latin typeface="+mn-lt"/>
              </a:rPr>
              <a:t>xx</a:t>
            </a:r>
          </a:p>
        </p:txBody>
      </p:sp>
      <p:sp>
        <p:nvSpPr>
          <p:cNvPr id="19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857025755"/>
      </p:ext>
    </p:extLst>
  </p:cSld>
  <p:clrMapOvr>
    <a:masterClrMapping/>
  </p:clrMapOvr>
  <p:transition advClick="0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ea typeface="ＭＳ Ｐゴシック" charset="-128"/>
              </a:rPr>
              <a:t>Puzzle piece detail</a:t>
            </a:r>
          </a:p>
        </p:txBody>
      </p:sp>
      <p:sp>
        <p:nvSpPr>
          <p:cNvPr id="77826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46653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218535"/>
              </p:ext>
            </p:extLst>
          </p:nvPr>
        </p:nvGraphicFramePr>
        <p:xfrm>
          <a:off x="933189" y="2562209"/>
          <a:ext cx="7982212" cy="1520214"/>
        </p:xfrm>
        <a:graphic>
          <a:graphicData uri="http://schemas.openxmlformats.org/drawingml/2006/table">
            <a:tbl>
              <a:tblPr/>
              <a:tblGrid>
                <a:gridCol w="1583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8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0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102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Level 1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Level 2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80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Level 3</a:t>
                      </a:r>
                    </a:p>
                  </a:txBody>
                  <a:tcPr marL="68580" marT="91440" marB="3429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17475" indent="-117475">
                        <a:spcBef>
                          <a:spcPct val="50000"/>
                        </a:spcBef>
                        <a:buClr>
                          <a:schemeClr val="tx1"/>
                        </a:buClr>
                        <a:buFont typeface="Wingdings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1pPr>
                      <a:lvl2pPr marL="742950" indent="-285750">
                        <a:buClr>
                          <a:schemeClr val="tx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2pPr>
                      <a:lvl3pPr marL="1143000" indent="-228600">
                        <a:buClr>
                          <a:schemeClr val="tx1"/>
                        </a:buClr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ＭＳ Ｐゴシック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defRPr sz="1400">
                          <a:solidFill>
                            <a:schemeClr val="bg1"/>
                          </a:solidFill>
                          <a:latin typeface="Arial" charset="0"/>
                          <a:ea typeface="ＭＳ Ｐゴシック" charset="-128"/>
                        </a:defRPr>
                      </a:lvl9pPr>
                    </a:lstStyle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Char char="§"/>
                        <a:tabLst/>
                      </a:pPr>
                      <a:r>
                        <a:rPr kumimoji="0" lang="en-US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-128"/>
                        </a:rPr>
                        <a:t>XX</a:t>
                      </a:r>
                    </a:p>
                    <a:p>
                      <a:pPr marL="117475" marR="0" lvl="0" indent="-1174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charset="2"/>
                        <a:buNone/>
                        <a:tabLst/>
                      </a:pPr>
                      <a:endParaRPr kumimoji="0" lang="en-US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-128"/>
                      </a:endParaRPr>
                    </a:p>
                  </a:txBody>
                  <a:tcPr marL="68580" marT="91440" marB="34298" horzOverflow="overflow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2514600" y="1166602"/>
            <a:ext cx="1151335" cy="971550"/>
            <a:chOff x="2514600" y="1116488"/>
            <a:chExt cx="1151335" cy="971550"/>
          </a:xfrm>
        </p:grpSpPr>
        <p:sp>
          <p:nvSpPr>
            <p:cNvPr id="25" name="Freeform 29"/>
            <p:cNvSpPr>
              <a:spLocks/>
            </p:cNvSpPr>
            <p:nvPr/>
          </p:nvSpPr>
          <p:spPr bwMode="gray">
            <a:xfrm>
              <a:off x="2514600" y="1116488"/>
              <a:ext cx="1151335" cy="971550"/>
            </a:xfrm>
            <a:custGeom>
              <a:avLst/>
              <a:gdLst>
                <a:gd name="T0" fmla="*/ 2147483646 w 674"/>
                <a:gd name="T1" fmla="*/ 2147483646 h 525"/>
                <a:gd name="T2" fmla="*/ 2147483646 w 674"/>
                <a:gd name="T3" fmla="*/ 2147483646 h 525"/>
                <a:gd name="T4" fmla="*/ 2147483646 w 674"/>
                <a:gd name="T5" fmla="*/ 2147483646 h 525"/>
                <a:gd name="T6" fmla="*/ 2147483646 w 674"/>
                <a:gd name="T7" fmla="*/ 2147483646 h 525"/>
                <a:gd name="T8" fmla="*/ 2147483646 w 674"/>
                <a:gd name="T9" fmla="*/ 2147483646 h 525"/>
                <a:gd name="T10" fmla="*/ 2147483646 w 674"/>
                <a:gd name="T11" fmla="*/ 2147483646 h 525"/>
                <a:gd name="T12" fmla="*/ 2147483646 w 674"/>
                <a:gd name="T13" fmla="*/ 2147483646 h 525"/>
                <a:gd name="T14" fmla="*/ 2147483646 w 674"/>
                <a:gd name="T15" fmla="*/ 2147483646 h 525"/>
                <a:gd name="T16" fmla="*/ 2147483646 w 674"/>
                <a:gd name="T17" fmla="*/ 2147483646 h 525"/>
                <a:gd name="T18" fmla="*/ 2147483646 w 674"/>
                <a:gd name="T19" fmla="*/ 2147483646 h 525"/>
                <a:gd name="T20" fmla="*/ 2147483646 w 674"/>
                <a:gd name="T21" fmla="*/ 2147483646 h 525"/>
                <a:gd name="T22" fmla="*/ 2147483646 w 674"/>
                <a:gd name="T23" fmla="*/ 2147483646 h 525"/>
                <a:gd name="T24" fmla="*/ 2147483646 w 674"/>
                <a:gd name="T25" fmla="*/ 2147483646 h 525"/>
                <a:gd name="T26" fmla="*/ 2147483646 w 674"/>
                <a:gd name="T27" fmla="*/ 2147483646 h 525"/>
                <a:gd name="T28" fmla="*/ 2147483646 w 674"/>
                <a:gd name="T29" fmla="*/ 2147483646 h 525"/>
                <a:gd name="T30" fmla="*/ 2147483646 w 674"/>
                <a:gd name="T31" fmla="*/ 2147483646 h 525"/>
                <a:gd name="T32" fmla="*/ 2147483646 w 674"/>
                <a:gd name="T33" fmla="*/ 2147483646 h 525"/>
                <a:gd name="T34" fmla="*/ 2147483646 w 674"/>
                <a:gd name="T35" fmla="*/ 2147483646 h 525"/>
                <a:gd name="T36" fmla="*/ 2147483646 w 674"/>
                <a:gd name="T37" fmla="*/ 2147483646 h 525"/>
                <a:gd name="T38" fmla="*/ 2147483646 w 674"/>
                <a:gd name="T39" fmla="*/ 2147483646 h 525"/>
                <a:gd name="T40" fmla="*/ 2147483646 w 674"/>
                <a:gd name="T41" fmla="*/ 2147483646 h 525"/>
                <a:gd name="T42" fmla="*/ 2147483646 w 674"/>
                <a:gd name="T43" fmla="*/ 2147483646 h 525"/>
                <a:gd name="T44" fmla="*/ 2147483646 w 674"/>
                <a:gd name="T45" fmla="*/ 2147483646 h 525"/>
                <a:gd name="T46" fmla="*/ 2147483646 w 674"/>
                <a:gd name="T47" fmla="*/ 2147483646 h 525"/>
                <a:gd name="T48" fmla="*/ 2147483646 w 674"/>
                <a:gd name="T49" fmla="*/ 2147483646 h 525"/>
                <a:gd name="T50" fmla="*/ 2147483646 w 674"/>
                <a:gd name="T51" fmla="*/ 2147483646 h 525"/>
                <a:gd name="T52" fmla="*/ 2147483646 w 674"/>
                <a:gd name="T53" fmla="*/ 2147483646 h 525"/>
                <a:gd name="T54" fmla="*/ 2147483646 w 674"/>
                <a:gd name="T55" fmla="*/ 2147483646 h 525"/>
                <a:gd name="T56" fmla="*/ 2147483646 w 674"/>
                <a:gd name="T57" fmla="*/ 2147483646 h 525"/>
                <a:gd name="T58" fmla="*/ 2147483646 w 674"/>
                <a:gd name="T59" fmla="*/ 2147483646 h 525"/>
                <a:gd name="T60" fmla="*/ 2147483646 w 674"/>
                <a:gd name="T61" fmla="*/ 2147483646 h 525"/>
                <a:gd name="T62" fmla="*/ 2147483646 w 674"/>
                <a:gd name="T63" fmla="*/ 2147483646 h 525"/>
                <a:gd name="T64" fmla="*/ 2147483646 w 674"/>
                <a:gd name="T65" fmla="*/ 2147483646 h 525"/>
                <a:gd name="T66" fmla="*/ 2147483646 w 674"/>
                <a:gd name="T67" fmla="*/ 2147483646 h 525"/>
                <a:gd name="T68" fmla="*/ 2147483646 w 674"/>
                <a:gd name="T69" fmla="*/ 2147483646 h 525"/>
                <a:gd name="T70" fmla="*/ 2147483646 w 674"/>
                <a:gd name="T71" fmla="*/ 2147483646 h 525"/>
                <a:gd name="T72" fmla="*/ 2147483646 w 674"/>
                <a:gd name="T73" fmla="*/ 2147483646 h 525"/>
                <a:gd name="T74" fmla="*/ 2147483646 w 674"/>
                <a:gd name="T75" fmla="*/ 2147483646 h 525"/>
                <a:gd name="T76" fmla="*/ 2147483646 w 674"/>
                <a:gd name="T77" fmla="*/ 2147483646 h 525"/>
                <a:gd name="T78" fmla="*/ 2147483646 w 674"/>
                <a:gd name="T79" fmla="*/ 2147483646 h 525"/>
                <a:gd name="T80" fmla="*/ 2147483646 w 674"/>
                <a:gd name="T81" fmla="*/ 2147483646 h 525"/>
                <a:gd name="T82" fmla="*/ 2147483646 w 674"/>
                <a:gd name="T83" fmla="*/ 2147483646 h 525"/>
                <a:gd name="T84" fmla="*/ 2147483646 w 674"/>
                <a:gd name="T85" fmla="*/ 2147483646 h 525"/>
                <a:gd name="T86" fmla="*/ 2147483646 w 674"/>
                <a:gd name="T87" fmla="*/ 2147483646 h 525"/>
                <a:gd name="T88" fmla="*/ 2147483646 w 674"/>
                <a:gd name="T89" fmla="*/ 2147483646 h 525"/>
                <a:gd name="T90" fmla="*/ 2147483646 w 674"/>
                <a:gd name="T91" fmla="*/ 2147483646 h 525"/>
                <a:gd name="T92" fmla="*/ 2147483646 w 674"/>
                <a:gd name="T93" fmla="*/ 2147483646 h 525"/>
                <a:gd name="T94" fmla="*/ 2147483646 w 674"/>
                <a:gd name="T95" fmla="*/ 2147483646 h 525"/>
                <a:gd name="T96" fmla="*/ 2147483646 w 674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27" name="Text Box 13"/>
            <p:cNvSpPr txBox="1">
              <a:spLocks noChangeArrowheads="1"/>
            </p:cNvSpPr>
            <p:nvPr/>
          </p:nvSpPr>
          <p:spPr bwMode="auto">
            <a:xfrm>
              <a:off x="2535971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Segment 1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44652" y="904664"/>
            <a:ext cx="1151335" cy="1233488"/>
            <a:chOff x="7764065" y="854550"/>
            <a:chExt cx="1151335" cy="1233488"/>
          </a:xfrm>
          <a:gradFill flip="none" rotWithShape="1">
            <a:gsLst>
              <a:gs pos="0">
                <a:schemeClr val="accent4">
                  <a:lumMod val="60000"/>
                  <a:lumOff val="40000"/>
                  <a:alpha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5400000" scaled="1"/>
            <a:tileRect/>
          </a:gradFill>
        </p:grpSpPr>
        <p:sp>
          <p:nvSpPr>
            <p:cNvPr id="24" name="Freeform 28"/>
            <p:cNvSpPr>
              <a:spLocks/>
            </p:cNvSpPr>
            <p:nvPr/>
          </p:nvSpPr>
          <p:spPr bwMode="gray">
            <a:xfrm>
              <a:off x="7764065" y="854550"/>
              <a:ext cx="1151335" cy="1233488"/>
            </a:xfrm>
            <a:custGeom>
              <a:avLst/>
              <a:gdLst>
                <a:gd name="T0" fmla="*/ 2147483646 w 674"/>
                <a:gd name="T1" fmla="*/ 2147483646 h 667"/>
                <a:gd name="T2" fmla="*/ 2147483646 w 674"/>
                <a:gd name="T3" fmla="*/ 2147483646 h 667"/>
                <a:gd name="T4" fmla="*/ 2147483646 w 674"/>
                <a:gd name="T5" fmla="*/ 2147483646 h 667"/>
                <a:gd name="T6" fmla="*/ 2147483646 w 674"/>
                <a:gd name="T7" fmla="*/ 2147483646 h 667"/>
                <a:gd name="T8" fmla="*/ 2147483646 w 674"/>
                <a:gd name="T9" fmla="*/ 2147483646 h 667"/>
                <a:gd name="T10" fmla="*/ 2147483646 w 674"/>
                <a:gd name="T11" fmla="*/ 2147483646 h 667"/>
                <a:gd name="T12" fmla="*/ 2147483646 w 674"/>
                <a:gd name="T13" fmla="*/ 2147483646 h 667"/>
                <a:gd name="T14" fmla="*/ 2147483646 w 674"/>
                <a:gd name="T15" fmla="*/ 2147483646 h 667"/>
                <a:gd name="T16" fmla="*/ 2147483646 w 674"/>
                <a:gd name="T17" fmla="*/ 2147483646 h 667"/>
                <a:gd name="T18" fmla="*/ 2147483646 w 674"/>
                <a:gd name="T19" fmla="*/ 2147483646 h 667"/>
                <a:gd name="T20" fmla="*/ 2147483646 w 674"/>
                <a:gd name="T21" fmla="*/ 2147483646 h 667"/>
                <a:gd name="T22" fmla="*/ 2147483646 w 674"/>
                <a:gd name="T23" fmla="*/ 2147483646 h 667"/>
                <a:gd name="T24" fmla="*/ 2147483646 w 674"/>
                <a:gd name="T25" fmla="*/ 0 h 667"/>
                <a:gd name="T26" fmla="*/ 2147483646 w 674"/>
                <a:gd name="T27" fmla="*/ 2147483646 h 667"/>
                <a:gd name="T28" fmla="*/ 2147483646 w 674"/>
                <a:gd name="T29" fmla="*/ 2147483646 h 667"/>
                <a:gd name="T30" fmla="*/ 2147483646 w 674"/>
                <a:gd name="T31" fmla="*/ 2147483646 h 667"/>
                <a:gd name="T32" fmla="*/ 2147483646 w 674"/>
                <a:gd name="T33" fmla="*/ 2147483646 h 667"/>
                <a:gd name="T34" fmla="*/ 2147483646 w 674"/>
                <a:gd name="T35" fmla="*/ 2147483646 h 667"/>
                <a:gd name="T36" fmla="*/ 2147483646 w 674"/>
                <a:gd name="T37" fmla="*/ 2147483646 h 667"/>
                <a:gd name="T38" fmla="*/ 2147483646 w 674"/>
                <a:gd name="T39" fmla="*/ 2147483646 h 667"/>
                <a:gd name="T40" fmla="*/ 2147483646 w 674"/>
                <a:gd name="T41" fmla="*/ 2147483646 h 667"/>
                <a:gd name="T42" fmla="*/ 2147483646 w 674"/>
                <a:gd name="T43" fmla="*/ 2147483646 h 667"/>
                <a:gd name="T44" fmla="*/ 2147483646 w 674"/>
                <a:gd name="T45" fmla="*/ 2147483646 h 667"/>
                <a:gd name="T46" fmla="*/ 2147483646 w 674"/>
                <a:gd name="T47" fmla="*/ 2147483646 h 667"/>
                <a:gd name="T48" fmla="*/ 2147483646 w 674"/>
                <a:gd name="T49" fmla="*/ 2147483646 h 667"/>
                <a:gd name="T50" fmla="*/ 2147483646 w 674"/>
                <a:gd name="T51" fmla="*/ 2147483646 h 667"/>
                <a:gd name="T52" fmla="*/ 2147483646 w 674"/>
                <a:gd name="T53" fmla="*/ 2147483646 h 667"/>
                <a:gd name="T54" fmla="*/ 2147483646 w 674"/>
                <a:gd name="T55" fmla="*/ 2147483646 h 667"/>
                <a:gd name="T56" fmla="*/ 2147483646 w 674"/>
                <a:gd name="T57" fmla="*/ 2147483646 h 667"/>
                <a:gd name="T58" fmla="*/ 2147483646 w 674"/>
                <a:gd name="T59" fmla="*/ 2147483646 h 667"/>
                <a:gd name="T60" fmla="*/ 2147483646 w 674"/>
                <a:gd name="T61" fmla="*/ 2147483646 h 667"/>
                <a:gd name="T62" fmla="*/ 2147483646 w 674"/>
                <a:gd name="T63" fmla="*/ 2147483646 h 667"/>
                <a:gd name="T64" fmla="*/ 2147483646 w 674"/>
                <a:gd name="T65" fmla="*/ 2147483646 h 667"/>
                <a:gd name="T66" fmla="*/ 2147483646 w 674"/>
                <a:gd name="T67" fmla="*/ 2147483646 h 667"/>
                <a:gd name="T68" fmla="*/ 2147483646 w 674"/>
                <a:gd name="T69" fmla="*/ 2147483646 h 667"/>
                <a:gd name="T70" fmla="*/ 2147483646 w 674"/>
                <a:gd name="T71" fmla="*/ 2147483646 h 667"/>
                <a:gd name="T72" fmla="*/ 2147483646 w 674"/>
                <a:gd name="T73" fmla="*/ 2147483646 h 667"/>
                <a:gd name="T74" fmla="*/ 2147483646 w 674"/>
                <a:gd name="T75" fmla="*/ 2147483646 h 667"/>
                <a:gd name="T76" fmla="*/ 2147483646 w 674"/>
                <a:gd name="T77" fmla="*/ 2147483646 h 667"/>
                <a:gd name="T78" fmla="*/ 2147483646 w 674"/>
                <a:gd name="T79" fmla="*/ 2147483646 h 667"/>
                <a:gd name="T80" fmla="*/ 2147483646 w 674"/>
                <a:gd name="T81" fmla="*/ 2147483646 h 667"/>
                <a:gd name="T82" fmla="*/ 2147483646 w 674"/>
                <a:gd name="T83" fmla="*/ 2147483646 h 667"/>
                <a:gd name="T84" fmla="*/ 2147483646 w 674"/>
                <a:gd name="T85" fmla="*/ 2147483646 h 667"/>
                <a:gd name="T86" fmla="*/ 2147483646 w 674"/>
                <a:gd name="T87" fmla="*/ 2147483646 h 667"/>
                <a:gd name="T88" fmla="*/ 2147483646 w 674"/>
                <a:gd name="T89" fmla="*/ 2147483646 h 667"/>
                <a:gd name="T90" fmla="*/ 2147483646 w 674"/>
                <a:gd name="T91" fmla="*/ 2147483646 h 667"/>
                <a:gd name="T92" fmla="*/ 2147483646 w 674"/>
                <a:gd name="T93" fmla="*/ 2147483646 h 667"/>
                <a:gd name="T94" fmla="*/ 2147483646 w 674"/>
                <a:gd name="T95" fmla="*/ 2147483646 h 667"/>
                <a:gd name="T96" fmla="*/ 2147483646 w 674"/>
                <a:gd name="T97" fmla="*/ 2147483646 h 667"/>
                <a:gd name="T98" fmla="*/ 2147483646 w 674"/>
                <a:gd name="T99" fmla="*/ 2147483646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 dirty="0"/>
            </a:p>
          </p:txBody>
        </p:sp>
        <p:sp>
          <p:nvSpPr>
            <p:cNvPr id="28" name="Text Box 14"/>
            <p:cNvSpPr txBox="1">
              <a:spLocks noChangeArrowheads="1"/>
            </p:cNvSpPr>
            <p:nvPr/>
          </p:nvSpPr>
          <p:spPr bwMode="auto">
            <a:xfrm>
              <a:off x="7791374" y="1493074"/>
              <a:ext cx="870347" cy="216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 dirty="0">
                  <a:solidFill>
                    <a:schemeClr val="bg2"/>
                  </a:solidFill>
                  <a:latin typeface="+mn-lt"/>
                  <a:ea typeface="MS PGothic" charset="-128"/>
                </a:rPr>
                <a:t>Segment 4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50510" y="1166602"/>
            <a:ext cx="1404938" cy="971550"/>
            <a:chOff x="3811787" y="1124297"/>
            <a:chExt cx="1404938" cy="971550"/>
          </a:xfr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grpSpPr>
        <p:sp>
          <p:nvSpPr>
            <p:cNvPr id="26" name="Freeform 30"/>
            <p:cNvSpPr>
              <a:spLocks/>
            </p:cNvSpPr>
            <p:nvPr/>
          </p:nvSpPr>
          <p:spPr bwMode="gray">
            <a:xfrm>
              <a:off x="3811787" y="1124297"/>
              <a:ext cx="1404938" cy="971550"/>
            </a:xfrm>
            <a:custGeom>
              <a:avLst/>
              <a:gdLst>
                <a:gd name="T0" fmla="*/ 2147483646 w 822"/>
                <a:gd name="T1" fmla="*/ 2147483646 h 525"/>
                <a:gd name="T2" fmla="*/ 2147483646 w 822"/>
                <a:gd name="T3" fmla="*/ 2147483646 h 525"/>
                <a:gd name="T4" fmla="*/ 2147483646 w 822"/>
                <a:gd name="T5" fmla="*/ 2147483646 h 525"/>
                <a:gd name="T6" fmla="*/ 2147483646 w 822"/>
                <a:gd name="T7" fmla="*/ 2147483646 h 525"/>
                <a:gd name="T8" fmla="*/ 2147483646 w 822"/>
                <a:gd name="T9" fmla="*/ 2147483646 h 525"/>
                <a:gd name="T10" fmla="*/ 2147483646 w 822"/>
                <a:gd name="T11" fmla="*/ 2147483646 h 525"/>
                <a:gd name="T12" fmla="*/ 2147483646 w 822"/>
                <a:gd name="T13" fmla="*/ 2147483646 h 525"/>
                <a:gd name="T14" fmla="*/ 2147483646 w 822"/>
                <a:gd name="T15" fmla="*/ 2147483646 h 525"/>
                <a:gd name="T16" fmla="*/ 2147483646 w 822"/>
                <a:gd name="T17" fmla="*/ 2147483646 h 525"/>
                <a:gd name="T18" fmla="*/ 2147483646 w 822"/>
                <a:gd name="T19" fmla="*/ 2147483646 h 525"/>
                <a:gd name="T20" fmla="*/ 2147483646 w 822"/>
                <a:gd name="T21" fmla="*/ 2147483646 h 525"/>
                <a:gd name="T22" fmla="*/ 2147483646 w 822"/>
                <a:gd name="T23" fmla="*/ 2147483646 h 525"/>
                <a:gd name="T24" fmla="*/ 2147483646 w 822"/>
                <a:gd name="T25" fmla="*/ 2147483646 h 525"/>
                <a:gd name="T26" fmla="*/ 2147483646 w 822"/>
                <a:gd name="T27" fmla="*/ 2147483646 h 525"/>
                <a:gd name="T28" fmla="*/ 2147483646 w 822"/>
                <a:gd name="T29" fmla="*/ 2147483646 h 525"/>
                <a:gd name="T30" fmla="*/ 2147483646 w 822"/>
                <a:gd name="T31" fmla="*/ 2147483646 h 525"/>
                <a:gd name="T32" fmla="*/ 2147483646 w 822"/>
                <a:gd name="T33" fmla="*/ 2147483646 h 525"/>
                <a:gd name="T34" fmla="*/ 2147483646 w 822"/>
                <a:gd name="T35" fmla="*/ 2147483646 h 525"/>
                <a:gd name="T36" fmla="*/ 2147483646 w 822"/>
                <a:gd name="T37" fmla="*/ 2147483646 h 525"/>
                <a:gd name="T38" fmla="*/ 2147483646 w 822"/>
                <a:gd name="T39" fmla="*/ 2147483646 h 525"/>
                <a:gd name="T40" fmla="*/ 2147483646 w 822"/>
                <a:gd name="T41" fmla="*/ 2147483646 h 525"/>
                <a:gd name="T42" fmla="*/ 2147483646 w 822"/>
                <a:gd name="T43" fmla="*/ 2147483646 h 525"/>
                <a:gd name="T44" fmla="*/ 2147483646 w 822"/>
                <a:gd name="T45" fmla="*/ 2147483646 h 525"/>
                <a:gd name="T46" fmla="*/ 2147483646 w 822"/>
                <a:gd name="T47" fmla="*/ 2147483646 h 525"/>
                <a:gd name="T48" fmla="*/ 2147483646 w 822"/>
                <a:gd name="T49" fmla="*/ 2147483646 h 525"/>
                <a:gd name="T50" fmla="*/ 2147483646 w 822"/>
                <a:gd name="T51" fmla="*/ 2147483646 h 525"/>
                <a:gd name="T52" fmla="*/ 2147483646 w 822"/>
                <a:gd name="T53" fmla="*/ 2147483646 h 525"/>
                <a:gd name="T54" fmla="*/ 2147483646 w 822"/>
                <a:gd name="T55" fmla="*/ 2147483646 h 525"/>
                <a:gd name="T56" fmla="*/ 2147483646 w 822"/>
                <a:gd name="T57" fmla="*/ 2147483646 h 525"/>
                <a:gd name="T58" fmla="*/ 2147483646 w 822"/>
                <a:gd name="T59" fmla="*/ 2147483646 h 525"/>
                <a:gd name="T60" fmla="*/ 2147483646 w 822"/>
                <a:gd name="T61" fmla="*/ 2147483646 h 525"/>
                <a:gd name="T62" fmla="*/ 2147483646 w 822"/>
                <a:gd name="T63" fmla="*/ 2147483646 h 525"/>
                <a:gd name="T64" fmla="*/ 2147483646 w 822"/>
                <a:gd name="T65" fmla="*/ 2147483646 h 525"/>
                <a:gd name="T66" fmla="*/ 2147483646 w 822"/>
                <a:gd name="T67" fmla="*/ 2147483646 h 525"/>
                <a:gd name="T68" fmla="*/ 2147483646 w 822"/>
                <a:gd name="T69" fmla="*/ 2147483646 h 525"/>
                <a:gd name="T70" fmla="*/ 2147483646 w 822"/>
                <a:gd name="T71" fmla="*/ 2147483646 h 525"/>
                <a:gd name="T72" fmla="*/ 2147483646 w 822"/>
                <a:gd name="T73" fmla="*/ 2147483646 h 525"/>
                <a:gd name="T74" fmla="*/ 2147483646 w 822"/>
                <a:gd name="T75" fmla="*/ 2147483646 h 525"/>
                <a:gd name="T76" fmla="*/ 2147483646 w 822"/>
                <a:gd name="T77" fmla="*/ 2147483646 h 525"/>
                <a:gd name="T78" fmla="*/ 2147483646 w 822"/>
                <a:gd name="T79" fmla="*/ 2147483646 h 525"/>
                <a:gd name="T80" fmla="*/ 2147483646 w 822"/>
                <a:gd name="T81" fmla="*/ 2147483646 h 525"/>
                <a:gd name="T82" fmla="*/ 2147483646 w 822"/>
                <a:gd name="T83" fmla="*/ 2147483646 h 525"/>
                <a:gd name="T84" fmla="*/ 2147483646 w 822"/>
                <a:gd name="T85" fmla="*/ 2147483646 h 525"/>
                <a:gd name="T86" fmla="*/ 2147483646 w 822"/>
                <a:gd name="T87" fmla="*/ 2147483646 h 525"/>
                <a:gd name="T88" fmla="*/ 2147483646 w 822"/>
                <a:gd name="T89" fmla="*/ 2147483646 h 525"/>
                <a:gd name="T90" fmla="*/ 2147483646 w 822"/>
                <a:gd name="T91" fmla="*/ 2147483646 h 525"/>
                <a:gd name="T92" fmla="*/ 2147483646 w 822"/>
                <a:gd name="T93" fmla="*/ 2147483646 h 525"/>
                <a:gd name="T94" fmla="*/ 2147483646 w 822"/>
                <a:gd name="T95" fmla="*/ 2147483646 h 525"/>
                <a:gd name="T96" fmla="*/ 2147483646 w 822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29" name="Text Box 15"/>
            <p:cNvSpPr txBox="1">
              <a:spLocks noChangeArrowheads="1"/>
            </p:cNvSpPr>
            <p:nvPr/>
          </p:nvSpPr>
          <p:spPr bwMode="auto">
            <a:xfrm>
              <a:off x="420718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Segment 2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583656" y="904664"/>
            <a:ext cx="1404938" cy="1233488"/>
            <a:chOff x="5453062" y="862678"/>
            <a:chExt cx="1404938" cy="1233488"/>
          </a:xfr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</p:grpSpPr>
        <p:sp>
          <p:nvSpPr>
            <p:cNvPr id="23" name="Freeform 27"/>
            <p:cNvSpPr>
              <a:spLocks/>
            </p:cNvSpPr>
            <p:nvPr/>
          </p:nvSpPr>
          <p:spPr bwMode="gray">
            <a:xfrm>
              <a:off x="5453062" y="862678"/>
              <a:ext cx="1404938" cy="1233488"/>
            </a:xfrm>
            <a:custGeom>
              <a:avLst/>
              <a:gdLst>
                <a:gd name="T0" fmla="*/ 2147483646 w 822"/>
                <a:gd name="T1" fmla="*/ 2147483646 h 667"/>
                <a:gd name="T2" fmla="*/ 2147483646 w 822"/>
                <a:gd name="T3" fmla="*/ 2147483646 h 667"/>
                <a:gd name="T4" fmla="*/ 2147483646 w 822"/>
                <a:gd name="T5" fmla="*/ 2147483646 h 667"/>
                <a:gd name="T6" fmla="*/ 2147483646 w 822"/>
                <a:gd name="T7" fmla="*/ 2147483646 h 667"/>
                <a:gd name="T8" fmla="*/ 2147483646 w 822"/>
                <a:gd name="T9" fmla="*/ 2147483646 h 667"/>
                <a:gd name="T10" fmla="*/ 2147483646 w 822"/>
                <a:gd name="T11" fmla="*/ 2147483646 h 667"/>
                <a:gd name="T12" fmla="*/ 2147483646 w 822"/>
                <a:gd name="T13" fmla="*/ 2147483646 h 667"/>
                <a:gd name="T14" fmla="*/ 2147483646 w 822"/>
                <a:gd name="T15" fmla="*/ 2147483646 h 667"/>
                <a:gd name="T16" fmla="*/ 2147483646 w 822"/>
                <a:gd name="T17" fmla="*/ 2147483646 h 667"/>
                <a:gd name="T18" fmla="*/ 2147483646 w 822"/>
                <a:gd name="T19" fmla="*/ 2147483646 h 667"/>
                <a:gd name="T20" fmla="*/ 2147483646 w 822"/>
                <a:gd name="T21" fmla="*/ 2147483646 h 667"/>
                <a:gd name="T22" fmla="*/ 2147483646 w 822"/>
                <a:gd name="T23" fmla="*/ 2147483646 h 667"/>
                <a:gd name="T24" fmla="*/ 2147483646 w 822"/>
                <a:gd name="T25" fmla="*/ 2147483646 h 667"/>
                <a:gd name="T26" fmla="*/ 2147483646 w 822"/>
                <a:gd name="T27" fmla="*/ 2147483646 h 667"/>
                <a:gd name="T28" fmla="*/ 2147483646 w 822"/>
                <a:gd name="T29" fmla="*/ 2147483646 h 667"/>
                <a:gd name="T30" fmla="*/ 2147483646 w 822"/>
                <a:gd name="T31" fmla="*/ 2147483646 h 667"/>
                <a:gd name="T32" fmla="*/ 2147483646 w 822"/>
                <a:gd name="T33" fmla="*/ 2147483646 h 667"/>
                <a:gd name="T34" fmla="*/ 2147483646 w 822"/>
                <a:gd name="T35" fmla="*/ 2147483646 h 667"/>
                <a:gd name="T36" fmla="*/ 2147483646 w 822"/>
                <a:gd name="T37" fmla="*/ 2147483646 h 667"/>
                <a:gd name="T38" fmla="*/ 2147483646 w 822"/>
                <a:gd name="T39" fmla="*/ 0 h 667"/>
                <a:gd name="T40" fmla="*/ 2147483646 w 822"/>
                <a:gd name="T41" fmla="*/ 2147483646 h 667"/>
                <a:gd name="T42" fmla="*/ 2147483646 w 822"/>
                <a:gd name="T43" fmla="*/ 2147483646 h 667"/>
                <a:gd name="T44" fmla="*/ 2147483646 w 822"/>
                <a:gd name="T45" fmla="*/ 2147483646 h 667"/>
                <a:gd name="T46" fmla="*/ 2147483646 w 822"/>
                <a:gd name="T47" fmla="*/ 2147483646 h 667"/>
                <a:gd name="T48" fmla="*/ 2147483646 w 822"/>
                <a:gd name="T49" fmla="*/ 2147483646 h 667"/>
                <a:gd name="T50" fmla="*/ 2147483646 w 822"/>
                <a:gd name="T51" fmla="*/ 2147483646 h 667"/>
                <a:gd name="T52" fmla="*/ 2147483646 w 822"/>
                <a:gd name="T53" fmla="*/ 2147483646 h 667"/>
                <a:gd name="T54" fmla="*/ 2147483646 w 822"/>
                <a:gd name="T55" fmla="*/ 2147483646 h 667"/>
                <a:gd name="T56" fmla="*/ 2147483646 w 822"/>
                <a:gd name="T57" fmla="*/ 2147483646 h 667"/>
                <a:gd name="T58" fmla="*/ 2147483646 w 822"/>
                <a:gd name="T59" fmla="*/ 2147483646 h 667"/>
                <a:gd name="T60" fmla="*/ 2147483646 w 822"/>
                <a:gd name="T61" fmla="*/ 2147483646 h 667"/>
                <a:gd name="T62" fmla="*/ 2147483646 w 822"/>
                <a:gd name="T63" fmla="*/ 2147483646 h 667"/>
                <a:gd name="T64" fmla="*/ 2147483646 w 822"/>
                <a:gd name="T65" fmla="*/ 2147483646 h 667"/>
                <a:gd name="T66" fmla="*/ 2147483646 w 822"/>
                <a:gd name="T67" fmla="*/ 2147483646 h 667"/>
                <a:gd name="T68" fmla="*/ 2147483646 w 822"/>
                <a:gd name="T69" fmla="*/ 2147483646 h 667"/>
                <a:gd name="T70" fmla="*/ 2147483646 w 822"/>
                <a:gd name="T71" fmla="*/ 2147483646 h 667"/>
                <a:gd name="T72" fmla="*/ 2147483646 w 822"/>
                <a:gd name="T73" fmla="*/ 2147483646 h 667"/>
                <a:gd name="T74" fmla="*/ 2147483646 w 822"/>
                <a:gd name="T75" fmla="*/ 2147483646 h 667"/>
                <a:gd name="T76" fmla="*/ 2147483646 w 822"/>
                <a:gd name="T77" fmla="*/ 2147483646 h 667"/>
                <a:gd name="T78" fmla="*/ 2147483646 w 822"/>
                <a:gd name="T79" fmla="*/ 2147483646 h 667"/>
                <a:gd name="T80" fmla="*/ 2147483646 w 822"/>
                <a:gd name="T81" fmla="*/ 2147483646 h 667"/>
                <a:gd name="T82" fmla="*/ 2147483646 w 822"/>
                <a:gd name="T83" fmla="*/ 2147483646 h 667"/>
                <a:gd name="T84" fmla="*/ 2147483646 w 822"/>
                <a:gd name="T85" fmla="*/ 2147483646 h 667"/>
                <a:gd name="T86" fmla="*/ 2147483646 w 822"/>
                <a:gd name="T87" fmla="*/ 2147483646 h 667"/>
                <a:gd name="T88" fmla="*/ 2147483646 w 822"/>
                <a:gd name="T89" fmla="*/ 2147483646 h 667"/>
                <a:gd name="T90" fmla="*/ 2147483646 w 822"/>
                <a:gd name="T91" fmla="*/ 2147483646 h 667"/>
                <a:gd name="T92" fmla="*/ 2147483646 w 822"/>
                <a:gd name="T93" fmla="*/ 2147483646 h 667"/>
                <a:gd name="T94" fmla="*/ 2147483646 w 822"/>
                <a:gd name="T95" fmla="*/ 2147483646 h 667"/>
                <a:gd name="T96" fmla="*/ 2147483646 w 822"/>
                <a:gd name="T97" fmla="*/ 2147483646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13"/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5858011" y="1493074"/>
              <a:ext cx="870347" cy="2169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lIns="34290" rIns="3429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lnSpc>
                  <a:spcPct val="90000"/>
                </a:lnSpc>
                <a:buClr>
                  <a:schemeClr val="tx1"/>
                </a:buClr>
              </a:pPr>
              <a:r>
                <a:rPr lang="en-US" altLang="en-US" sz="900" b="1">
                  <a:solidFill>
                    <a:schemeClr val="bg2"/>
                  </a:solidFill>
                  <a:latin typeface="+mn-lt"/>
                  <a:ea typeface="MS PGothic" charset="-128"/>
                </a:rPr>
                <a:t>Segment 3</a:t>
              </a:r>
            </a:p>
          </p:txBody>
        </p:sp>
      </p:grpSp>
      <p:sp>
        <p:nvSpPr>
          <p:cNvPr id="21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417529011"/>
      </p:ext>
    </p:extLst>
  </p:cSld>
  <p:clrMapOvr>
    <a:masterClrMapping/>
  </p:clrMapOvr>
  <p:transition advClick="0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groun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 the “More fill colors” dialog box, select “semi-transparent” to create an overlapping color effect. (See Labels A, B, and C.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14599" y="1154645"/>
            <a:ext cx="3623733" cy="3415708"/>
            <a:chOff x="2514600" y="1116488"/>
            <a:chExt cx="2965846" cy="2795588"/>
          </a:xfrm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2514600" y="1116488"/>
              <a:ext cx="1750219" cy="175021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alpha val="6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3730227" y="1126013"/>
              <a:ext cx="1750219" cy="1750219"/>
            </a:xfrm>
            <a:prstGeom prst="ellipse">
              <a:avLst/>
            </a:prstGeom>
            <a:gradFill>
              <a:gsLst>
                <a:gs pos="0">
                  <a:schemeClr val="accent4">
                    <a:lumMod val="60000"/>
                    <a:lumOff val="40000"/>
                    <a:alpha val="60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0" scaled="1"/>
            </a:gra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 dirty="0">
                <a:ea typeface="MS PGothic" charset="-128"/>
              </a:endParaRPr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109912" y="2161857"/>
              <a:ext cx="1750219" cy="1750219"/>
            </a:xfrm>
            <a:prstGeom prst="ellipse">
              <a:avLst/>
            </a:prstGeom>
            <a:gradFill>
              <a:gsLst>
                <a:gs pos="0">
                  <a:schemeClr val="accent3">
                    <a:alpha val="60000"/>
                  </a:schemeClr>
                </a:gs>
                <a:gs pos="100000">
                  <a:schemeClr val="accent3">
                    <a:lumMod val="75000"/>
                  </a:schemeClr>
                </a:gs>
              </a:gsLst>
              <a:lin ang="5400000" scaled="1"/>
            </a:gradFill>
            <a:ln w="6350">
              <a:noFill/>
              <a:round/>
              <a:headEnd/>
              <a:tailEnd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2832304" y="1484254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1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4636101" y="1475919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2</a:t>
              </a: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3771771" y="3446540"/>
              <a:ext cx="493303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3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760376" y="1817888"/>
              <a:ext cx="511671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A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321397" y="2486776"/>
              <a:ext cx="511671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B</a:t>
              </a: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4147292" y="2486776"/>
              <a:ext cx="541847" cy="189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056" tIns="34529" rIns="69056" bIns="34529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/>
              <a:r>
                <a:rPr lang="en-US" altLang="en-US" sz="1050" b="1">
                  <a:solidFill>
                    <a:schemeClr val="bg2"/>
                  </a:solidFill>
                  <a:latin typeface="+mn-lt"/>
                  <a:ea typeface="MS PGothic" charset="-128"/>
                </a:rPr>
                <a:t>Label C </a:t>
              </a:r>
            </a:p>
          </p:txBody>
        </p:sp>
      </p:grp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>
                <a:latin typeface="+mn-lt"/>
              </a:rPr>
              <a:t>Source:	If applicable, describe source origin</a:t>
            </a:r>
          </a:p>
        </p:txBody>
      </p:sp>
    </p:spTree>
    <p:extLst>
      <p:ext uri="{BB962C8B-B14F-4D97-AF65-F5344CB8AC3E}">
        <p14:creationId xmlns:p14="http://schemas.microsoft.com/office/powerpoint/2010/main" val="2904226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01168"/>
            <a:ext cx="4764506" cy="895024"/>
          </a:xfrm>
        </p:spPr>
        <p:txBody>
          <a:bodyPr/>
          <a:lstStyle/>
          <a:p>
            <a:r>
              <a:rPr lang="en-US"/>
              <a:t>Companies with fast data growth rely on IBM Cloud Object storag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mpanies deploying IBM Cloud solutions by 2018</a:t>
            </a:r>
          </a:p>
        </p:txBody>
      </p:sp>
      <p:sp>
        <p:nvSpPr>
          <p:cNvPr id="16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>
                <a:latin typeface="+mn-lt"/>
              </a:rPr>
              <a:t>Source:	Business Insider, 2017</a:t>
            </a:r>
          </a:p>
        </p:txBody>
      </p:sp>
      <p:graphicFrame>
        <p:nvGraphicFramePr>
          <p:cNvPr id="17" name="Chart 1174"/>
          <p:cNvGraphicFramePr/>
          <p:nvPr>
            <p:extLst>
              <p:ext uri="{D42A27DB-BD31-4B8C-83A1-F6EECF244321}">
                <p14:modId xmlns:p14="http://schemas.microsoft.com/office/powerpoint/2010/main" val="2661145279"/>
              </p:ext>
            </p:extLst>
          </p:nvPr>
        </p:nvGraphicFramePr>
        <p:xfrm>
          <a:off x="2964605" y="1308474"/>
          <a:ext cx="5976511" cy="3217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4572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Expanding our global data centers to 6 new facilities</a:t>
            </a:r>
            <a:endParaRPr lang="en-US" altLang="en-US" dirty="0">
              <a:ea typeface="ＭＳ Ｐゴシック" charset="-128"/>
            </a:endParaRPr>
          </a:p>
        </p:txBody>
      </p:sp>
      <p:sp>
        <p:nvSpPr>
          <p:cNvPr id="48130" name="Footer Placeholder 2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57213" indent="-214313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572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2001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543050" indent="-171450"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pt" altLang="en-US" sz="600">
                <a:latin typeface="+mn-lt"/>
              </a:rPr>
              <a:t>IBM Talk‘n‘Labs 2019 – Cloud, Data &amp; A.I.  /  11 de outubro, 2019 / © 2019 IBM Corporation</a:t>
            </a:r>
            <a:endParaRPr lang="en-US" altLang="en-US" sz="600"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20" name="Rectangle 96"/>
          <p:cNvSpPr>
            <a:spLocks noChangeArrowheads="1"/>
          </p:cNvSpPr>
          <p:nvPr/>
        </p:nvSpPr>
        <p:spPr bwMode="auto">
          <a:xfrm>
            <a:off x="7001181" y="186227"/>
            <a:ext cx="1914219" cy="48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4529" rIns="91440" bIns="34529" anchor="t" anchorCtr="0"/>
          <a:lstStyle>
            <a:lvl1pPr marL="400050" indent="-4000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8925" indent="-288925"/>
            <a:r>
              <a:rPr lang="en-US" altLang="en-US" sz="600" dirty="0">
                <a:latin typeface="+mn-lt"/>
              </a:rPr>
              <a:t>Source:	Deloitte, 2017</a:t>
            </a:r>
          </a:p>
        </p:txBody>
      </p:sp>
      <p:grpSp>
        <p:nvGrpSpPr>
          <p:cNvPr id="812" name="Group 4"/>
          <p:cNvGrpSpPr>
            <a:grpSpLocks/>
          </p:cNvGrpSpPr>
          <p:nvPr/>
        </p:nvGrpSpPr>
        <p:grpSpPr bwMode="auto">
          <a:xfrm>
            <a:off x="2057400" y="1146178"/>
            <a:ext cx="6324600" cy="3644584"/>
            <a:chOff x="612" y="1210"/>
            <a:chExt cx="4520" cy="2605"/>
          </a:xfrm>
          <a:solidFill>
            <a:schemeClr val="accent1"/>
          </a:solidFill>
        </p:grpSpPr>
        <p:sp>
          <p:nvSpPr>
            <p:cNvPr id="813" name="Rectangle 5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14" name="Rectangle 6"/>
            <p:cNvSpPr>
              <a:spLocks noChangeArrowheads="1"/>
            </p:cNvSpPr>
            <p:nvPr/>
          </p:nvSpPr>
          <p:spPr bwMode="gray">
            <a:xfrm>
              <a:off x="3861" y="2358"/>
              <a:ext cx="1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815" name="Freeform 7"/>
            <p:cNvSpPr>
              <a:spLocks/>
            </p:cNvSpPr>
            <p:nvPr/>
          </p:nvSpPr>
          <p:spPr bwMode="gray">
            <a:xfrm>
              <a:off x="3600" y="1731"/>
              <a:ext cx="3" cy="1"/>
            </a:xfrm>
            <a:custGeom>
              <a:avLst/>
              <a:gdLst>
                <a:gd name="T0" fmla="*/ 0 w 3"/>
                <a:gd name="T1" fmla="*/ 0 h 2"/>
                <a:gd name="T2" fmla="*/ 2147483646 w 3"/>
                <a:gd name="T3" fmla="*/ 0 h 2"/>
                <a:gd name="T4" fmla="*/ 2147483646 w 3"/>
                <a:gd name="T5" fmla="*/ 67108864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6" name="Freeform 8"/>
            <p:cNvSpPr>
              <a:spLocks/>
            </p:cNvSpPr>
            <p:nvPr/>
          </p:nvSpPr>
          <p:spPr bwMode="gray">
            <a:xfrm>
              <a:off x="3173" y="2340"/>
              <a:ext cx="2" cy="2"/>
            </a:xfrm>
            <a:custGeom>
              <a:avLst/>
              <a:gdLst>
                <a:gd name="T0" fmla="*/ 0 w 2"/>
                <a:gd name="T1" fmla="*/ 282796201 h 3"/>
                <a:gd name="T2" fmla="*/ 2147483646 w 2"/>
                <a:gd name="T3" fmla="*/ 0 h 3"/>
                <a:gd name="T4" fmla="*/ 2147483646 w 2"/>
                <a:gd name="T5" fmla="*/ 282796201 h 3"/>
                <a:gd name="T6" fmla="*/ 0 w 2"/>
                <a:gd name="T7" fmla="*/ 28279620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7" name="Freeform 9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2147483646 w 1"/>
                <a:gd name="T1" fmla="*/ 0 h 1"/>
                <a:gd name="T2" fmla="*/ 2147483646 w 1"/>
                <a:gd name="T3" fmla="*/ 2147483646 h 1"/>
                <a:gd name="T4" fmla="*/ 0 w 1"/>
                <a:gd name="T5" fmla="*/ 2147483646 h 1"/>
                <a:gd name="T6" fmla="*/ 2147483646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8" name="Freeform 10"/>
            <p:cNvSpPr>
              <a:spLocks/>
            </p:cNvSpPr>
            <p:nvPr/>
          </p:nvSpPr>
          <p:spPr bwMode="gray">
            <a:xfrm>
              <a:off x="3458" y="2337"/>
              <a:ext cx="1" cy="1"/>
            </a:xfrm>
            <a:custGeom>
              <a:avLst/>
              <a:gdLst>
                <a:gd name="T0" fmla="*/ 0 w 1"/>
                <a:gd name="T1" fmla="*/ 2147483646 h 1"/>
                <a:gd name="T2" fmla="*/ 0 w 1"/>
                <a:gd name="T3" fmla="*/ 0 h 1"/>
                <a:gd name="T4" fmla="*/ 2147483646 w 1"/>
                <a:gd name="T5" fmla="*/ 0 h 1"/>
                <a:gd name="T6" fmla="*/ 0 w 1"/>
                <a:gd name="T7" fmla="*/ 2147483646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19" name="Freeform 12"/>
            <p:cNvSpPr>
              <a:spLocks/>
            </p:cNvSpPr>
            <p:nvPr/>
          </p:nvSpPr>
          <p:spPr bwMode="gray">
            <a:xfrm>
              <a:off x="1025" y="1580"/>
              <a:ext cx="1032" cy="703"/>
            </a:xfrm>
            <a:custGeom>
              <a:avLst/>
              <a:gdLst>
                <a:gd name="T0" fmla="*/ 2147483647 w 791"/>
                <a:gd name="T1" fmla="*/ 2147483647 h 539"/>
                <a:gd name="T2" fmla="*/ 2147483647 w 791"/>
                <a:gd name="T3" fmla="*/ 2147483647 h 539"/>
                <a:gd name="T4" fmla="*/ 2147483647 w 791"/>
                <a:gd name="T5" fmla="*/ 2147483647 h 539"/>
                <a:gd name="T6" fmla="*/ 2147483647 w 791"/>
                <a:gd name="T7" fmla="*/ 2147483647 h 539"/>
                <a:gd name="T8" fmla="*/ 2147483647 w 791"/>
                <a:gd name="T9" fmla="*/ 2147483647 h 539"/>
                <a:gd name="T10" fmla="*/ 2147483647 w 791"/>
                <a:gd name="T11" fmla="*/ 2147483647 h 539"/>
                <a:gd name="T12" fmla="*/ 2147483647 w 791"/>
                <a:gd name="T13" fmla="*/ 2147483647 h 539"/>
                <a:gd name="T14" fmla="*/ 2147483647 w 791"/>
                <a:gd name="T15" fmla="*/ 2147483647 h 539"/>
                <a:gd name="T16" fmla="*/ 2147483647 w 791"/>
                <a:gd name="T17" fmla="*/ 2147483647 h 539"/>
                <a:gd name="T18" fmla="*/ 2147483647 w 791"/>
                <a:gd name="T19" fmla="*/ 2147483647 h 539"/>
                <a:gd name="T20" fmla="*/ 2147483647 w 791"/>
                <a:gd name="T21" fmla="*/ 2147483647 h 539"/>
                <a:gd name="T22" fmla="*/ 2147483647 w 791"/>
                <a:gd name="T23" fmla="*/ 2147483647 h 539"/>
                <a:gd name="T24" fmla="*/ 2147483647 w 791"/>
                <a:gd name="T25" fmla="*/ 2147483647 h 539"/>
                <a:gd name="T26" fmla="*/ 2147483647 w 791"/>
                <a:gd name="T27" fmla="*/ 2147483647 h 539"/>
                <a:gd name="T28" fmla="*/ 2147483647 w 791"/>
                <a:gd name="T29" fmla="*/ 2147483647 h 539"/>
                <a:gd name="T30" fmla="*/ 2147483647 w 791"/>
                <a:gd name="T31" fmla="*/ 2147483647 h 539"/>
                <a:gd name="T32" fmla="*/ 2147483647 w 791"/>
                <a:gd name="T33" fmla="*/ 2147483647 h 539"/>
                <a:gd name="T34" fmla="*/ 2147483647 w 791"/>
                <a:gd name="T35" fmla="*/ 2147483647 h 539"/>
                <a:gd name="T36" fmla="*/ 2147483647 w 791"/>
                <a:gd name="T37" fmla="*/ 2147483647 h 539"/>
                <a:gd name="T38" fmla="*/ 2147483647 w 791"/>
                <a:gd name="T39" fmla="*/ 2147483647 h 539"/>
                <a:gd name="T40" fmla="*/ 2147483647 w 791"/>
                <a:gd name="T41" fmla="*/ 2147483647 h 539"/>
                <a:gd name="T42" fmla="*/ 2147483647 w 791"/>
                <a:gd name="T43" fmla="*/ 2147483647 h 539"/>
                <a:gd name="T44" fmla="*/ 2147483647 w 791"/>
                <a:gd name="T45" fmla="*/ 2147483647 h 539"/>
                <a:gd name="T46" fmla="*/ 2147483647 w 791"/>
                <a:gd name="T47" fmla="*/ 2147483647 h 539"/>
                <a:gd name="T48" fmla="*/ 2147483647 w 791"/>
                <a:gd name="T49" fmla="*/ 2147483647 h 539"/>
                <a:gd name="T50" fmla="*/ 2147483647 w 791"/>
                <a:gd name="T51" fmla="*/ 2147483647 h 539"/>
                <a:gd name="T52" fmla="*/ 2147483647 w 791"/>
                <a:gd name="T53" fmla="*/ 2147483647 h 539"/>
                <a:gd name="T54" fmla="*/ 2147483647 w 791"/>
                <a:gd name="T55" fmla="*/ 2147483647 h 539"/>
                <a:gd name="T56" fmla="*/ 2147483647 w 791"/>
                <a:gd name="T57" fmla="*/ 2147483647 h 539"/>
                <a:gd name="T58" fmla="*/ 2147483647 w 791"/>
                <a:gd name="T59" fmla="*/ 2147483647 h 539"/>
                <a:gd name="T60" fmla="*/ 2147483647 w 791"/>
                <a:gd name="T61" fmla="*/ 2147483647 h 539"/>
                <a:gd name="T62" fmla="*/ 2147483647 w 791"/>
                <a:gd name="T63" fmla="*/ 2147483647 h 539"/>
                <a:gd name="T64" fmla="*/ 2147483647 w 791"/>
                <a:gd name="T65" fmla="*/ 2147483647 h 539"/>
                <a:gd name="T66" fmla="*/ 2147483647 w 791"/>
                <a:gd name="T67" fmla="*/ 2147483647 h 539"/>
                <a:gd name="T68" fmla="*/ 2147483647 w 791"/>
                <a:gd name="T69" fmla="*/ 2147483647 h 539"/>
                <a:gd name="T70" fmla="*/ 2147483647 w 791"/>
                <a:gd name="T71" fmla="*/ 2147483647 h 539"/>
                <a:gd name="T72" fmla="*/ 2147483647 w 791"/>
                <a:gd name="T73" fmla="*/ 2147483647 h 539"/>
                <a:gd name="T74" fmla="*/ 2147483647 w 791"/>
                <a:gd name="T75" fmla="*/ 2147483647 h 539"/>
                <a:gd name="T76" fmla="*/ 2147483647 w 791"/>
                <a:gd name="T77" fmla="*/ 2147483647 h 539"/>
                <a:gd name="T78" fmla="*/ 2147483647 w 791"/>
                <a:gd name="T79" fmla="*/ 2147483647 h 539"/>
                <a:gd name="T80" fmla="*/ 2147483647 w 791"/>
                <a:gd name="T81" fmla="*/ 2147483647 h 539"/>
                <a:gd name="T82" fmla="*/ 2147483647 w 791"/>
                <a:gd name="T83" fmla="*/ 2147483647 h 539"/>
                <a:gd name="T84" fmla="*/ 2147483647 w 791"/>
                <a:gd name="T85" fmla="*/ 2147483647 h 539"/>
                <a:gd name="T86" fmla="*/ 2147483647 w 791"/>
                <a:gd name="T87" fmla="*/ 2147483647 h 539"/>
                <a:gd name="T88" fmla="*/ 2147483647 w 791"/>
                <a:gd name="T89" fmla="*/ 2147483647 h 539"/>
                <a:gd name="T90" fmla="*/ 2147483647 w 791"/>
                <a:gd name="T91" fmla="*/ 2147483647 h 539"/>
                <a:gd name="T92" fmla="*/ 2147483647 w 791"/>
                <a:gd name="T93" fmla="*/ 2147483647 h 539"/>
                <a:gd name="T94" fmla="*/ 2147483647 w 791"/>
                <a:gd name="T95" fmla="*/ 2147483647 h 539"/>
                <a:gd name="T96" fmla="*/ 2147483647 w 791"/>
                <a:gd name="T97" fmla="*/ 2147483647 h 539"/>
                <a:gd name="T98" fmla="*/ 2147483647 w 791"/>
                <a:gd name="T99" fmla="*/ 2147483647 h 539"/>
                <a:gd name="T100" fmla="*/ 2147483647 w 791"/>
                <a:gd name="T101" fmla="*/ 2147483647 h 539"/>
                <a:gd name="T102" fmla="*/ 2147483647 w 791"/>
                <a:gd name="T103" fmla="*/ 2147483647 h 539"/>
                <a:gd name="T104" fmla="*/ 2147483647 w 791"/>
                <a:gd name="T105" fmla="*/ 2147483647 h 539"/>
                <a:gd name="T106" fmla="*/ 2147483647 w 791"/>
                <a:gd name="T107" fmla="*/ 2147483647 h 539"/>
                <a:gd name="T108" fmla="*/ 2147483647 w 791"/>
                <a:gd name="T109" fmla="*/ 2147483647 h 539"/>
                <a:gd name="T110" fmla="*/ 2147483647 w 791"/>
                <a:gd name="T111" fmla="*/ 2147483647 h 539"/>
                <a:gd name="T112" fmla="*/ 2147483647 w 791"/>
                <a:gd name="T113" fmla="*/ 2147483647 h 539"/>
                <a:gd name="T114" fmla="*/ 2147483647 w 791"/>
                <a:gd name="T115" fmla="*/ 2147483647 h 539"/>
                <a:gd name="T116" fmla="*/ 2147483647 w 791"/>
                <a:gd name="T117" fmla="*/ 2147483647 h 539"/>
                <a:gd name="T118" fmla="*/ 2147483647 w 791"/>
                <a:gd name="T119" fmla="*/ 2147483647 h 5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39"/>
                <a:gd name="T182" fmla="*/ 791 w 791"/>
                <a:gd name="T183" fmla="*/ 539 h 5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39">
                  <a:moveTo>
                    <a:pt x="174" y="437"/>
                  </a:moveTo>
                  <a:lnTo>
                    <a:pt x="169" y="434"/>
                  </a:lnTo>
                  <a:lnTo>
                    <a:pt x="164" y="426"/>
                  </a:lnTo>
                  <a:lnTo>
                    <a:pt x="161" y="426"/>
                  </a:lnTo>
                  <a:lnTo>
                    <a:pt x="159" y="421"/>
                  </a:lnTo>
                  <a:lnTo>
                    <a:pt x="153" y="419"/>
                  </a:lnTo>
                  <a:lnTo>
                    <a:pt x="150" y="413"/>
                  </a:lnTo>
                  <a:lnTo>
                    <a:pt x="146" y="411"/>
                  </a:lnTo>
                  <a:lnTo>
                    <a:pt x="140" y="411"/>
                  </a:lnTo>
                  <a:lnTo>
                    <a:pt x="136" y="405"/>
                  </a:lnTo>
                  <a:lnTo>
                    <a:pt x="128" y="403"/>
                  </a:lnTo>
                  <a:lnTo>
                    <a:pt x="123" y="399"/>
                  </a:lnTo>
                  <a:lnTo>
                    <a:pt x="122" y="391"/>
                  </a:lnTo>
                  <a:lnTo>
                    <a:pt x="122" y="383"/>
                  </a:lnTo>
                  <a:lnTo>
                    <a:pt x="120" y="379"/>
                  </a:lnTo>
                  <a:lnTo>
                    <a:pt x="119" y="374"/>
                  </a:lnTo>
                  <a:lnTo>
                    <a:pt x="115" y="375"/>
                  </a:lnTo>
                  <a:lnTo>
                    <a:pt x="110" y="374"/>
                  </a:lnTo>
                  <a:lnTo>
                    <a:pt x="110" y="369"/>
                  </a:lnTo>
                  <a:lnTo>
                    <a:pt x="113" y="367"/>
                  </a:lnTo>
                  <a:lnTo>
                    <a:pt x="112" y="360"/>
                  </a:lnTo>
                  <a:lnTo>
                    <a:pt x="109" y="360"/>
                  </a:lnTo>
                  <a:lnTo>
                    <a:pt x="107" y="363"/>
                  </a:lnTo>
                  <a:lnTo>
                    <a:pt x="103" y="360"/>
                  </a:lnTo>
                  <a:lnTo>
                    <a:pt x="101" y="355"/>
                  </a:lnTo>
                  <a:lnTo>
                    <a:pt x="100" y="346"/>
                  </a:lnTo>
                  <a:lnTo>
                    <a:pt x="101" y="340"/>
                  </a:lnTo>
                  <a:lnTo>
                    <a:pt x="103" y="336"/>
                  </a:lnTo>
                  <a:lnTo>
                    <a:pt x="102" y="328"/>
                  </a:lnTo>
                  <a:lnTo>
                    <a:pt x="104" y="319"/>
                  </a:lnTo>
                  <a:lnTo>
                    <a:pt x="92" y="310"/>
                  </a:lnTo>
                  <a:lnTo>
                    <a:pt x="85" y="303"/>
                  </a:lnTo>
                  <a:lnTo>
                    <a:pt x="73" y="273"/>
                  </a:lnTo>
                  <a:lnTo>
                    <a:pt x="67" y="268"/>
                  </a:lnTo>
                  <a:lnTo>
                    <a:pt x="60" y="255"/>
                  </a:lnTo>
                  <a:lnTo>
                    <a:pt x="53" y="249"/>
                  </a:lnTo>
                  <a:lnTo>
                    <a:pt x="46" y="251"/>
                  </a:lnTo>
                  <a:lnTo>
                    <a:pt x="39" y="260"/>
                  </a:lnTo>
                  <a:lnTo>
                    <a:pt x="35" y="260"/>
                  </a:lnTo>
                  <a:lnTo>
                    <a:pt x="21" y="237"/>
                  </a:lnTo>
                  <a:lnTo>
                    <a:pt x="17" y="231"/>
                  </a:lnTo>
                  <a:lnTo>
                    <a:pt x="13" y="234"/>
                  </a:lnTo>
                  <a:lnTo>
                    <a:pt x="11" y="240"/>
                  </a:lnTo>
                  <a:lnTo>
                    <a:pt x="0" y="233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5" y="46"/>
                  </a:lnTo>
                  <a:lnTo>
                    <a:pt x="17" y="46"/>
                  </a:lnTo>
                  <a:lnTo>
                    <a:pt x="24" y="51"/>
                  </a:lnTo>
                  <a:lnTo>
                    <a:pt x="32" y="55"/>
                  </a:lnTo>
                  <a:lnTo>
                    <a:pt x="39" y="55"/>
                  </a:lnTo>
                  <a:lnTo>
                    <a:pt x="45" y="58"/>
                  </a:lnTo>
                  <a:lnTo>
                    <a:pt x="54" y="60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50" y="55"/>
                  </a:lnTo>
                  <a:lnTo>
                    <a:pt x="48" y="52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4"/>
                  </a:lnTo>
                  <a:lnTo>
                    <a:pt x="68" y="45"/>
                  </a:lnTo>
                  <a:lnTo>
                    <a:pt x="67" y="47"/>
                  </a:lnTo>
                  <a:lnTo>
                    <a:pt x="73" y="47"/>
                  </a:lnTo>
                  <a:lnTo>
                    <a:pt x="74" y="45"/>
                  </a:lnTo>
                  <a:lnTo>
                    <a:pt x="81" y="42"/>
                  </a:lnTo>
                  <a:lnTo>
                    <a:pt x="86" y="42"/>
                  </a:lnTo>
                  <a:lnTo>
                    <a:pt x="91" y="38"/>
                  </a:lnTo>
                  <a:lnTo>
                    <a:pt x="94" y="38"/>
                  </a:lnTo>
                  <a:lnTo>
                    <a:pt x="99" y="35"/>
                  </a:lnTo>
                  <a:lnTo>
                    <a:pt x="101" y="36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94" y="43"/>
                  </a:lnTo>
                  <a:lnTo>
                    <a:pt x="89" y="43"/>
                  </a:lnTo>
                  <a:lnTo>
                    <a:pt x="81" y="47"/>
                  </a:lnTo>
                  <a:lnTo>
                    <a:pt x="80" y="50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2" y="55"/>
                  </a:lnTo>
                  <a:lnTo>
                    <a:pt x="73" y="58"/>
                  </a:lnTo>
                  <a:lnTo>
                    <a:pt x="79" y="57"/>
                  </a:lnTo>
                  <a:lnTo>
                    <a:pt x="81" y="53"/>
                  </a:lnTo>
                  <a:lnTo>
                    <a:pt x="92" y="47"/>
                  </a:lnTo>
                  <a:lnTo>
                    <a:pt x="94" y="48"/>
                  </a:lnTo>
                  <a:lnTo>
                    <a:pt x="99" y="43"/>
                  </a:lnTo>
                  <a:lnTo>
                    <a:pt x="109" y="40"/>
                  </a:lnTo>
                  <a:lnTo>
                    <a:pt x="113" y="38"/>
                  </a:lnTo>
                  <a:lnTo>
                    <a:pt x="113" y="41"/>
                  </a:lnTo>
                  <a:lnTo>
                    <a:pt x="119" y="37"/>
                  </a:lnTo>
                  <a:lnTo>
                    <a:pt x="119" y="33"/>
                  </a:lnTo>
                  <a:lnTo>
                    <a:pt x="122" y="33"/>
                  </a:lnTo>
                  <a:lnTo>
                    <a:pt x="123" y="32"/>
                  </a:lnTo>
                  <a:lnTo>
                    <a:pt x="120" y="30"/>
                  </a:lnTo>
                  <a:lnTo>
                    <a:pt x="120" y="26"/>
                  </a:lnTo>
                  <a:lnTo>
                    <a:pt x="132" y="35"/>
                  </a:lnTo>
                  <a:lnTo>
                    <a:pt x="132" y="41"/>
                  </a:lnTo>
                  <a:lnTo>
                    <a:pt x="140" y="47"/>
                  </a:lnTo>
                  <a:lnTo>
                    <a:pt x="145" y="49"/>
                  </a:lnTo>
                  <a:lnTo>
                    <a:pt x="146" y="43"/>
                  </a:lnTo>
                  <a:lnTo>
                    <a:pt x="148" y="43"/>
                  </a:lnTo>
                  <a:lnTo>
                    <a:pt x="147" y="37"/>
                  </a:lnTo>
                  <a:lnTo>
                    <a:pt x="155" y="34"/>
                  </a:lnTo>
                  <a:lnTo>
                    <a:pt x="156" y="38"/>
                  </a:lnTo>
                  <a:lnTo>
                    <a:pt x="154" y="39"/>
                  </a:lnTo>
                  <a:lnTo>
                    <a:pt x="153" y="41"/>
                  </a:lnTo>
                  <a:lnTo>
                    <a:pt x="158" y="43"/>
                  </a:lnTo>
                  <a:lnTo>
                    <a:pt x="155" y="47"/>
                  </a:lnTo>
                  <a:lnTo>
                    <a:pt x="155" y="48"/>
                  </a:lnTo>
                  <a:lnTo>
                    <a:pt x="162" y="49"/>
                  </a:lnTo>
                  <a:lnTo>
                    <a:pt x="168" y="44"/>
                  </a:lnTo>
                  <a:lnTo>
                    <a:pt x="168" y="40"/>
                  </a:lnTo>
                  <a:lnTo>
                    <a:pt x="178" y="39"/>
                  </a:lnTo>
                  <a:lnTo>
                    <a:pt x="193" y="48"/>
                  </a:lnTo>
                  <a:lnTo>
                    <a:pt x="197" y="48"/>
                  </a:lnTo>
                  <a:lnTo>
                    <a:pt x="206" y="50"/>
                  </a:lnTo>
                  <a:lnTo>
                    <a:pt x="215" y="54"/>
                  </a:lnTo>
                  <a:lnTo>
                    <a:pt x="220" y="54"/>
                  </a:lnTo>
                  <a:lnTo>
                    <a:pt x="226" y="55"/>
                  </a:lnTo>
                  <a:lnTo>
                    <a:pt x="232" y="55"/>
                  </a:lnTo>
                  <a:lnTo>
                    <a:pt x="233" y="54"/>
                  </a:lnTo>
                  <a:lnTo>
                    <a:pt x="239" y="54"/>
                  </a:lnTo>
                  <a:lnTo>
                    <a:pt x="253" y="64"/>
                  </a:lnTo>
                  <a:lnTo>
                    <a:pt x="245" y="66"/>
                  </a:lnTo>
                  <a:lnTo>
                    <a:pt x="244" y="67"/>
                  </a:lnTo>
                  <a:lnTo>
                    <a:pt x="240" y="69"/>
                  </a:lnTo>
                  <a:lnTo>
                    <a:pt x="238" y="71"/>
                  </a:lnTo>
                  <a:lnTo>
                    <a:pt x="240" y="73"/>
                  </a:lnTo>
                  <a:lnTo>
                    <a:pt x="249" y="74"/>
                  </a:lnTo>
                  <a:lnTo>
                    <a:pt x="253" y="75"/>
                  </a:lnTo>
                  <a:lnTo>
                    <a:pt x="268" y="76"/>
                  </a:lnTo>
                  <a:lnTo>
                    <a:pt x="276" y="75"/>
                  </a:lnTo>
                  <a:lnTo>
                    <a:pt x="288" y="71"/>
                  </a:lnTo>
                  <a:lnTo>
                    <a:pt x="291" y="73"/>
                  </a:lnTo>
                  <a:lnTo>
                    <a:pt x="296" y="74"/>
                  </a:lnTo>
                  <a:lnTo>
                    <a:pt x="300" y="78"/>
                  </a:lnTo>
                  <a:lnTo>
                    <a:pt x="302" y="78"/>
                  </a:lnTo>
                  <a:lnTo>
                    <a:pt x="307" y="82"/>
                  </a:lnTo>
                  <a:lnTo>
                    <a:pt x="304" y="86"/>
                  </a:lnTo>
                  <a:lnTo>
                    <a:pt x="306" y="89"/>
                  </a:lnTo>
                  <a:lnTo>
                    <a:pt x="312" y="92"/>
                  </a:lnTo>
                  <a:lnTo>
                    <a:pt x="312" y="87"/>
                  </a:lnTo>
                  <a:lnTo>
                    <a:pt x="316" y="85"/>
                  </a:lnTo>
                  <a:lnTo>
                    <a:pt x="312" y="82"/>
                  </a:lnTo>
                  <a:lnTo>
                    <a:pt x="308" y="75"/>
                  </a:lnTo>
                  <a:lnTo>
                    <a:pt x="310" y="70"/>
                  </a:lnTo>
                  <a:lnTo>
                    <a:pt x="318" y="70"/>
                  </a:lnTo>
                  <a:lnTo>
                    <a:pt x="326" y="64"/>
                  </a:lnTo>
                  <a:lnTo>
                    <a:pt x="326" y="62"/>
                  </a:lnTo>
                  <a:lnTo>
                    <a:pt x="329" y="61"/>
                  </a:lnTo>
                  <a:lnTo>
                    <a:pt x="331" y="62"/>
                  </a:lnTo>
                  <a:lnTo>
                    <a:pt x="332" y="64"/>
                  </a:lnTo>
                  <a:lnTo>
                    <a:pt x="339" y="69"/>
                  </a:lnTo>
                  <a:lnTo>
                    <a:pt x="343" y="69"/>
                  </a:lnTo>
                  <a:lnTo>
                    <a:pt x="352" y="69"/>
                  </a:lnTo>
                  <a:lnTo>
                    <a:pt x="355" y="73"/>
                  </a:lnTo>
                  <a:lnTo>
                    <a:pt x="364" y="75"/>
                  </a:lnTo>
                  <a:lnTo>
                    <a:pt x="367" y="73"/>
                  </a:lnTo>
                  <a:lnTo>
                    <a:pt x="372" y="74"/>
                  </a:lnTo>
                  <a:lnTo>
                    <a:pt x="383" y="72"/>
                  </a:lnTo>
                  <a:lnTo>
                    <a:pt x="388" y="74"/>
                  </a:lnTo>
                  <a:lnTo>
                    <a:pt x="392" y="74"/>
                  </a:lnTo>
                  <a:lnTo>
                    <a:pt x="395" y="64"/>
                  </a:lnTo>
                  <a:lnTo>
                    <a:pt x="401" y="64"/>
                  </a:lnTo>
                  <a:lnTo>
                    <a:pt x="404" y="62"/>
                  </a:lnTo>
                  <a:lnTo>
                    <a:pt x="408" y="64"/>
                  </a:lnTo>
                  <a:lnTo>
                    <a:pt x="415" y="67"/>
                  </a:lnTo>
                  <a:lnTo>
                    <a:pt x="419" y="68"/>
                  </a:lnTo>
                  <a:lnTo>
                    <a:pt x="419" y="72"/>
                  </a:lnTo>
                  <a:lnTo>
                    <a:pt x="416" y="74"/>
                  </a:lnTo>
                  <a:lnTo>
                    <a:pt x="417" y="79"/>
                  </a:lnTo>
                  <a:lnTo>
                    <a:pt x="425" y="81"/>
                  </a:lnTo>
                  <a:lnTo>
                    <a:pt x="427" y="78"/>
                  </a:lnTo>
                  <a:lnTo>
                    <a:pt x="422" y="73"/>
                  </a:lnTo>
                  <a:lnTo>
                    <a:pt x="423" y="70"/>
                  </a:lnTo>
                  <a:lnTo>
                    <a:pt x="428" y="68"/>
                  </a:lnTo>
                  <a:lnTo>
                    <a:pt x="432" y="68"/>
                  </a:lnTo>
                  <a:lnTo>
                    <a:pt x="436" y="65"/>
                  </a:lnTo>
                  <a:lnTo>
                    <a:pt x="440" y="62"/>
                  </a:lnTo>
                  <a:lnTo>
                    <a:pt x="443" y="58"/>
                  </a:lnTo>
                  <a:lnTo>
                    <a:pt x="440" y="55"/>
                  </a:lnTo>
                  <a:lnTo>
                    <a:pt x="438" y="56"/>
                  </a:lnTo>
                  <a:lnTo>
                    <a:pt x="434" y="58"/>
                  </a:lnTo>
                  <a:lnTo>
                    <a:pt x="431" y="56"/>
                  </a:lnTo>
                  <a:lnTo>
                    <a:pt x="434" y="49"/>
                  </a:lnTo>
                  <a:lnTo>
                    <a:pt x="441" y="46"/>
                  </a:lnTo>
                  <a:lnTo>
                    <a:pt x="440" y="44"/>
                  </a:lnTo>
                  <a:lnTo>
                    <a:pt x="436" y="45"/>
                  </a:lnTo>
                  <a:lnTo>
                    <a:pt x="431" y="44"/>
                  </a:lnTo>
                  <a:lnTo>
                    <a:pt x="430" y="41"/>
                  </a:lnTo>
                  <a:lnTo>
                    <a:pt x="427" y="41"/>
                  </a:lnTo>
                  <a:lnTo>
                    <a:pt x="423" y="40"/>
                  </a:lnTo>
                  <a:lnTo>
                    <a:pt x="417" y="37"/>
                  </a:lnTo>
                  <a:lnTo>
                    <a:pt x="413" y="34"/>
                  </a:lnTo>
                  <a:lnTo>
                    <a:pt x="415" y="26"/>
                  </a:lnTo>
                  <a:lnTo>
                    <a:pt x="419" y="26"/>
                  </a:lnTo>
                  <a:lnTo>
                    <a:pt x="419" y="24"/>
                  </a:lnTo>
                  <a:lnTo>
                    <a:pt x="417" y="24"/>
                  </a:lnTo>
                  <a:lnTo>
                    <a:pt x="413" y="21"/>
                  </a:lnTo>
                  <a:lnTo>
                    <a:pt x="417" y="11"/>
                  </a:lnTo>
                  <a:lnTo>
                    <a:pt x="419" y="10"/>
                  </a:lnTo>
                  <a:lnTo>
                    <a:pt x="421" y="11"/>
                  </a:lnTo>
                  <a:lnTo>
                    <a:pt x="425" y="8"/>
                  </a:lnTo>
                  <a:lnTo>
                    <a:pt x="421" y="6"/>
                  </a:lnTo>
                  <a:lnTo>
                    <a:pt x="424" y="3"/>
                  </a:lnTo>
                  <a:lnTo>
                    <a:pt x="427" y="3"/>
                  </a:lnTo>
                  <a:lnTo>
                    <a:pt x="429" y="0"/>
                  </a:lnTo>
                  <a:lnTo>
                    <a:pt x="433" y="1"/>
                  </a:lnTo>
                  <a:lnTo>
                    <a:pt x="436" y="3"/>
                  </a:lnTo>
                  <a:lnTo>
                    <a:pt x="440" y="4"/>
                  </a:lnTo>
                  <a:lnTo>
                    <a:pt x="445" y="5"/>
                  </a:lnTo>
                  <a:lnTo>
                    <a:pt x="447" y="10"/>
                  </a:lnTo>
                  <a:lnTo>
                    <a:pt x="449" y="11"/>
                  </a:lnTo>
                  <a:lnTo>
                    <a:pt x="449" y="20"/>
                  </a:lnTo>
                  <a:lnTo>
                    <a:pt x="460" y="30"/>
                  </a:lnTo>
                  <a:lnTo>
                    <a:pt x="460" y="34"/>
                  </a:lnTo>
                  <a:lnTo>
                    <a:pt x="455" y="34"/>
                  </a:lnTo>
                  <a:lnTo>
                    <a:pt x="453" y="34"/>
                  </a:lnTo>
                  <a:lnTo>
                    <a:pt x="454" y="37"/>
                  </a:lnTo>
                  <a:lnTo>
                    <a:pt x="451" y="40"/>
                  </a:lnTo>
                  <a:lnTo>
                    <a:pt x="458" y="44"/>
                  </a:lnTo>
                  <a:lnTo>
                    <a:pt x="465" y="43"/>
                  </a:lnTo>
                  <a:lnTo>
                    <a:pt x="470" y="46"/>
                  </a:lnTo>
                  <a:lnTo>
                    <a:pt x="471" y="48"/>
                  </a:lnTo>
                  <a:lnTo>
                    <a:pt x="466" y="48"/>
                  </a:lnTo>
                  <a:lnTo>
                    <a:pt x="464" y="50"/>
                  </a:lnTo>
                  <a:lnTo>
                    <a:pt x="471" y="55"/>
                  </a:lnTo>
                  <a:lnTo>
                    <a:pt x="471" y="63"/>
                  </a:lnTo>
                  <a:lnTo>
                    <a:pt x="473" y="65"/>
                  </a:lnTo>
                  <a:lnTo>
                    <a:pt x="477" y="64"/>
                  </a:lnTo>
                  <a:lnTo>
                    <a:pt x="478" y="58"/>
                  </a:lnTo>
                  <a:lnTo>
                    <a:pt x="478" y="54"/>
                  </a:lnTo>
                  <a:lnTo>
                    <a:pt x="483" y="51"/>
                  </a:lnTo>
                  <a:lnTo>
                    <a:pt x="485" y="53"/>
                  </a:lnTo>
                  <a:lnTo>
                    <a:pt x="494" y="58"/>
                  </a:lnTo>
                  <a:lnTo>
                    <a:pt x="496" y="62"/>
                  </a:lnTo>
                  <a:lnTo>
                    <a:pt x="497" y="65"/>
                  </a:lnTo>
                  <a:lnTo>
                    <a:pt x="492" y="66"/>
                  </a:lnTo>
                  <a:lnTo>
                    <a:pt x="491" y="75"/>
                  </a:lnTo>
                  <a:lnTo>
                    <a:pt x="500" y="83"/>
                  </a:lnTo>
                  <a:lnTo>
                    <a:pt x="502" y="83"/>
                  </a:lnTo>
                  <a:lnTo>
                    <a:pt x="502" y="79"/>
                  </a:lnTo>
                  <a:lnTo>
                    <a:pt x="507" y="78"/>
                  </a:lnTo>
                  <a:lnTo>
                    <a:pt x="509" y="75"/>
                  </a:lnTo>
                  <a:lnTo>
                    <a:pt x="513" y="69"/>
                  </a:lnTo>
                  <a:lnTo>
                    <a:pt x="515" y="63"/>
                  </a:lnTo>
                  <a:lnTo>
                    <a:pt x="516" y="58"/>
                  </a:lnTo>
                  <a:lnTo>
                    <a:pt x="521" y="55"/>
                  </a:lnTo>
                  <a:lnTo>
                    <a:pt x="521" y="52"/>
                  </a:lnTo>
                  <a:lnTo>
                    <a:pt x="519" y="51"/>
                  </a:lnTo>
                  <a:lnTo>
                    <a:pt x="519" y="41"/>
                  </a:lnTo>
                  <a:lnTo>
                    <a:pt x="521" y="40"/>
                  </a:lnTo>
                  <a:lnTo>
                    <a:pt x="527" y="39"/>
                  </a:lnTo>
                  <a:lnTo>
                    <a:pt x="531" y="41"/>
                  </a:lnTo>
                  <a:lnTo>
                    <a:pt x="536" y="42"/>
                  </a:lnTo>
                  <a:lnTo>
                    <a:pt x="544" y="42"/>
                  </a:lnTo>
                  <a:lnTo>
                    <a:pt x="547" y="43"/>
                  </a:lnTo>
                  <a:lnTo>
                    <a:pt x="544" y="45"/>
                  </a:lnTo>
                  <a:lnTo>
                    <a:pt x="546" y="47"/>
                  </a:lnTo>
                  <a:lnTo>
                    <a:pt x="549" y="49"/>
                  </a:lnTo>
                  <a:lnTo>
                    <a:pt x="553" y="49"/>
                  </a:lnTo>
                  <a:lnTo>
                    <a:pt x="554" y="52"/>
                  </a:lnTo>
                  <a:lnTo>
                    <a:pt x="551" y="56"/>
                  </a:lnTo>
                  <a:lnTo>
                    <a:pt x="555" y="59"/>
                  </a:lnTo>
                  <a:lnTo>
                    <a:pt x="553" y="64"/>
                  </a:lnTo>
                  <a:lnTo>
                    <a:pt x="548" y="64"/>
                  </a:lnTo>
                  <a:lnTo>
                    <a:pt x="546" y="65"/>
                  </a:lnTo>
                  <a:lnTo>
                    <a:pt x="548" y="70"/>
                  </a:lnTo>
                  <a:lnTo>
                    <a:pt x="552" y="72"/>
                  </a:lnTo>
                  <a:lnTo>
                    <a:pt x="557" y="78"/>
                  </a:lnTo>
                  <a:lnTo>
                    <a:pt x="552" y="85"/>
                  </a:lnTo>
                  <a:lnTo>
                    <a:pt x="552" y="89"/>
                  </a:lnTo>
                  <a:lnTo>
                    <a:pt x="544" y="92"/>
                  </a:lnTo>
                  <a:lnTo>
                    <a:pt x="540" y="95"/>
                  </a:lnTo>
                  <a:lnTo>
                    <a:pt x="535" y="94"/>
                  </a:lnTo>
                  <a:lnTo>
                    <a:pt x="532" y="90"/>
                  </a:lnTo>
                  <a:lnTo>
                    <a:pt x="529" y="88"/>
                  </a:lnTo>
                  <a:lnTo>
                    <a:pt x="525" y="87"/>
                  </a:lnTo>
                  <a:lnTo>
                    <a:pt x="523" y="88"/>
                  </a:lnTo>
                  <a:lnTo>
                    <a:pt x="525" y="90"/>
                  </a:lnTo>
                  <a:lnTo>
                    <a:pt x="531" y="95"/>
                  </a:lnTo>
                  <a:lnTo>
                    <a:pt x="531" y="99"/>
                  </a:lnTo>
                  <a:lnTo>
                    <a:pt x="525" y="101"/>
                  </a:lnTo>
                  <a:lnTo>
                    <a:pt x="521" y="101"/>
                  </a:lnTo>
                  <a:lnTo>
                    <a:pt x="517" y="99"/>
                  </a:lnTo>
                  <a:lnTo>
                    <a:pt x="515" y="94"/>
                  </a:lnTo>
                  <a:lnTo>
                    <a:pt x="508" y="94"/>
                  </a:lnTo>
                  <a:lnTo>
                    <a:pt x="507" y="98"/>
                  </a:lnTo>
                  <a:lnTo>
                    <a:pt x="510" y="101"/>
                  </a:lnTo>
                  <a:lnTo>
                    <a:pt x="514" y="101"/>
                  </a:lnTo>
                  <a:lnTo>
                    <a:pt x="513" y="109"/>
                  </a:lnTo>
                  <a:lnTo>
                    <a:pt x="506" y="115"/>
                  </a:lnTo>
                  <a:lnTo>
                    <a:pt x="500" y="121"/>
                  </a:lnTo>
                  <a:lnTo>
                    <a:pt x="492" y="120"/>
                  </a:lnTo>
                  <a:lnTo>
                    <a:pt x="485" y="113"/>
                  </a:lnTo>
                  <a:lnTo>
                    <a:pt x="477" y="110"/>
                  </a:lnTo>
                  <a:lnTo>
                    <a:pt x="474" y="112"/>
                  </a:lnTo>
                  <a:lnTo>
                    <a:pt x="478" y="115"/>
                  </a:lnTo>
                  <a:lnTo>
                    <a:pt x="487" y="124"/>
                  </a:lnTo>
                  <a:lnTo>
                    <a:pt x="496" y="125"/>
                  </a:lnTo>
                  <a:lnTo>
                    <a:pt x="499" y="127"/>
                  </a:lnTo>
                  <a:lnTo>
                    <a:pt x="501" y="131"/>
                  </a:lnTo>
                  <a:lnTo>
                    <a:pt x="499" y="139"/>
                  </a:lnTo>
                  <a:lnTo>
                    <a:pt x="498" y="144"/>
                  </a:lnTo>
                  <a:lnTo>
                    <a:pt x="493" y="149"/>
                  </a:lnTo>
                  <a:lnTo>
                    <a:pt x="489" y="157"/>
                  </a:lnTo>
                  <a:lnTo>
                    <a:pt x="482" y="158"/>
                  </a:lnTo>
                  <a:lnTo>
                    <a:pt x="479" y="155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5" y="161"/>
                  </a:lnTo>
                  <a:lnTo>
                    <a:pt x="461" y="162"/>
                  </a:lnTo>
                  <a:lnTo>
                    <a:pt x="466" y="167"/>
                  </a:lnTo>
                  <a:lnTo>
                    <a:pt x="470" y="172"/>
                  </a:lnTo>
                  <a:lnTo>
                    <a:pt x="470" y="176"/>
                  </a:lnTo>
                  <a:lnTo>
                    <a:pt x="462" y="179"/>
                  </a:lnTo>
                  <a:lnTo>
                    <a:pt x="458" y="179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6" y="188"/>
                  </a:lnTo>
                  <a:lnTo>
                    <a:pt x="450" y="190"/>
                  </a:lnTo>
                  <a:lnTo>
                    <a:pt x="448" y="197"/>
                  </a:lnTo>
                  <a:lnTo>
                    <a:pt x="444" y="198"/>
                  </a:lnTo>
                  <a:lnTo>
                    <a:pt x="443" y="203"/>
                  </a:lnTo>
                  <a:lnTo>
                    <a:pt x="438" y="208"/>
                  </a:lnTo>
                  <a:lnTo>
                    <a:pt x="436" y="219"/>
                  </a:lnTo>
                  <a:lnTo>
                    <a:pt x="431" y="227"/>
                  </a:lnTo>
                  <a:lnTo>
                    <a:pt x="430" y="243"/>
                  </a:lnTo>
                  <a:lnTo>
                    <a:pt x="430" y="245"/>
                  </a:lnTo>
                  <a:lnTo>
                    <a:pt x="430" y="256"/>
                  </a:lnTo>
                  <a:lnTo>
                    <a:pt x="436" y="263"/>
                  </a:lnTo>
                  <a:lnTo>
                    <a:pt x="443" y="264"/>
                  </a:lnTo>
                  <a:lnTo>
                    <a:pt x="447" y="266"/>
                  </a:lnTo>
                  <a:lnTo>
                    <a:pt x="450" y="281"/>
                  </a:lnTo>
                  <a:lnTo>
                    <a:pt x="454" y="288"/>
                  </a:lnTo>
                  <a:lnTo>
                    <a:pt x="452" y="296"/>
                  </a:lnTo>
                  <a:lnTo>
                    <a:pt x="452" y="298"/>
                  </a:lnTo>
                  <a:lnTo>
                    <a:pt x="461" y="294"/>
                  </a:lnTo>
                  <a:lnTo>
                    <a:pt x="468" y="294"/>
                  </a:lnTo>
                  <a:lnTo>
                    <a:pt x="471" y="296"/>
                  </a:lnTo>
                  <a:lnTo>
                    <a:pt x="475" y="296"/>
                  </a:lnTo>
                  <a:lnTo>
                    <a:pt x="485" y="303"/>
                  </a:lnTo>
                  <a:lnTo>
                    <a:pt x="490" y="307"/>
                  </a:lnTo>
                  <a:lnTo>
                    <a:pt x="493" y="307"/>
                  </a:lnTo>
                  <a:lnTo>
                    <a:pt x="495" y="308"/>
                  </a:lnTo>
                  <a:lnTo>
                    <a:pt x="496" y="315"/>
                  </a:lnTo>
                  <a:lnTo>
                    <a:pt x="502" y="319"/>
                  </a:lnTo>
                  <a:lnTo>
                    <a:pt x="511" y="320"/>
                  </a:lnTo>
                  <a:lnTo>
                    <a:pt x="516" y="327"/>
                  </a:lnTo>
                  <a:lnTo>
                    <a:pt x="523" y="327"/>
                  </a:lnTo>
                  <a:lnTo>
                    <a:pt x="527" y="330"/>
                  </a:lnTo>
                  <a:lnTo>
                    <a:pt x="535" y="331"/>
                  </a:lnTo>
                  <a:lnTo>
                    <a:pt x="543" y="329"/>
                  </a:lnTo>
                  <a:lnTo>
                    <a:pt x="548" y="333"/>
                  </a:lnTo>
                  <a:lnTo>
                    <a:pt x="547" y="347"/>
                  </a:lnTo>
                  <a:lnTo>
                    <a:pt x="549" y="354"/>
                  </a:lnTo>
                  <a:lnTo>
                    <a:pt x="548" y="367"/>
                  </a:lnTo>
                  <a:lnTo>
                    <a:pt x="546" y="370"/>
                  </a:lnTo>
                  <a:lnTo>
                    <a:pt x="546" y="374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7" y="385"/>
                  </a:lnTo>
                  <a:lnTo>
                    <a:pt x="562" y="393"/>
                  </a:lnTo>
                  <a:lnTo>
                    <a:pt x="561" y="397"/>
                  </a:lnTo>
                  <a:lnTo>
                    <a:pt x="566" y="397"/>
                  </a:lnTo>
                  <a:lnTo>
                    <a:pt x="569" y="398"/>
                  </a:lnTo>
                  <a:lnTo>
                    <a:pt x="571" y="392"/>
                  </a:lnTo>
                  <a:lnTo>
                    <a:pt x="575" y="396"/>
                  </a:lnTo>
                  <a:lnTo>
                    <a:pt x="576" y="390"/>
                  </a:lnTo>
                  <a:lnTo>
                    <a:pt x="580" y="384"/>
                  </a:lnTo>
                  <a:lnTo>
                    <a:pt x="581" y="379"/>
                  </a:lnTo>
                  <a:lnTo>
                    <a:pt x="578" y="375"/>
                  </a:lnTo>
                  <a:lnTo>
                    <a:pt x="576" y="369"/>
                  </a:lnTo>
                  <a:lnTo>
                    <a:pt x="576" y="358"/>
                  </a:lnTo>
                  <a:lnTo>
                    <a:pt x="574" y="349"/>
                  </a:lnTo>
                  <a:lnTo>
                    <a:pt x="570" y="343"/>
                  </a:lnTo>
                  <a:lnTo>
                    <a:pt x="572" y="339"/>
                  </a:lnTo>
                  <a:lnTo>
                    <a:pt x="578" y="339"/>
                  </a:lnTo>
                  <a:lnTo>
                    <a:pt x="578" y="335"/>
                  </a:lnTo>
                  <a:lnTo>
                    <a:pt x="583" y="333"/>
                  </a:lnTo>
                  <a:lnTo>
                    <a:pt x="588" y="327"/>
                  </a:lnTo>
                  <a:lnTo>
                    <a:pt x="590" y="324"/>
                  </a:lnTo>
                  <a:lnTo>
                    <a:pt x="595" y="319"/>
                  </a:lnTo>
                  <a:lnTo>
                    <a:pt x="598" y="302"/>
                  </a:lnTo>
                  <a:lnTo>
                    <a:pt x="594" y="284"/>
                  </a:lnTo>
                  <a:lnTo>
                    <a:pt x="587" y="276"/>
                  </a:lnTo>
                  <a:lnTo>
                    <a:pt x="580" y="268"/>
                  </a:lnTo>
                  <a:lnTo>
                    <a:pt x="579" y="262"/>
                  </a:lnTo>
                  <a:lnTo>
                    <a:pt x="583" y="257"/>
                  </a:lnTo>
                  <a:lnTo>
                    <a:pt x="583" y="253"/>
                  </a:lnTo>
                  <a:lnTo>
                    <a:pt x="588" y="247"/>
                  </a:lnTo>
                  <a:lnTo>
                    <a:pt x="590" y="240"/>
                  </a:lnTo>
                  <a:lnTo>
                    <a:pt x="588" y="235"/>
                  </a:lnTo>
                  <a:lnTo>
                    <a:pt x="586" y="228"/>
                  </a:lnTo>
                  <a:lnTo>
                    <a:pt x="583" y="223"/>
                  </a:lnTo>
                  <a:lnTo>
                    <a:pt x="581" y="219"/>
                  </a:lnTo>
                  <a:lnTo>
                    <a:pt x="584" y="219"/>
                  </a:lnTo>
                  <a:lnTo>
                    <a:pt x="588" y="216"/>
                  </a:lnTo>
                  <a:lnTo>
                    <a:pt x="588" y="209"/>
                  </a:lnTo>
                  <a:lnTo>
                    <a:pt x="583" y="202"/>
                  </a:lnTo>
                  <a:lnTo>
                    <a:pt x="583" y="189"/>
                  </a:lnTo>
                  <a:lnTo>
                    <a:pt x="586" y="187"/>
                  </a:lnTo>
                  <a:lnTo>
                    <a:pt x="592" y="187"/>
                  </a:lnTo>
                  <a:lnTo>
                    <a:pt x="594" y="189"/>
                  </a:lnTo>
                  <a:lnTo>
                    <a:pt x="601" y="194"/>
                  </a:lnTo>
                  <a:lnTo>
                    <a:pt x="609" y="195"/>
                  </a:lnTo>
                  <a:lnTo>
                    <a:pt x="613" y="195"/>
                  </a:lnTo>
                  <a:lnTo>
                    <a:pt x="615" y="191"/>
                  </a:lnTo>
                  <a:lnTo>
                    <a:pt x="623" y="190"/>
                  </a:lnTo>
                  <a:lnTo>
                    <a:pt x="628" y="193"/>
                  </a:lnTo>
                  <a:lnTo>
                    <a:pt x="630" y="197"/>
                  </a:lnTo>
                  <a:lnTo>
                    <a:pt x="635" y="199"/>
                  </a:lnTo>
                  <a:lnTo>
                    <a:pt x="638" y="206"/>
                  </a:lnTo>
                  <a:lnTo>
                    <a:pt x="642" y="207"/>
                  </a:lnTo>
                  <a:lnTo>
                    <a:pt x="641" y="212"/>
                  </a:lnTo>
                  <a:lnTo>
                    <a:pt x="644" y="217"/>
                  </a:lnTo>
                  <a:lnTo>
                    <a:pt x="654" y="218"/>
                  </a:lnTo>
                  <a:lnTo>
                    <a:pt x="657" y="220"/>
                  </a:lnTo>
                  <a:lnTo>
                    <a:pt x="660" y="219"/>
                  </a:lnTo>
                  <a:lnTo>
                    <a:pt x="664" y="220"/>
                  </a:lnTo>
                  <a:lnTo>
                    <a:pt x="664" y="225"/>
                  </a:lnTo>
                  <a:lnTo>
                    <a:pt x="661" y="228"/>
                  </a:lnTo>
                  <a:lnTo>
                    <a:pt x="661" y="237"/>
                  </a:lnTo>
                  <a:lnTo>
                    <a:pt x="657" y="241"/>
                  </a:lnTo>
                  <a:lnTo>
                    <a:pt x="661" y="245"/>
                  </a:lnTo>
                  <a:lnTo>
                    <a:pt x="662" y="250"/>
                  </a:lnTo>
                  <a:lnTo>
                    <a:pt x="660" y="251"/>
                  </a:lnTo>
                  <a:lnTo>
                    <a:pt x="658" y="252"/>
                  </a:lnTo>
                  <a:lnTo>
                    <a:pt x="657" y="252"/>
                  </a:lnTo>
                  <a:lnTo>
                    <a:pt x="656" y="252"/>
                  </a:lnTo>
                  <a:lnTo>
                    <a:pt x="657" y="253"/>
                  </a:lnTo>
                  <a:lnTo>
                    <a:pt x="658" y="255"/>
                  </a:lnTo>
                  <a:lnTo>
                    <a:pt x="662" y="255"/>
                  </a:lnTo>
                  <a:lnTo>
                    <a:pt x="664" y="257"/>
                  </a:lnTo>
                  <a:lnTo>
                    <a:pt x="662" y="260"/>
                  </a:lnTo>
                  <a:lnTo>
                    <a:pt x="655" y="264"/>
                  </a:lnTo>
                  <a:lnTo>
                    <a:pt x="656" y="266"/>
                  </a:lnTo>
                  <a:lnTo>
                    <a:pt x="662" y="265"/>
                  </a:lnTo>
                  <a:lnTo>
                    <a:pt x="667" y="260"/>
                  </a:lnTo>
                  <a:lnTo>
                    <a:pt x="675" y="269"/>
                  </a:lnTo>
                  <a:lnTo>
                    <a:pt x="675" y="274"/>
                  </a:lnTo>
                  <a:lnTo>
                    <a:pt x="680" y="278"/>
                  </a:lnTo>
                  <a:lnTo>
                    <a:pt x="683" y="273"/>
                  </a:lnTo>
                  <a:lnTo>
                    <a:pt x="687" y="271"/>
                  </a:lnTo>
                  <a:lnTo>
                    <a:pt x="687" y="265"/>
                  </a:lnTo>
                  <a:lnTo>
                    <a:pt x="690" y="264"/>
                  </a:lnTo>
                  <a:lnTo>
                    <a:pt x="693" y="265"/>
                  </a:lnTo>
                  <a:lnTo>
                    <a:pt x="694" y="268"/>
                  </a:lnTo>
                  <a:lnTo>
                    <a:pt x="696" y="265"/>
                  </a:lnTo>
                  <a:lnTo>
                    <a:pt x="701" y="253"/>
                  </a:lnTo>
                  <a:lnTo>
                    <a:pt x="700" y="245"/>
                  </a:lnTo>
                  <a:lnTo>
                    <a:pt x="703" y="242"/>
                  </a:lnTo>
                  <a:lnTo>
                    <a:pt x="703" y="238"/>
                  </a:lnTo>
                  <a:lnTo>
                    <a:pt x="706" y="232"/>
                  </a:lnTo>
                  <a:lnTo>
                    <a:pt x="709" y="234"/>
                  </a:lnTo>
                  <a:lnTo>
                    <a:pt x="711" y="243"/>
                  </a:lnTo>
                  <a:lnTo>
                    <a:pt x="715" y="247"/>
                  </a:lnTo>
                  <a:lnTo>
                    <a:pt x="718" y="259"/>
                  </a:lnTo>
                  <a:lnTo>
                    <a:pt x="721" y="259"/>
                  </a:lnTo>
                  <a:lnTo>
                    <a:pt x="721" y="268"/>
                  </a:lnTo>
                  <a:lnTo>
                    <a:pt x="726" y="271"/>
                  </a:lnTo>
                  <a:lnTo>
                    <a:pt x="725" y="278"/>
                  </a:lnTo>
                  <a:lnTo>
                    <a:pt x="731" y="284"/>
                  </a:lnTo>
                  <a:lnTo>
                    <a:pt x="733" y="295"/>
                  </a:lnTo>
                  <a:lnTo>
                    <a:pt x="737" y="296"/>
                  </a:lnTo>
                  <a:lnTo>
                    <a:pt x="738" y="301"/>
                  </a:lnTo>
                  <a:lnTo>
                    <a:pt x="733" y="304"/>
                  </a:lnTo>
                  <a:lnTo>
                    <a:pt x="734" y="312"/>
                  </a:lnTo>
                  <a:lnTo>
                    <a:pt x="739" y="314"/>
                  </a:lnTo>
                  <a:lnTo>
                    <a:pt x="739" y="316"/>
                  </a:lnTo>
                  <a:lnTo>
                    <a:pt x="743" y="318"/>
                  </a:lnTo>
                  <a:lnTo>
                    <a:pt x="748" y="326"/>
                  </a:lnTo>
                  <a:lnTo>
                    <a:pt x="748" y="331"/>
                  </a:lnTo>
                  <a:lnTo>
                    <a:pt x="753" y="335"/>
                  </a:lnTo>
                  <a:lnTo>
                    <a:pt x="757" y="333"/>
                  </a:lnTo>
                  <a:lnTo>
                    <a:pt x="764" y="336"/>
                  </a:lnTo>
                  <a:lnTo>
                    <a:pt x="768" y="339"/>
                  </a:lnTo>
                  <a:lnTo>
                    <a:pt x="776" y="341"/>
                  </a:lnTo>
                  <a:lnTo>
                    <a:pt x="775" y="345"/>
                  </a:lnTo>
                  <a:lnTo>
                    <a:pt x="766" y="348"/>
                  </a:lnTo>
                  <a:lnTo>
                    <a:pt x="755" y="355"/>
                  </a:lnTo>
                  <a:lnTo>
                    <a:pt x="749" y="359"/>
                  </a:lnTo>
                  <a:lnTo>
                    <a:pt x="745" y="358"/>
                  </a:lnTo>
                  <a:lnTo>
                    <a:pt x="746" y="364"/>
                  </a:lnTo>
                  <a:lnTo>
                    <a:pt x="751" y="365"/>
                  </a:lnTo>
                  <a:lnTo>
                    <a:pt x="758" y="358"/>
                  </a:lnTo>
                  <a:lnTo>
                    <a:pt x="761" y="358"/>
                  </a:lnTo>
                  <a:lnTo>
                    <a:pt x="762" y="356"/>
                  </a:lnTo>
                  <a:lnTo>
                    <a:pt x="770" y="350"/>
                  </a:lnTo>
                  <a:lnTo>
                    <a:pt x="775" y="351"/>
                  </a:lnTo>
                  <a:lnTo>
                    <a:pt x="774" y="358"/>
                  </a:lnTo>
                  <a:lnTo>
                    <a:pt x="774" y="361"/>
                  </a:lnTo>
                  <a:lnTo>
                    <a:pt x="780" y="356"/>
                  </a:lnTo>
                  <a:lnTo>
                    <a:pt x="788" y="360"/>
                  </a:lnTo>
                  <a:lnTo>
                    <a:pt x="790" y="369"/>
                  </a:lnTo>
                  <a:lnTo>
                    <a:pt x="787" y="375"/>
                  </a:lnTo>
                  <a:lnTo>
                    <a:pt x="791" y="382"/>
                  </a:lnTo>
                  <a:lnTo>
                    <a:pt x="789" y="387"/>
                  </a:lnTo>
                  <a:lnTo>
                    <a:pt x="787" y="387"/>
                  </a:lnTo>
                  <a:lnTo>
                    <a:pt x="780" y="394"/>
                  </a:lnTo>
                  <a:lnTo>
                    <a:pt x="769" y="396"/>
                  </a:lnTo>
                  <a:lnTo>
                    <a:pt x="762" y="400"/>
                  </a:lnTo>
                  <a:lnTo>
                    <a:pt x="756" y="413"/>
                  </a:lnTo>
                  <a:lnTo>
                    <a:pt x="750" y="417"/>
                  </a:lnTo>
                  <a:lnTo>
                    <a:pt x="740" y="417"/>
                  </a:lnTo>
                  <a:lnTo>
                    <a:pt x="734" y="416"/>
                  </a:lnTo>
                  <a:lnTo>
                    <a:pt x="726" y="417"/>
                  </a:lnTo>
                  <a:lnTo>
                    <a:pt x="721" y="414"/>
                  </a:lnTo>
                  <a:lnTo>
                    <a:pt x="714" y="416"/>
                  </a:lnTo>
                  <a:lnTo>
                    <a:pt x="700" y="418"/>
                  </a:lnTo>
                  <a:lnTo>
                    <a:pt x="698" y="416"/>
                  </a:lnTo>
                  <a:lnTo>
                    <a:pt x="692" y="416"/>
                  </a:lnTo>
                  <a:lnTo>
                    <a:pt x="687" y="423"/>
                  </a:lnTo>
                  <a:lnTo>
                    <a:pt x="683" y="426"/>
                  </a:lnTo>
                  <a:lnTo>
                    <a:pt x="682" y="430"/>
                  </a:lnTo>
                  <a:lnTo>
                    <a:pt x="670" y="433"/>
                  </a:lnTo>
                  <a:lnTo>
                    <a:pt x="665" y="443"/>
                  </a:lnTo>
                  <a:lnTo>
                    <a:pt x="658" y="449"/>
                  </a:lnTo>
                  <a:lnTo>
                    <a:pt x="656" y="452"/>
                  </a:lnTo>
                  <a:lnTo>
                    <a:pt x="648" y="459"/>
                  </a:lnTo>
                  <a:lnTo>
                    <a:pt x="647" y="468"/>
                  </a:lnTo>
                  <a:lnTo>
                    <a:pt x="649" y="469"/>
                  </a:lnTo>
                  <a:lnTo>
                    <a:pt x="654" y="463"/>
                  </a:lnTo>
                  <a:lnTo>
                    <a:pt x="658" y="461"/>
                  </a:lnTo>
                  <a:lnTo>
                    <a:pt x="658" y="457"/>
                  </a:lnTo>
                  <a:lnTo>
                    <a:pt x="669" y="446"/>
                  </a:lnTo>
                  <a:lnTo>
                    <a:pt x="671" y="446"/>
                  </a:lnTo>
                  <a:lnTo>
                    <a:pt x="677" y="439"/>
                  </a:lnTo>
                  <a:lnTo>
                    <a:pt x="686" y="436"/>
                  </a:lnTo>
                  <a:lnTo>
                    <a:pt x="690" y="430"/>
                  </a:lnTo>
                  <a:lnTo>
                    <a:pt x="701" y="429"/>
                  </a:lnTo>
                  <a:lnTo>
                    <a:pt x="708" y="436"/>
                  </a:lnTo>
                  <a:lnTo>
                    <a:pt x="710" y="437"/>
                  </a:lnTo>
                  <a:lnTo>
                    <a:pt x="711" y="441"/>
                  </a:lnTo>
                  <a:lnTo>
                    <a:pt x="703" y="449"/>
                  </a:lnTo>
                  <a:lnTo>
                    <a:pt x="699" y="446"/>
                  </a:lnTo>
                  <a:lnTo>
                    <a:pt x="693" y="445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5" y="452"/>
                  </a:lnTo>
                  <a:lnTo>
                    <a:pt x="699" y="455"/>
                  </a:lnTo>
                  <a:lnTo>
                    <a:pt x="705" y="453"/>
                  </a:lnTo>
                  <a:lnTo>
                    <a:pt x="705" y="458"/>
                  </a:lnTo>
                  <a:lnTo>
                    <a:pt x="703" y="461"/>
                  </a:lnTo>
                  <a:lnTo>
                    <a:pt x="704" y="471"/>
                  </a:lnTo>
                  <a:lnTo>
                    <a:pt x="714" y="478"/>
                  </a:lnTo>
                  <a:lnTo>
                    <a:pt x="716" y="481"/>
                  </a:lnTo>
                  <a:lnTo>
                    <a:pt x="721" y="485"/>
                  </a:lnTo>
                  <a:lnTo>
                    <a:pt x="727" y="485"/>
                  </a:lnTo>
                  <a:lnTo>
                    <a:pt x="732" y="483"/>
                  </a:lnTo>
                  <a:lnTo>
                    <a:pt x="733" y="487"/>
                  </a:lnTo>
                  <a:lnTo>
                    <a:pt x="737" y="486"/>
                  </a:lnTo>
                  <a:lnTo>
                    <a:pt x="737" y="492"/>
                  </a:lnTo>
                  <a:lnTo>
                    <a:pt x="732" y="497"/>
                  </a:lnTo>
                  <a:lnTo>
                    <a:pt x="727" y="497"/>
                  </a:lnTo>
                  <a:lnTo>
                    <a:pt x="722" y="498"/>
                  </a:lnTo>
                  <a:lnTo>
                    <a:pt x="720" y="501"/>
                  </a:lnTo>
                  <a:lnTo>
                    <a:pt x="718" y="500"/>
                  </a:lnTo>
                  <a:lnTo>
                    <a:pt x="715" y="497"/>
                  </a:lnTo>
                  <a:lnTo>
                    <a:pt x="707" y="507"/>
                  </a:lnTo>
                  <a:lnTo>
                    <a:pt x="706" y="510"/>
                  </a:lnTo>
                  <a:lnTo>
                    <a:pt x="702" y="513"/>
                  </a:lnTo>
                  <a:lnTo>
                    <a:pt x="697" y="514"/>
                  </a:lnTo>
                  <a:lnTo>
                    <a:pt x="693" y="510"/>
                  </a:lnTo>
                  <a:lnTo>
                    <a:pt x="695" y="502"/>
                  </a:lnTo>
                  <a:lnTo>
                    <a:pt x="698" y="501"/>
                  </a:lnTo>
                  <a:lnTo>
                    <a:pt x="704" y="493"/>
                  </a:lnTo>
                  <a:lnTo>
                    <a:pt x="708" y="493"/>
                  </a:lnTo>
                  <a:lnTo>
                    <a:pt x="711" y="489"/>
                  </a:lnTo>
                  <a:lnTo>
                    <a:pt x="711" y="487"/>
                  </a:lnTo>
                  <a:lnTo>
                    <a:pt x="709" y="488"/>
                  </a:lnTo>
                  <a:lnTo>
                    <a:pt x="707" y="487"/>
                  </a:lnTo>
                  <a:lnTo>
                    <a:pt x="708" y="484"/>
                  </a:lnTo>
                  <a:lnTo>
                    <a:pt x="706" y="482"/>
                  </a:lnTo>
                  <a:lnTo>
                    <a:pt x="701" y="486"/>
                  </a:lnTo>
                  <a:lnTo>
                    <a:pt x="696" y="490"/>
                  </a:lnTo>
                  <a:lnTo>
                    <a:pt x="690" y="491"/>
                  </a:lnTo>
                  <a:lnTo>
                    <a:pt x="687" y="496"/>
                  </a:lnTo>
                  <a:lnTo>
                    <a:pt x="683" y="498"/>
                  </a:lnTo>
                  <a:lnTo>
                    <a:pt x="682" y="488"/>
                  </a:lnTo>
                  <a:lnTo>
                    <a:pt x="676" y="478"/>
                  </a:lnTo>
                  <a:lnTo>
                    <a:pt x="676" y="465"/>
                  </a:lnTo>
                  <a:lnTo>
                    <a:pt x="665" y="460"/>
                  </a:lnTo>
                  <a:lnTo>
                    <a:pt x="660" y="463"/>
                  </a:lnTo>
                  <a:lnTo>
                    <a:pt x="647" y="489"/>
                  </a:lnTo>
                  <a:lnTo>
                    <a:pt x="630" y="492"/>
                  </a:lnTo>
                  <a:lnTo>
                    <a:pt x="625" y="491"/>
                  </a:lnTo>
                  <a:lnTo>
                    <a:pt x="616" y="491"/>
                  </a:lnTo>
                  <a:lnTo>
                    <a:pt x="611" y="496"/>
                  </a:lnTo>
                  <a:lnTo>
                    <a:pt x="599" y="507"/>
                  </a:lnTo>
                  <a:lnTo>
                    <a:pt x="575" y="516"/>
                  </a:lnTo>
                  <a:lnTo>
                    <a:pt x="572" y="524"/>
                  </a:lnTo>
                  <a:lnTo>
                    <a:pt x="546" y="539"/>
                  </a:lnTo>
                  <a:lnTo>
                    <a:pt x="543" y="530"/>
                  </a:lnTo>
                  <a:lnTo>
                    <a:pt x="548" y="512"/>
                  </a:lnTo>
                  <a:lnTo>
                    <a:pt x="547" y="499"/>
                  </a:lnTo>
                  <a:lnTo>
                    <a:pt x="530" y="480"/>
                  </a:lnTo>
                  <a:lnTo>
                    <a:pt x="523" y="466"/>
                  </a:lnTo>
                  <a:lnTo>
                    <a:pt x="494" y="449"/>
                  </a:lnTo>
                  <a:lnTo>
                    <a:pt x="477" y="451"/>
                  </a:lnTo>
                  <a:lnTo>
                    <a:pt x="470" y="449"/>
                  </a:lnTo>
                  <a:lnTo>
                    <a:pt x="458" y="449"/>
                  </a:lnTo>
                  <a:lnTo>
                    <a:pt x="450" y="445"/>
                  </a:lnTo>
                  <a:lnTo>
                    <a:pt x="438" y="443"/>
                  </a:lnTo>
                  <a:lnTo>
                    <a:pt x="430" y="437"/>
                  </a:lnTo>
                  <a:lnTo>
                    <a:pt x="174" y="4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1" name="Freeform 13"/>
            <p:cNvSpPr>
              <a:spLocks noEditPoints="1"/>
            </p:cNvSpPr>
            <p:nvPr/>
          </p:nvSpPr>
          <p:spPr bwMode="gray">
            <a:xfrm>
              <a:off x="1437" y="1519"/>
              <a:ext cx="202" cy="58"/>
            </a:xfrm>
            <a:custGeom>
              <a:avLst/>
              <a:gdLst>
                <a:gd name="T0" fmla="*/ 2147483647 w 155"/>
                <a:gd name="T1" fmla="*/ 2147483647 h 45"/>
                <a:gd name="T2" fmla="*/ 2147483647 w 155"/>
                <a:gd name="T3" fmla="*/ 2147483647 h 45"/>
                <a:gd name="T4" fmla="*/ 2147483647 w 155"/>
                <a:gd name="T5" fmla="*/ 2147483647 h 45"/>
                <a:gd name="T6" fmla="*/ 2147483647 w 155"/>
                <a:gd name="T7" fmla="*/ 2147483647 h 45"/>
                <a:gd name="T8" fmla="*/ 2147483647 w 155"/>
                <a:gd name="T9" fmla="*/ 2147483647 h 45"/>
                <a:gd name="T10" fmla="*/ 2147483647 w 155"/>
                <a:gd name="T11" fmla="*/ 2147483647 h 45"/>
                <a:gd name="T12" fmla="*/ 2147483647 w 155"/>
                <a:gd name="T13" fmla="*/ 2147483647 h 45"/>
                <a:gd name="T14" fmla="*/ 0 w 155"/>
                <a:gd name="T15" fmla="*/ 2147483647 h 45"/>
                <a:gd name="T16" fmla="*/ 2147483647 w 155"/>
                <a:gd name="T17" fmla="*/ 2147483647 h 45"/>
                <a:gd name="T18" fmla="*/ 2147483647 w 155"/>
                <a:gd name="T19" fmla="*/ 2147483647 h 45"/>
                <a:gd name="T20" fmla="*/ 2147483647 w 155"/>
                <a:gd name="T21" fmla="*/ 2147483647 h 45"/>
                <a:gd name="T22" fmla="*/ 2147483647 w 155"/>
                <a:gd name="T23" fmla="*/ 2147483647 h 45"/>
                <a:gd name="T24" fmla="*/ 2147483647 w 155"/>
                <a:gd name="T25" fmla="*/ 2147483647 h 45"/>
                <a:gd name="T26" fmla="*/ 2147483647 w 155"/>
                <a:gd name="T27" fmla="*/ 2147483647 h 45"/>
                <a:gd name="T28" fmla="*/ 2147483647 w 155"/>
                <a:gd name="T29" fmla="*/ 2147483647 h 45"/>
                <a:gd name="T30" fmla="*/ 2147483647 w 155"/>
                <a:gd name="T31" fmla="*/ 2147483647 h 45"/>
                <a:gd name="T32" fmla="*/ 2147483647 w 155"/>
                <a:gd name="T33" fmla="*/ 2147483647 h 45"/>
                <a:gd name="T34" fmla="*/ 2147483647 w 155"/>
                <a:gd name="T35" fmla="*/ 2147483647 h 45"/>
                <a:gd name="T36" fmla="*/ 2147483647 w 155"/>
                <a:gd name="T37" fmla="*/ 2147483647 h 45"/>
                <a:gd name="T38" fmla="*/ 2147483647 w 155"/>
                <a:gd name="T39" fmla="*/ 2147483647 h 45"/>
                <a:gd name="T40" fmla="*/ 2147483647 w 155"/>
                <a:gd name="T41" fmla="*/ 2147483647 h 45"/>
                <a:gd name="T42" fmla="*/ 2147483647 w 155"/>
                <a:gd name="T43" fmla="*/ 2147483647 h 45"/>
                <a:gd name="T44" fmla="*/ 2147483647 w 155"/>
                <a:gd name="T45" fmla="*/ 2147483647 h 45"/>
                <a:gd name="T46" fmla="*/ 2147483647 w 155"/>
                <a:gd name="T47" fmla="*/ 2147483647 h 45"/>
                <a:gd name="T48" fmla="*/ 2147483647 w 155"/>
                <a:gd name="T49" fmla="*/ 2147483647 h 45"/>
                <a:gd name="T50" fmla="*/ 2147483647 w 155"/>
                <a:gd name="T51" fmla="*/ 2147483647 h 45"/>
                <a:gd name="T52" fmla="*/ 2147483647 w 155"/>
                <a:gd name="T53" fmla="*/ 0 h 45"/>
                <a:gd name="T54" fmla="*/ 2147483647 w 155"/>
                <a:gd name="T55" fmla="*/ 2147483647 h 45"/>
                <a:gd name="T56" fmla="*/ 2147483647 w 155"/>
                <a:gd name="T57" fmla="*/ 2147483647 h 45"/>
                <a:gd name="T58" fmla="*/ 2147483647 w 155"/>
                <a:gd name="T59" fmla="*/ 2147483647 h 45"/>
                <a:gd name="T60" fmla="*/ 2147483647 w 155"/>
                <a:gd name="T61" fmla="*/ 2147483647 h 45"/>
                <a:gd name="T62" fmla="*/ 2147483647 w 155"/>
                <a:gd name="T63" fmla="*/ 2147483647 h 45"/>
                <a:gd name="T64" fmla="*/ 2147483647 w 155"/>
                <a:gd name="T65" fmla="*/ 2147483647 h 45"/>
                <a:gd name="T66" fmla="*/ 2147483647 w 155"/>
                <a:gd name="T67" fmla="*/ 2147483647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5"/>
                <a:gd name="T103" fmla="*/ 0 h 45"/>
                <a:gd name="T104" fmla="*/ 155 w 155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5" h="45">
                  <a:moveTo>
                    <a:pt x="3" y="11"/>
                  </a:moveTo>
                  <a:lnTo>
                    <a:pt x="15" y="10"/>
                  </a:lnTo>
                  <a:lnTo>
                    <a:pt x="21" y="12"/>
                  </a:lnTo>
                  <a:lnTo>
                    <a:pt x="23" y="1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8" y="19"/>
                  </a:lnTo>
                  <a:lnTo>
                    <a:pt x="0" y="16"/>
                  </a:lnTo>
                  <a:lnTo>
                    <a:pt x="3" y="11"/>
                  </a:lnTo>
                  <a:close/>
                  <a:moveTo>
                    <a:pt x="128" y="30"/>
                  </a:moveTo>
                  <a:lnTo>
                    <a:pt x="123" y="29"/>
                  </a:lnTo>
                  <a:lnTo>
                    <a:pt x="119" y="30"/>
                  </a:lnTo>
                  <a:lnTo>
                    <a:pt x="125" y="36"/>
                  </a:lnTo>
                  <a:lnTo>
                    <a:pt x="119" y="45"/>
                  </a:lnTo>
                  <a:lnTo>
                    <a:pt x="114" y="45"/>
                  </a:lnTo>
                  <a:lnTo>
                    <a:pt x="111" y="45"/>
                  </a:lnTo>
                  <a:lnTo>
                    <a:pt x="110" y="35"/>
                  </a:lnTo>
                  <a:lnTo>
                    <a:pt x="106" y="28"/>
                  </a:lnTo>
                  <a:lnTo>
                    <a:pt x="107" y="26"/>
                  </a:lnTo>
                  <a:lnTo>
                    <a:pt x="106" y="10"/>
                  </a:lnTo>
                  <a:lnTo>
                    <a:pt x="109" y="9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08" y="5"/>
                  </a:lnTo>
                  <a:lnTo>
                    <a:pt x="116" y="1"/>
                  </a:lnTo>
                  <a:lnTo>
                    <a:pt x="122" y="2"/>
                  </a:lnTo>
                  <a:lnTo>
                    <a:pt x="131" y="0"/>
                  </a:lnTo>
                  <a:lnTo>
                    <a:pt x="138" y="4"/>
                  </a:lnTo>
                  <a:lnTo>
                    <a:pt x="142" y="3"/>
                  </a:lnTo>
                  <a:lnTo>
                    <a:pt x="155" y="4"/>
                  </a:lnTo>
                  <a:lnTo>
                    <a:pt x="155" y="9"/>
                  </a:lnTo>
                  <a:lnTo>
                    <a:pt x="139" y="31"/>
                  </a:lnTo>
                  <a:lnTo>
                    <a:pt x="134" y="30"/>
                  </a:lnTo>
                  <a:lnTo>
                    <a:pt x="128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2" name="Freeform 14"/>
            <p:cNvSpPr>
              <a:spLocks/>
            </p:cNvSpPr>
            <p:nvPr/>
          </p:nvSpPr>
          <p:spPr bwMode="gray">
            <a:xfrm>
              <a:off x="1843" y="1210"/>
              <a:ext cx="739" cy="690"/>
            </a:xfrm>
            <a:custGeom>
              <a:avLst/>
              <a:gdLst>
                <a:gd name="T0" fmla="*/ 2147483647 w 567"/>
                <a:gd name="T1" fmla="*/ 2147483647 h 529"/>
                <a:gd name="T2" fmla="*/ 2147483647 w 567"/>
                <a:gd name="T3" fmla="*/ 2147483647 h 529"/>
                <a:gd name="T4" fmla="*/ 2147483647 w 567"/>
                <a:gd name="T5" fmla="*/ 2147483647 h 529"/>
                <a:gd name="T6" fmla="*/ 2147483647 w 567"/>
                <a:gd name="T7" fmla="*/ 2147483647 h 529"/>
                <a:gd name="T8" fmla="*/ 2147483647 w 567"/>
                <a:gd name="T9" fmla="*/ 2147483647 h 529"/>
                <a:gd name="T10" fmla="*/ 2147483647 w 567"/>
                <a:gd name="T11" fmla="*/ 2147483647 h 529"/>
                <a:gd name="T12" fmla="*/ 2147483647 w 567"/>
                <a:gd name="T13" fmla="*/ 2147483647 h 529"/>
                <a:gd name="T14" fmla="*/ 2147483647 w 567"/>
                <a:gd name="T15" fmla="*/ 2147483647 h 529"/>
                <a:gd name="T16" fmla="*/ 2147483647 w 567"/>
                <a:gd name="T17" fmla="*/ 2147483647 h 529"/>
                <a:gd name="T18" fmla="*/ 2147483647 w 567"/>
                <a:gd name="T19" fmla="*/ 2147483647 h 529"/>
                <a:gd name="T20" fmla="*/ 2147483647 w 567"/>
                <a:gd name="T21" fmla="*/ 2147483647 h 529"/>
                <a:gd name="T22" fmla="*/ 2147483647 w 567"/>
                <a:gd name="T23" fmla="*/ 2147483647 h 529"/>
                <a:gd name="T24" fmla="*/ 2147483647 w 567"/>
                <a:gd name="T25" fmla="*/ 2147483647 h 529"/>
                <a:gd name="T26" fmla="*/ 2147483647 w 567"/>
                <a:gd name="T27" fmla="*/ 2147483647 h 529"/>
                <a:gd name="T28" fmla="*/ 2147483647 w 567"/>
                <a:gd name="T29" fmla="*/ 2147483647 h 529"/>
                <a:gd name="T30" fmla="*/ 2147483647 w 567"/>
                <a:gd name="T31" fmla="*/ 2147483647 h 529"/>
                <a:gd name="T32" fmla="*/ 2147483647 w 567"/>
                <a:gd name="T33" fmla="*/ 2147483647 h 529"/>
                <a:gd name="T34" fmla="*/ 2147483647 w 567"/>
                <a:gd name="T35" fmla="*/ 2147483647 h 529"/>
                <a:gd name="T36" fmla="*/ 2147483647 w 567"/>
                <a:gd name="T37" fmla="*/ 2147483647 h 529"/>
                <a:gd name="T38" fmla="*/ 2147483647 w 567"/>
                <a:gd name="T39" fmla="*/ 2147483647 h 529"/>
                <a:gd name="T40" fmla="*/ 2147483647 w 567"/>
                <a:gd name="T41" fmla="*/ 2147483647 h 529"/>
                <a:gd name="T42" fmla="*/ 2147483647 w 567"/>
                <a:gd name="T43" fmla="*/ 2147483647 h 529"/>
                <a:gd name="T44" fmla="*/ 2147483647 w 567"/>
                <a:gd name="T45" fmla="*/ 2147483647 h 529"/>
                <a:gd name="T46" fmla="*/ 2147483647 w 567"/>
                <a:gd name="T47" fmla="*/ 2147483647 h 529"/>
                <a:gd name="T48" fmla="*/ 2147483647 w 567"/>
                <a:gd name="T49" fmla="*/ 2147483647 h 529"/>
                <a:gd name="T50" fmla="*/ 2147483647 w 567"/>
                <a:gd name="T51" fmla="*/ 2147483647 h 529"/>
                <a:gd name="T52" fmla="*/ 2147483647 w 567"/>
                <a:gd name="T53" fmla="*/ 2147483647 h 529"/>
                <a:gd name="T54" fmla="*/ 2147483647 w 567"/>
                <a:gd name="T55" fmla="*/ 2147483647 h 529"/>
                <a:gd name="T56" fmla="*/ 2147483647 w 567"/>
                <a:gd name="T57" fmla="*/ 2147483647 h 529"/>
                <a:gd name="T58" fmla="*/ 2147483647 w 567"/>
                <a:gd name="T59" fmla="*/ 2147483647 h 529"/>
                <a:gd name="T60" fmla="*/ 2147483647 w 567"/>
                <a:gd name="T61" fmla="*/ 2147483647 h 529"/>
                <a:gd name="T62" fmla="*/ 2147483647 w 567"/>
                <a:gd name="T63" fmla="*/ 2147483647 h 529"/>
                <a:gd name="T64" fmla="*/ 2147483647 w 567"/>
                <a:gd name="T65" fmla="*/ 2147483647 h 529"/>
                <a:gd name="T66" fmla="*/ 2147483647 w 567"/>
                <a:gd name="T67" fmla="*/ 2147483647 h 529"/>
                <a:gd name="T68" fmla="*/ 2147483647 w 567"/>
                <a:gd name="T69" fmla="*/ 2147483647 h 529"/>
                <a:gd name="T70" fmla="*/ 2147483647 w 567"/>
                <a:gd name="T71" fmla="*/ 2147483647 h 529"/>
                <a:gd name="T72" fmla="*/ 2147483647 w 567"/>
                <a:gd name="T73" fmla="*/ 2147483647 h 529"/>
                <a:gd name="T74" fmla="*/ 2147483647 w 567"/>
                <a:gd name="T75" fmla="*/ 2147483647 h 529"/>
                <a:gd name="T76" fmla="*/ 2147483647 w 567"/>
                <a:gd name="T77" fmla="*/ 2147483647 h 529"/>
                <a:gd name="T78" fmla="*/ 2147483647 w 567"/>
                <a:gd name="T79" fmla="*/ 2147483647 h 529"/>
                <a:gd name="T80" fmla="*/ 2147483647 w 567"/>
                <a:gd name="T81" fmla="*/ 2147483647 h 529"/>
                <a:gd name="T82" fmla="*/ 2147483647 w 567"/>
                <a:gd name="T83" fmla="*/ 2147483647 h 529"/>
                <a:gd name="T84" fmla="*/ 2147483647 w 567"/>
                <a:gd name="T85" fmla="*/ 2147483647 h 529"/>
                <a:gd name="T86" fmla="*/ 2147483647 w 567"/>
                <a:gd name="T87" fmla="*/ 2147483647 h 529"/>
                <a:gd name="T88" fmla="*/ 2147483647 w 567"/>
                <a:gd name="T89" fmla="*/ 2147483647 h 529"/>
                <a:gd name="T90" fmla="*/ 2147483647 w 567"/>
                <a:gd name="T91" fmla="*/ 2147483647 h 529"/>
                <a:gd name="T92" fmla="*/ 2147483647 w 567"/>
                <a:gd name="T93" fmla="*/ 2147483647 h 529"/>
                <a:gd name="T94" fmla="*/ 2147483647 w 567"/>
                <a:gd name="T95" fmla="*/ 2147483647 h 529"/>
                <a:gd name="T96" fmla="*/ 2147483647 w 567"/>
                <a:gd name="T97" fmla="*/ 2147483647 h 529"/>
                <a:gd name="T98" fmla="*/ 2147483647 w 567"/>
                <a:gd name="T99" fmla="*/ 2147483647 h 529"/>
                <a:gd name="T100" fmla="*/ 2147483647 w 567"/>
                <a:gd name="T101" fmla="*/ 2147483647 h 529"/>
                <a:gd name="T102" fmla="*/ 2147483647 w 567"/>
                <a:gd name="T103" fmla="*/ 2147483647 h 529"/>
                <a:gd name="T104" fmla="*/ 2147483647 w 567"/>
                <a:gd name="T105" fmla="*/ 2147483647 h 529"/>
                <a:gd name="T106" fmla="*/ 2147483647 w 567"/>
                <a:gd name="T107" fmla="*/ 2147483647 h 529"/>
                <a:gd name="T108" fmla="*/ 2147483647 w 567"/>
                <a:gd name="T109" fmla="*/ 2147483647 h 529"/>
                <a:gd name="T110" fmla="*/ 2147483647 w 567"/>
                <a:gd name="T111" fmla="*/ 2147483647 h 529"/>
                <a:gd name="T112" fmla="*/ 2147483647 w 567"/>
                <a:gd name="T113" fmla="*/ 2147483647 h 529"/>
                <a:gd name="T114" fmla="*/ 2147483647 w 567"/>
                <a:gd name="T115" fmla="*/ 2147483647 h 529"/>
                <a:gd name="T116" fmla="*/ 2147483647 w 567"/>
                <a:gd name="T117" fmla="*/ 2147483647 h 529"/>
                <a:gd name="T118" fmla="*/ 2147483647 w 567"/>
                <a:gd name="T119" fmla="*/ 2147483647 h 529"/>
                <a:gd name="T120" fmla="*/ 2147483647 w 567"/>
                <a:gd name="T121" fmla="*/ 2147483647 h 52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67"/>
                <a:gd name="T184" fmla="*/ 0 h 529"/>
                <a:gd name="T185" fmla="*/ 567 w 567"/>
                <a:gd name="T186" fmla="*/ 529 h 52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67" h="529">
                  <a:moveTo>
                    <a:pt x="459" y="328"/>
                  </a:moveTo>
                  <a:lnTo>
                    <a:pt x="455" y="328"/>
                  </a:lnTo>
                  <a:lnTo>
                    <a:pt x="452" y="334"/>
                  </a:lnTo>
                  <a:lnTo>
                    <a:pt x="449" y="333"/>
                  </a:lnTo>
                  <a:lnTo>
                    <a:pt x="445" y="338"/>
                  </a:lnTo>
                  <a:lnTo>
                    <a:pt x="442" y="338"/>
                  </a:lnTo>
                  <a:lnTo>
                    <a:pt x="437" y="343"/>
                  </a:lnTo>
                  <a:lnTo>
                    <a:pt x="430" y="343"/>
                  </a:lnTo>
                  <a:lnTo>
                    <a:pt x="423" y="347"/>
                  </a:lnTo>
                  <a:lnTo>
                    <a:pt x="419" y="345"/>
                  </a:lnTo>
                  <a:lnTo>
                    <a:pt x="410" y="350"/>
                  </a:lnTo>
                  <a:lnTo>
                    <a:pt x="406" y="350"/>
                  </a:lnTo>
                  <a:lnTo>
                    <a:pt x="403" y="349"/>
                  </a:lnTo>
                  <a:lnTo>
                    <a:pt x="399" y="351"/>
                  </a:lnTo>
                  <a:lnTo>
                    <a:pt x="395" y="350"/>
                  </a:lnTo>
                  <a:lnTo>
                    <a:pt x="391" y="352"/>
                  </a:lnTo>
                  <a:lnTo>
                    <a:pt x="388" y="352"/>
                  </a:lnTo>
                  <a:lnTo>
                    <a:pt x="380" y="347"/>
                  </a:lnTo>
                  <a:lnTo>
                    <a:pt x="374" y="346"/>
                  </a:lnTo>
                  <a:lnTo>
                    <a:pt x="377" y="349"/>
                  </a:lnTo>
                  <a:lnTo>
                    <a:pt x="382" y="352"/>
                  </a:lnTo>
                  <a:lnTo>
                    <a:pt x="381" y="358"/>
                  </a:lnTo>
                  <a:lnTo>
                    <a:pt x="372" y="359"/>
                  </a:lnTo>
                  <a:lnTo>
                    <a:pt x="368" y="366"/>
                  </a:lnTo>
                  <a:lnTo>
                    <a:pt x="364" y="373"/>
                  </a:lnTo>
                  <a:lnTo>
                    <a:pt x="357" y="384"/>
                  </a:lnTo>
                  <a:lnTo>
                    <a:pt x="349" y="383"/>
                  </a:lnTo>
                  <a:lnTo>
                    <a:pt x="348" y="390"/>
                  </a:lnTo>
                  <a:lnTo>
                    <a:pt x="341" y="394"/>
                  </a:lnTo>
                  <a:lnTo>
                    <a:pt x="337" y="392"/>
                  </a:lnTo>
                  <a:lnTo>
                    <a:pt x="332" y="394"/>
                  </a:lnTo>
                  <a:lnTo>
                    <a:pt x="330" y="391"/>
                  </a:lnTo>
                  <a:lnTo>
                    <a:pt x="331" y="383"/>
                  </a:lnTo>
                  <a:lnTo>
                    <a:pt x="326" y="382"/>
                  </a:lnTo>
                  <a:lnTo>
                    <a:pt x="325" y="385"/>
                  </a:lnTo>
                  <a:lnTo>
                    <a:pt x="323" y="399"/>
                  </a:lnTo>
                  <a:lnTo>
                    <a:pt x="306" y="403"/>
                  </a:lnTo>
                  <a:lnTo>
                    <a:pt x="305" y="405"/>
                  </a:lnTo>
                  <a:lnTo>
                    <a:pt x="308" y="409"/>
                  </a:lnTo>
                  <a:lnTo>
                    <a:pt x="308" y="413"/>
                  </a:lnTo>
                  <a:lnTo>
                    <a:pt x="299" y="414"/>
                  </a:lnTo>
                  <a:lnTo>
                    <a:pt x="298" y="421"/>
                  </a:lnTo>
                  <a:lnTo>
                    <a:pt x="302" y="425"/>
                  </a:lnTo>
                  <a:lnTo>
                    <a:pt x="300" y="430"/>
                  </a:lnTo>
                  <a:lnTo>
                    <a:pt x="293" y="430"/>
                  </a:lnTo>
                  <a:lnTo>
                    <a:pt x="294" y="436"/>
                  </a:lnTo>
                  <a:lnTo>
                    <a:pt x="302" y="437"/>
                  </a:lnTo>
                  <a:lnTo>
                    <a:pt x="302" y="448"/>
                  </a:lnTo>
                  <a:lnTo>
                    <a:pt x="294" y="446"/>
                  </a:lnTo>
                  <a:lnTo>
                    <a:pt x="298" y="453"/>
                  </a:lnTo>
                  <a:lnTo>
                    <a:pt x="297" y="456"/>
                  </a:lnTo>
                  <a:lnTo>
                    <a:pt x="294" y="457"/>
                  </a:lnTo>
                  <a:lnTo>
                    <a:pt x="292" y="466"/>
                  </a:lnTo>
                  <a:lnTo>
                    <a:pt x="288" y="465"/>
                  </a:lnTo>
                  <a:lnTo>
                    <a:pt x="285" y="469"/>
                  </a:lnTo>
                  <a:lnTo>
                    <a:pt x="287" y="473"/>
                  </a:lnTo>
                  <a:lnTo>
                    <a:pt x="285" y="481"/>
                  </a:lnTo>
                  <a:lnTo>
                    <a:pt x="289" y="491"/>
                  </a:lnTo>
                  <a:lnTo>
                    <a:pt x="287" y="498"/>
                  </a:lnTo>
                  <a:lnTo>
                    <a:pt x="283" y="500"/>
                  </a:lnTo>
                  <a:lnTo>
                    <a:pt x="283" y="504"/>
                  </a:lnTo>
                  <a:lnTo>
                    <a:pt x="280" y="509"/>
                  </a:lnTo>
                  <a:lnTo>
                    <a:pt x="281" y="513"/>
                  </a:lnTo>
                  <a:lnTo>
                    <a:pt x="274" y="514"/>
                  </a:lnTo>
                  <a:lnTo>
                    <a:pt x="279" y="520"/>
                  </a:lnTo>
                  <a:lnTo>
                    <a:pt x="275" y="529"/>
                  </a:lnTo>
                  <a:lnTo>
                    <a:pt x="271" y="525"/>
                  </a:lnTo>
                  <a:lnTo>
                    <a:pt x="266" y="528"/>
                  </a:lnTo>
                  <a:lnTo>
                    <a:pt x="264" y="524"/>
                  </a:lnTo>
                  <a:lnTo>
                    <a:pt x="264" y="518"/>
                  </a:lnTo>
                  <a:lnTo>
                    <a:pt x="255" y="513"/>
                  </a:lnTo>
                  <a:lnTo>
                    <a:pt x="252" y="506"/>
                  </a:lnTo>
                  <a:lnTo>
                    <a:pt x="238" y="507"/>
                  </a:lnTo>
                  <a:lnTo>
                    <a:pt x="235" y="512"/>
                  </a:lnTo>
                  <a:lnTo>
                    <a:pt x="232" y="511"/>
                  </a:lnTo>
                  <a:lnTo>
                    <a:pt x="232" y="503"/>
                  </a:lnTo>
                  <a:lnTo>
                    <a:pt x="226" y="499"/>
                  </a:lnTo>
                  <a:lnTo>
                    <a:pt x="226" y="496"/>
                  </a:lnTo>
                  <a:lnTo>
                    <a:pt x="221" y="491"/>
                  </a:lnTo>
                  <a:lnTo>
                    <a:pt x="219" y="484"/>
                  </a:lnTo>
                  <a:lnTo>
                    <a:pt x="218" y="479"/>
                  </a:lnTo>
                  <a:lnTo>
                    <a:pt x="211" y="475"/>
                  </a:lnTo>
                  <a:lnTo>
                    <a:pt x="209" y="472"/>
                  </a:lnTo>
                  <a:lnTo>
                    <a:pt x="212" y="468"/>
                  </a:lnTo>
                  <a:lnTo>
                    <a:pt x="211" y="466"/>
                  </a:lnTo>
                  <a:lnTo>
                    <a:pt x="211" y="462"/>
                  </a:lnTo>
                  <a:lnTo>
                    <a:pt x="206" y="456"/>
                  </a:lnTo>
                  <a:lnTo>
                    <a:pt x="205" y="454"/>
                  </a:lnTo>
                  <a:lnTo>
                    <a:pt x="201" y="450"/>
                  </a:lnTo>
                  <a:lnTo>
                    <a:pt x="201" y="441"/>
                  </a:lnTo>
                  <a:lnTo>
                    <a:pt x="208" y="440"/>
                  </a:lnTo>
                  <a:lnTo>
                    <a:pt x="208" y="434"/>
                  </a:lnTo>
                  <a:lnTo>
                    <a:pt x="211" y="429"/>
                  </a:lnTo>
                  <a:lnTo>
                    <a:pt x="214" y="431"/>
                  </a:lnTo>
                  <a:lnTo>
                    <a:pt x="215" y="427"/>
                  </a:lnTo>
                  <a:lnTo>
                    <a:pt x="207" y="421"/>
                  </a:lnTo>
                  <a:lnTo>
                    <a:pt x="204" y="424"/>
                  </a:lnTo>
                  <a:lnTo>
                    <a:pt x="199" y="434"/>
                  </a:lnTo>
                  <a:lnTo>
                    <a:pt x="195" y="432"/>
                  </a:lnTo>
                  <a:lnTo>
                    <a:pt x="196" y="423"/>
                  </a:lnTo>
                  <a:lnTo>
                    <a:pt x="194" y="413"/>
                  </a:lnTo>
                  <a:lnTo>
                    <a:pt x="196" y="409"/>
                  </a:lnTo>
                  <a:lnTo>
                    <a:pt x="186" y="402"/>
                  </a:lnTo>
                  <a:lnTo>
                    <a:pt x="188" y="400"/>
                  </a:lnTo>
                  <a:lnTo>
                    <a:pt x="193" y="400"/>
                  </a:lnTo>
                  <a:lnTo>
                    <a:pt x="191" y="395"/>
                  </a:lnTo>
                  <a:lnTo>
                    <a:pt x="186" y="394"/>
                  </a:lnTo>
                  <a:lnTo>
                    <a:pt x="182" y="387"/>
                  </a:lnTo>
                  <a:lnTo>
                    <a:pt x="184" y="380"/>
                  </a:lnTo>
                  <a:lnTo>
                    <a:pt x="188" y="380"/>
                  </a:lnTo>
                  <a:lnTo>
                    <a:pt x="191" y="374"/>
                  </a:lnTo>
                  <a:lnTo>
                    <a:pt x="185" y="373"/>
                  </a:lnTo>
                  <a:lnTo>
                    <a:pt x="181" y="375"/>
                  </a:lnTo>
                  <a:lnTo>
                    <a:pt x="179" y="373"/>
                  </a:lnTo>
                  <a:lnTo>
                    <a:pt x="182" y="365"/>
                  </a:lnTo>
                  <a:lnTo>
                    <a:pt x="194" y="361"/>
                  </a:lnTo>
                  <a:lnTo>
                    <a:pt x="200" y="362"/>
                  </a:lnTo>
                  <a:lnTo>
                    <a:pt x="206" y="365"/>
                  </a:lnTo>
                  <a:lnTo>
                    <a:pt x="209" y="364"/>
                  </a:lnTo>
                  <a:lnTo>
                    <a:pt x="207" y="359"/>
                  </a:lnTo>
                  <a:lnTo>
                    <a:pt x="196" y="359"/>
                  </a:lnTo>
                  <a:lnTo>
                    <a:pt x="192" y="359"/>
                  </a:lnTo>
                  <a:lnTo>
                    <a:pt x="184" y="363"/>
                  </a:lnTo>
                  <a:lnTo>
                    <a:pt x="181" y="362"/>
                  </a:lnTo>
                  <a:lnTo>
                    <a:pt x="181" y="359"/>
                  </a:lnTo>
                  <a:lnTo>
                    <a:pt x="190" y="355"/>
                  </a:lnTo>
                  <a:lnTo>
                    <a:pt x="199" y="355"/>
                  </a:lnTo>
                  <a:lnTo>
                    <a:pt x="208" y="357"/>
                  </a:lnTo>
                  <a:lnTo>
                    <a:pt x="210" y="353"/>
                  </a:lnTo>
                  <a:lnTo>
                    <a:pt x="205" y="353"/>
                  </a:lnTo>
                  <a:lnTo>
                    <a:pt x="203" y="351"/>
                  </a:lnTo>
                  <a:lnTo>
                    <a:pt x="195" y="353"/>
                  </a:lnTo>
                  <a:lnTo>
                    <a:pt x="190" y="352"/>
                  </a:lnTo>
                  <a:lnTo>
                    <a:pt x="191" y="349"/>
                  </a:lnTo>
                  <a:lnTo>
                    <a:pt x="199" y="347"/>
                  </a:lnTo>
                  <a:lnTo>
                    <a:pt x="207" y="346"/>
                  </a:lnTo>
                  <a:lnTo>
                    <a:pt x="207" y="344"/>
                  </a:lnTo>
                  <a:lnTo>
                    <a:pt x="204" y="342"/>
                  </a:lnTo>
                  <a:lnTo>
                    <a:pt x="205" y="335"/>
                  </a:lnTo>
                  <a:lnTo>
                    <a:pt x="212" y="332"/>
                  </a:lnTo>
                  <a:lnTo>
                    <a:pt x="209" y="328"/>
                  </a:lnTo>
                  <a:lnTo>
                    <a:pt x="212" y="326"/>
                  </a:lnTo>
                  <a:lnTo>
                    <a:pt x="211" y="322"/>
                  </a:lnTo>
                  <a:lnTo>
                    <a:pt x="204" y="323"/>
                  </a:lnTo>
                  <a:lnTo>
                    <a:pt x="192" y="322"/>
                  </a:lnTo>
                  <a:lnTo>
                    <a:pt x="185" y="316"/>
                  </a:lnTo>
                  <a:lnTo>
                    <a:pt x="177" y="315"/>
                  </a:lnTo>
                  <a:lnTo>
                    <a:pt x="172" y="308"/>
                  </a:lnTo>
                  <a:lnTo>
                    <a:pt x="175" y="307"/>
                  </a:lnTo>
                  <a:lnTo>
                    <a:pt x="183" y="308"/>
                  </a:lnTo>
                  <a:lnTo>
                    <a:pt x="190" y="310"/>
                  </a:lnTo>
                  <a:lnTo>
                    <a:pt x="195" y="310"/>
                  </a:lnTo>
                  <a:lnTo>
                    <a:pt x="206" y="317"/>
                  </a:lnTo>
                  <a:lnTo>
                    <a:pt x="209" y="315"/>
                  </a:lnTo>
                  <a:lnTo>
                    <a:pt x="203" y="311"/>
                  </a:lnTo>
                  <a:lnTo>
                    <a:pt x="204" y="308"/>
                  </a:lnTo>
                  <a:lnTo>
                    <a:pt x="200" y="304"/>
                  </a:lnTo>
                  <a:lnTo>
                    <a:pt x="204" y="301"/>
                  </a:lnTo>
                  <a:lnTo>
                    <a:pt x="199" y="300"/>
                  </a:lnTo>
                  <a:lnTo>
                    <a:pt x="190" y="295"/>
                  </a:lnTo>
                  <a:lnTo>
                    <a:pt x="194" y="292"/>
                  </a:lnTo>
                  <a:lnTo>
                    <a:pt x="186" y="287"/>
                  </a:lnTo>
                  <a:lnTo>
                    <a:pt x="185" y="284"/>
                  </a:lnTo>
                  <a:lnTo>
                    <a:pt x="180" y="284"/>
                  </a:lnTo>
                  <a:lnTo>
                    <a:pt x="180" y="288"/>
                  </a:lnTo>
                  <a:lnTo>
                    <a:pt x="177" y="289"/>
                  </a:lnTo>
                  <a:lnTo>
                    <a:pt x="176" y="295"/>
                  </a:lnTo>
                  <a:lnTo>
                    <a:pt x="168" y="294"/>
                  </a:lnTo>
                  <a:lnTo>
                    <a:pt x="162" y="290"/>
                  </a:lnTo>
                  <a:lnTo>
                    <a:pt x="169" y="287"/>
                  </a:lnTo>
                  <a:lnTo>
                    <a:pt x="165" y="284"/>
                  </a:lnTo>
                  <a:lnTo>
                    <a:pt x="167" y="280"/>
                  </a:lnTo>
                  <a:lnTo>
                    <a:pt x="165" y="275"/>
                  </a:lnTo>
                  <a:lnTo>
                    <a:pt x="166" y="274"/>
                  </a:lnTo>
                  <a:lnTo>
                    <a:pt x="173" y="275"/>
                  </a:lnTo>
                  <a:lnTo>
                    <a:pt x="171" y="265"/>
                  </a:lnTo>
                  <a:lnTo>
                    <a:pt x="164" y="264"/>
                  </a:lnTo>
                  <a:lnTo>
                    <a:pt x="166" y="257"/>
                  </a:lnTo>
                  <a:lnTo>
                    <a:pt x="159" y="251"/>
                  </a:lnTo>
                  <a:lnTo>
                    <a:pt x="161" y="246"/>
                  </a:lnTo>
                  <a:lnTo>
                    <a:pt x="156" y="243"/>
                  </a:lnTo>
                  <a:lnTo>
                    <a:pt x="154" y="235"/>
                  </a:lnTo>
                  <a:lnTo>
                    <a:pt x="158" y="233"/>
                  </a:lnTo>
                  <a:lnTo>
                    <a:pt x="154" y="230"/>
                  </a:lnTo>
                  <a:lnTo>
                    <a:pt x="149" y="228"/>
                  </a:lnTo>
                  <a:lnTo>
                    <a:pt x="138" y="214"/>
                  </a:lnTo>
                  <a:lnTo>
                    <a:pt x="133" y="213"/>
                  </a:lnTo>
                  <a:lnTo>
                    <a:pt x="135" y="207"/>
                  </a:lnTo>
                  <a:lnTo>
                    <a:pt x="127" y="204"/>
                  </a:lnTo>
                  <a:lnTo>
                    <a:pt x="122" y="205"/>
                  </a:lnTo>
                  <a:lnTo>
                    <a:pt x="120" y="202"/>
                  </a:lnTo>
                  <a:lnTo>
                    <a:pt x="114" y="203"/>
                  </a:lnTo>
                  <a:lnTo>
                    <a:pt x="110" y="200"/>
                  </a:lnTo>
                  <a:lnTo>
                    <a:pt x="111" y="199"/>
                  </a:lnTo>
                  <a:lnTo>
                    <a:pt x="102" y="198"/>
                  </a:lnTo>
                  <a:lnTo>
                    <a:pt x="97" y="200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9" y="199"/>
                  </a:lnTo>
                  <a:lnTo>
                    <a:pt x="84" y="199"/>
                  </a:lnTo>
                  <a:lnTo>
                    <a:pt x="84" y="196"/>
                  </a:lnTo>
                  <a:lnTo>
                    <a:pt x="81" y="196"/>
                  </a:lnTo>
                  <a:lnTo>
                    <a:pt x="80" y="200"/>
                  </a:lnTo>
                  <a:lnTo>
                    <a:pt x="74" y="201"/>
                  </a:lnTo>
                  <a:lnTo>
                    <a:pt x="71" y="200"/>
                  </a:lnTo>
                  <a:lnTo>
                    <a:pt x="70" y="197"/>
                  </a:lnTo>
                  <a:lnTo>
                    <a:pt x="66" y="198"/>
                  </a:lnTo>
                  <a:lnTo>
                    <a:pt x="63" y="200"/>
                  </a:lnTo>
                  <a:lnTo>
                    <a:pt x="60" y="197"/>
                  </a:lnTo>
                  <a:lnTo>
                    <a:pt x="55" y="197"/>
                  </a:lnTo>
                  <a:lnTo>
                    <a:pt x="56" y="200"/>
                  </a:lnTo>
                  <a:lnTo>
                    <a:pt x="61" y="201"/>
                  </a:lnTo>
                  <a:lnTo>
                    <a:pt x="61" y="203"/>
                  </a:lnTo>
                  <a:lnTo>
                    <a:pt x="55" y="203"/>
                  </a:lnTo>
                  <a:lnTo>
                    <a:pt x="51" y="202"/>
                  </a:lnTo>
                  <a:lnTo>
                    <a:pt x="40" y="200"/>
                  </a:lnTo>
                  <a:lnTo>
                    <a:pt x="31" y="195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7" y="189"/>
                  </a:lnTo>
                  <a:lnTo>
                    <a:pt x="31" y="187"/>
                  </a:lnTo>
                  <a:lnTo>
                    <a:pt x="33" y="182"/>
                  </a:lnTo>
                  <a:lnTo>
                    <a:pt x="28" y="182"/>
                  </a:lnTo>
                  <a:lnTo>
                    <a:pt x="26" y="185"/>
                  </a:lnTo>
                  <a:lnTo>
                    <a:pt x="20" y="185"/>
                  </a:lnTo>
                  <a:lnTo>
                    <a:pt x="16" y="181"/>
                  </a:lnTo>
                  <a:lnTo>
                    <a:pt x="25" y="177"/>
                  </a:lnTo>
                  <a:lnTo>
                    <a:pt x="34" y="178"/>
                  </a:lnTo>
                  <a:lnTo>
                    <a:pt x="40" y="180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2" y="179"/>
                  </a:lnTo>
                  <a:lnTo>
                    <a:pt x="51" y="176"/>
                  </a:lnTo>
                  <a:lnTo>
                    <a:pt x="41" y="177"/>
                  </a:lnTo>
                  <a:lnTo>
                    <a:pt x="42" y="176"/>
                  </a:lnTo>
                  <a:lnTo>
                    <a:pt x="52" y="174"/>
                  </a:lnTo>
                  <a:lnTo>
                    <a:pt x="56" y="174"/>
                  </a:lnTo>
                  <a:lnTo>
                    <a:pt x="61" y="175"/>
                  </a:lnTo>
                  <a:lnTo>
                    <a:pt x="67" y="172"/>
                  </a:lnTo>
                  <a:lnTo>
                    <a:pt x="64" y="169"/>
                  </a:lnTo>
                  <a:lnTo>
                    <a:pt x="57" y="168"/>
                  </a:lnTo>
                  <a:lnTo>
                    <a:pt x="53" y="170"/>
                  </a:lnTo>
                  <a:lnTo>
                    <a:pt x="47" y="171"/>
                  </a:lnTo>
                  <a:lnTo>
                    <a:pt x="43" y="170"/>
                  </a:lnTo>
                  <a:lnTo>
                    <a:pt x="38" y="173"/>
                  </a:lnTo>
                  <a:lnTo>
                    <a:pt x="27" y="171"/>
                  </a:lnTo>
                  <a:lnTo>
                    <a:pt x="27" y="168"/>
                  </a:lnTo>
                  <a:lnTo>
                    <a:pt x="24" y="168"/>
                  </a:lnTo>
                  <a:lnTo>
                    <a:pt x="23" y="166"/>
                  </a:lnTo>
                  <a:lnTo>
                    <a:pt x="15" y="166"/>
                  </a:lnTo>
                  <a:lnTo>
                    <a:pt x="15" y="165"/>
                  </a:lnTo>
                  <a:lnTo>
                    <a:pt x="8" y="164"/>
                  </a:lnTo>
                  <a:lnTo>
                    <a:pt x="0" y="159"/>
                  </a:lnTo>
                  <a:lnTo>
                    <a:pt x="1" y="158"/>
                  </a:lnTo>
                  <a:lnTo>
                    <a:pt x="3" y="156"/>
                  </a:lnTo>
                  <a:lnTo>
                    <a:pt x="1" y="155"/>
                  </a:lnTo>
                  <a:lnTo>
                    <a:pt x="2" y="153"/>
                  </a:lnTo>
                  <a:lnTo>
                    <a:pt x="7" y="151"/>
                  </a:lnTo>
                  <a:lnTo>
                    <a:pt x="10" y="149"/>
                  </a:lnTo>
                  <a:lnTo>
                    <a:pt x="16" y="148"/>
                  </a:lnTo>
                  <a:lnTo>
                    <a:pt x="20" y="149"/>
                  </a:lnTo>
                  <a:lnTo>
                    <a:pt x="29" y="144"/>
                  </a:lnTo>
                  <a:lnTo>
                    <a:pt x="38" y="144"/>
                  </a:lnTo>
                  <a:lnTo>
                    <a:pt x="40" y="143"/>
                  </a:lnTo>
                  <a:lnTo>
                    <a:pt x="36" y="141"/>
                  </a:lnTo>
                  <a:lnTo>
                    <a:pt x="43" y="140"/>
                  </a:lnTo>
                  <a:lnTo>
                    <a:pt x="47" y="137"/>
                  </a:lnTo>
                  <a:lnTo>
                    <a:pt x="61" y="137"/>
                  </a:lnTo>
                  <a:lnTo>
                    <a:pt x="64" y="138"/>
                  </a:lnTo>
                  <a:lnTo>
                    <a:pt x="79" y="127"/>
                  </a:lnTo>
                  <a:lnTo>
                    <a:pt x="74" y="122"/>
                  </a:lnTo>
                  <a:lnTo>
                    <a:pt x="83" y="120"/>
                  </a:lnTo>
                  <a:lnTo>
                    <a:pt x="79" y="118"/>
                  </a:lnTo>
                  <a:lnTo>
                    <a:pt x="82" y="116"/>
                  </a:lnTo>
                  <a:lnTo>
                    <a:pt x="84" y="114"/>
                  </a:lnTo>
                  <a:lnTo>
                    <a:pt x="81" y="112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68" y="116"/>
                  </a:lnTo>
                  <a:lnTo>
                    <a:pt x="55" y="114"/>
                  </a:lnTo>
                  <a:lnTo>
                    <a:pt x="55" y="112"/>
                  </a:lnTo>
                  <a:lnTo>
                    <a:pt x="53" y="110"/>
                  </a:lnTo>
                  <a:lnTo>
                    <a:pt x="53" y="105"/>
                  </a:lnTo>
                  <a:lnTo>
                    <a:pt x="61" y="103"/>
                  </a:lnTo>
                  <a:lnTo>
                    <a:pt x="66" y="100"/>
                  </a:lnTo>
                  <a:lnTo>
                    <a:pt x="71" y="99"/>
                  </a:lnTo>
                  <a:lnTo>
                    <a:pt x="71" y="96"/>
                  </a:lnTo>
                  <a:lnTo>
                    <a:pt x="85" y="86"/>
                  </a:lnTo>
                  <a:lnTo>
                    <a:pt x="87" y="86"/>
                  </a:lnTo>
                  <a:lnTo>
                    <a:pt x="89" y="92"/>
                  </a:lnTo>
                  <a:lnTo>
                    <a:pt x="93" y="91"/>
                  </a:lnTo>
                  <a:lnTo>
                    <a:pt x="92" y="84"/>
                  </a:lnTo>
                  <a:lnTo>
                    <a:pt x="98" y="85"/>
                  </a:lnTo>
                  <a:lnTo>
                    <a:pt x="101" y="87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07" y="78"/>
                  </a:lnTo>
                  <a:lnTo>
                    <a:pt x="112" y="74"/>
                  </a:lnTo>
                  <a:lnTo>
                    <a:pt x="106" y="72"/>
                  </a:lnTo>
                  <a:lnTo>
                    <a:pt x="106" y="69"/>
                  </a:lnTo>
                  <a:lnTo>
                    <a:pt x="104" y="67"/>
                  </a:lnTo>
                  <a:lnTo>
                    <a:pt x="105" y="65"/>
                  </a:lnTo>
                  <a:lnTo>
                    <a:pt x="111" y="64"/>
                  </a:lnTo>
                  <a:lnTo>
                    <a:pt x="124" y="64"/>
                  </a:lnTo>
                  <a:lnTo>
                    <a:pt x="127" y="66"/>
                  </a:lnTo>
                  <a:lnTo>
                    <a:pt x="127" y="69"/>
                  </a:lnTo>
                  <a:lnTo>
                    <a:pt x="143" y="75"/>
                  </a:lnTo>
                  <a:lnTo>
                    <a:pt x="142" y="71"/>
                  </a:lnTo>
                  <a:lnTo>
                    <a:pt x="133" y="66"/>
                  </a:lnTo>
                  <a:lnTo>
                    <a:pt x="131" y="62"/>
                  </a:lnTo>
                  <a:lnTo>
                    <a:pt x="124" y="58"/>
                  </a:lnTo>
                  <a:lnTo>
                    <a:pt x="125" y="57"/>
                  </a:lnTo>
                  <a:lnTo>
                    <a:pt x="140" y="54"/>
                  </a:lnTo>
                  <a:lnTo>
                    <a:pt x="147" y="54"/>
                  </a:lnTo>
                  <a:lnTo>
                    <a:pt x="154" y="51"/>
                  </a:lnTo>
                  <a:lnTo>
                    <a:pt x="162" y="52"/>
                  </a:lnTo>
                  <a:lnTo>
                    <a:pt x="161" y="49"/>
                  </a:lnTo>
                  <a:lnTo>
                    <a:pt x="170" y="47"/>
                  </a:lnTo>
                  <a:lnTo>
                    <a:pt x="173" y="49"/>
                  </a:lnTo>
                  <a:lnTo>
                    <a:pt x="176" y="55"/>
                  </a:lnTo>
                  <a:lnTo>
                    <a:pt x="175" y="72"/>
                  </a:lnTo>
                  <a:lnTo>
                    <a:pt x="177" y="73"/>
                  </a:lnTo>
                  <a:lnTo>
                    <a:pt x="179" y="72"/>
                  </a:lnTo>
                  <a:lnTo>
                    <a:pt x="185" y="62"/>
                  </a:lnTo>
                  <a:lnTo>
                    <a:pt x="183" y="61"/>
                  </a:lnTo>
                  <a:lnTo>
                    <a:pt x="185" y="59"/>
                  </a:lnTo>
                  <a:lnTo>
                    <a:pt x="192" y="61"/>
                  </a:lnTo>
                  <a:lnTo>
                    <a:pt x="213" y="72"/>
                  </a:lnTo>
                  <a:lnTo>
                    <a:pt x="215" y="70"/>
                  </a:lnTo>
                  <a:lnTo>
                    <a:pt x="201" y="62"/>
                  </a:lnTo>
                  <a:lnTo>
                    <a:pt x="214" y="62"/>
                  </a:lnTo>
                  <a:lnTo>
                    <a:pt x="210" y="59"/>
                  </a:lnTo>
                  <a:lnTo>
                    <a:pt x="202" y="54"/>
                  </a:lnTo>
                  <a:lnTo>
                    <a:pt x="203" y="46"/>
                  </a:lnTo>
                  <a:lnTo>
                    <a:pt x="200" y="44"/>
                  </a:lnTo>
                  <a:lnTo>
                    <a:pt x="202" y="42"/>
                  </a:lnTo>
                  <a:lnTo>
                    <a:pt x="213" y="42"/>
                  </a:lnTo>
                  <a:lnTo>
                    <a:pt x="219" y="45"/>
                  </a:lnTo>
                  <a:lnTo>
                    <a:pt x="220" y="48"/>
                  </a:lnTo>
                  <a:lnTo>
                    <a:pt x="229" y="50"/>
                  </a:lnTo>
                  <a:lnTo>
                    <a:pt x="230" y="53"/>
                  </a:lnTo>
                  <a:lnTo>
                    <a:pt x="237" y="53"/>
                  </a:lnTo>
                  <a:lnTo>
                    <a:pt x="244" y="57"/>
                  </a:lnTo>
                  <a:lnTo>
                    <a:pt x="256" y="67"/>
                  </a:lnTo>
                  <a:lnTo>
                    <a:pt x="263" y="67"/>
                  </a:lnTo>
                  <a:lnTo>
                    <a:pt x="264" y="65"/>
                  </a:lnTo>
                  <a:lnTo>
                    <a:pt x="257" y="61"/>
                  </a:lnTo>
                  <a:lnTo>
                    <a:pt x="259" y="59"/>
                  </a:lnTo>
                  <a:lnTo>
                    <a:pt x="257" y="52"/>
                  </a:lnTo>
                  <a:lnTo>
                    <a:pt x="260" y="50"/>
                  </a:lnTo>
                  <a:lnTo>
                    <a:pt x="268" y="51"/>
                  </a:lnTo>
                  <a:lnTo>
                    <a:pt x="275" y="51"/>
                  </a:lnTo>
                  <a:lnTo>
                    <a:pt x="279" y="50"/>
                  </a:lnTo>
                  <a:lnTo>
                    <a:pt x="264" y="47"/>
                  </a:lnTo>
                  <a:lnTo>
                    <a:pt x="268" y="46"/>
                  </a:lnTo>
                  <a:lnTo>
                    <a:pt x="253" y="36"/>
                  </a:lnTo>
                  <a:lnTo>
                    <a:pt x="246" y="34"/>
                  </a:lnTo>
                  <a:lnTo>
                    <a:pt x="252" y="32"/>
                  </a:lnTo>
                  <a:lnTo>
                    <a:pt x="266" y="33"/>
                  </a:lnTo>
                  <a:lnTo>
                    <a:pt x="279" y="33"/>
                  </a:lnTo>
                  <a:lnTo>
                    <a:pt x="282" y="34"/>
                  </a:lnTo>
                  <a:lnTo>
                    <a:pt x="281" y="40"/>
                  </a:lnTo>
                  <a:lnTo>
                    <a:pt x="283" y="42"/>
                  </a:lnTo>
                  <a:lnTo>
                    <a:pt x="287" y="41"/>
                  </a:lnTo>
                  <a:lnTo>
                    <a:pt x="285" y="36"/>
                  </a:lnTo>
                  <a:lnTo>
                    <a:pt x="288" y="34"/>
                  </a:lnTo>
                  <a:lnTo>
                    <a:pt x="292" y="37"/>
                  </a:lnTo>
                  <a:lnTo>
                    <a:pt x="297" y="41"/>
                  </a:lnTo>
                  <a:lnTo>
                    <a:pt x="297" y="44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298" y="36"/>
                  </a:lnTo>
                  <a:lnTo>
                    <a:pt x="292" y="33"/>
                  </a:lnTo>
                  <a:lnTo>
                    <a:pt x="275" y="29"/>
                  </a:lnTo>
                  <a:lnTo>
                    <a:pt x="259" y="31"/>
                  </a:lnTo>
                  <a:lnTo>
                    <a:pt x="258" y="28"/>
                  </a:lnTo>
                  <a:lnTo>
                    <a:pt x="266" y="28"/>
                  </a:lnTo>
                  <a:lnTo>
                    <a:pt x="264" y="26"/>
                  </a:lnTo>
                  <a:lnTo>
                    <a:pt x="259" y="26"/>
                  </a:lnTo>
                  <a:lnTo>
                    <a:pt x="250" y="22"/>
                  </a:lnTo>
                  <a:lnTo>
                    <a:pt x="253" y="20"/>
                  </a:lnTo>
                  <a:lnTo>
                    <a:pt x="263" y="20"/>
                  </a:lnTo>
                  <a:lnTo>
                    <a:pt x="269" y="22"/>
                  </a:lnTo>
                  <a:lnTo>
                    <a:pt x="274" y="21"/>
                  </a:lnTo>
                  <a:lnTo>
                    <a:pt x="273" y="19"/>
                  </a:lnTo>
                  <a:lnTo>
                    <a:pt x="264" y="18"/>
                  </a:lnTo>
                  <a:lnTo>
                    <a:pt x="266" y="16"/>
                  </a:lnTo>
                  <a:lnTo>
                    <a:pt x="275" y="15"/>
                  </a:lnTo>
                  <a:lnTo>
                    <a:pt x="284" y="18"/>
                  </a:lnTo>
                  <a:lnTo>
                    <a:pt x="285" y="22"/>
                  </a:lnTo>
                  <a:lnTo>
                    <a:pt x="290" y="22"/>
                  </a:lnTo>
                  <a:lnTo>
                    <a:pt x="296" y="27"/>
                  </a:lnTo>
                  <a:lnTo>
                    <a:pt x="304" y="26"/>
                  </a:lnTo>
                  <a:lnTo>
                    <a:pt x="309" y="28"/>
                  </a:lnTo>
                  <a:lnTo>
                    <a:pt x="312" y="33"/>
                  </a:lnTo>
                  <a:lnTo>
                    <a:pt x="316" y="33"/>
                  </a:lnTo>
                  <a:lnTo>
                    <a:pt x="317" y="30"/>
                  </a:lnTo>
                  <a:lnTo>
                    <a:pt x="310" y="27"/>
                  </a:lnTo>
                  <a:lnTo>
                    <a:pt x="313" y="25"/>
                  </a:lnTo>
                  <a:lnTo>
                    <a:pt x="322" y="25"/>
                  </a:lnTo>
                  <a:lnTo>
                    <a:pt x="325" y="23"/>
                  </a:lnTo>
                  <a:lnTo>
                    <a:pt x="315" y="23"/>
                  </a:lnTo>
                  <a:lnTo>
                    <a:pt x="315" y="21"/>
                  </a:lnTo>
                  <a:lnTo>
                    <a:pt x="320" y="20"/>
                  </a:lnTo>
                  <a:lnTo>
                    <a:pt x="328" y="19"/>
                  </a:lnTo>
                  <a:lnTo>
                    <a:pt x="328" y="18"/>
                  </a:lnTo>
                  <a:lnTo>
                    <a:pt x="317" y="18"/>
                  </a:lnTo>
                  <a:lnTo>
                    <a:pt x="311" y="16"/>
                  </a:lnTo>
                  <a:lnTo>
                    <a:pt x="314" y="13"/>
                  </a:lnTo>
                  <a:lnTo>
                    <a:pt x="311" y="9"/>
                  </a:lnTo>
                  <a:lnTo>
                    <a:pt x="313" y="8"/>
                  </a:lnTo>
                  <a:lnTo>
                    <a:pt x="317" y="9"/>
                  </a:lnTo>
                  <a:lnTo>
                    <a:pt x="320" y="8"/>
                  </a:lnTo>
                  <a:lnTo>
                    <a:pt x="318" y="6"/>
                  </a:lnTo>
                  <a:lnTo>
                    <a:pt x="323" y="6"/>
                  </a:lnTo>
                  <a:lnTo>
                    <a:pt x="330" y="10"/>
                  </a:lnTo>
                  <a:lnTo>
                    <a:pt x="334" y="9"/>
                  </a:lnTo>
                  <a:lnTo>
                    <a:pt x="328" y="4"/>
                  </a:lnTo>
                  <a:lnTo>
                    <a:pt x="332" y="2"/>
                  </a:lnTo>
                  <a:lnTo>
                    <a:pt x="336" y="4"/>
                  </a:lnTo>
                  <a:lnTo>
                    <a:pt x="342" y="1"/>
                  </a:lnTo>
                  <a:lnTo>
                    <a:pt x="345" y="2"/>
                  </a:lnTo>
                  <a:lnTo>
                    <a:pt x="350" y="3"/>
                  </a:lnTo>
                  <a:lnTo>
                    <a:pt x="353" y="3"/>
                  </a:lnTo>
                  <a:lnTo>
                    <a:pt x="355" y="1"/>
                  </a:lnTo>
                  <a:lnTo>
                    <a:pt x="366" y="0"/>
                  </a:lnTo>
                  <a:lnTo>
                    <a:pt x="369" y="2"/>
                  </a:lnTo>
                  <a:lnTo>
                    <a:pt x="374" y="1"/>
                  </a:lnTo>
                  <a:lnTo>
                    <a:pt x="380" y="1"/>
                  </a:lnTo>
                  <a:lnTo>
                    <a:pt x="389" y="2"/>
                  </a:lnTo>
                  <a:lnTo>
                    <a:pt x="394" y="2"/>
                  </a:lnTo>
                  <a:lnTo>
                    <a:pt x="398" y="4"/>
                  </a:lnTo>
                  <a:lnTo>
                    <a:pt x="405" y="3"/>
                  </a:lnTo>
                  <a:lnTo>
                    <a:pt x="407" y="5"/>
                  </a:lnTo>
                  <a:lnTo>
                    <a:pt x="402" y="7"/>
                  </a:lnTo>
                  <a:lnTo>
                    <a:pt x="405" y="9"/>
                  </a:lnTo>
                  <a:lnTo>
                    <a:pt x="411" y="8"/>
                  </a:lnTo>
                  <a:lnTo>
                    <a:pt x="414" y="5"/>
                  </a:lnTo>
                  <a:lnTo>
                    <a:pt x="435" y="10"/>
                  </a:lnTo>
                  <a:lnTo>
                    <a:pt x="438" y="14"/>
                  </a:lnTo>
                  <a:lnTo>
                    <a:pt x="427" y="17"/>
                  </a:lnTo>
                  <a:lnTo>
                    <a:pt x="412" y="19"/>
                  </a:lnTo>
                  <a:lnTo>
                    <a:pt x="397" y="18"/>
                  </a:lnTo>
                  <a:lnTo>
                    <a:pt x="383" y="19"/>
                  </a:lnTo>
                  <a:lnTo>
                    <a:pt x="374" y="22"/>
                  </a:lnTo>
                  <a:lnTo>
                    <a:pt x="367" y="21"/>
                  </a:lnTo>
                  <a:lnTo>
                    <a:pt x="361" y="21"/>
                  </a:lnTo>
                  <a:lnTo>
                    <a:pt x="364" y="23"/>
                  </a:lnTo>
                  <a:lnTo>
                    <a:pt x="353" y="26"/>
                  </a:lnTo>
                  <a:lnTo>
                    <a:pt x="341" y="28"/>
                  </a:lnTo>
                  <a:lnTo>
                    <a:pt x="344" y="30"/>
                  </a:lnTo>
                  <a:lnTo>
                    <a:pt x="342" y="32"/>
                  </a:lnTo>
                  <a:lnTo>
                    <a:pt x="346" y="32"/>
                  </a:lnTo>
                  <a:lnTo>
                    <a:pt x="350" y="29"/>
                  </a:lnTo>
                  <a:lnTo>
                    <a:pt x="355" y="29"/>
                  </a:lnTo>
                  <a:lnTo>
                    <a:pt x="355" y="33"/>
                  </a:lnTo>
                  <a:lnTo>
                    <a:pt x="359" y="32"/>
                  </a:lnTo>
                  <a:lnTo>
                    <a:pt x="360" y="27"/>
                  </a:lnTo>
                  <a:lnTo>
                    <a:pt x="376" y="27"/>
                  </a:lnTo>
                  <a:lnTo>
                    <a:pt x="377" y="24"/>
                  </a:lnTo>
                  <a:lnTo>
                    <a:pt x="390" y="20"/>
                  </a:lnTo>
                  <a:lnTo>
                    <a:pt x="399" y="20"/>
                  </a:lnTo>
                  <a:lnTo>
                    <a:pt x="409" y="22"/>
                  </a:lnTo>
                  <a:lnTo>
                    <a:pt x="426" y="22"/>
                  </a:lnTo>
                  <a:lnTo>
                    <a:pt x="429" y="20"/>
                  </a:lnTo>
                  <a:lnTo>
                    <a:pt x="441" y="18"/>
                  </a:lnTo>
                  <a:lnTo>
                    <a:pt x="445" y="22"/>
                  </a:lnTo>
                  <a:lnTo>
                    <a:pt x="443" y="27"/>
                  </a:lnTo>
                  <a:lnTo>
                    <a:pt x="439" y="30"/>
                  </a:lnTo>
                  <a:lnTo>
                    <a:pt x="440" y="33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4" y="32"/>
                  </a:lnTo>
                  <a:lnTo>
                    <a:pt x="462" y="30"/>
                  </a:lnTo>
                  <a:lnTo>
                    <a:pt x="474" y="32"/>
                  </a:lnTo>
                  <a:lnTo>
                    <a:pt x="480" y="38"/>
                  </a:lnTo>
                  <a:lnTo>
                    <a:pt x="480" y="41"/>
                  </a:lnTo>
                  <a:lnTo>
                    <a:pt x="474" y="42"/>
                  </a:lnTo>
                  <a:lnTo>
                    <a:pt x="473" y="46"/>
                  </a:lnTo>
                  <a:lnTo>
                    <a:pt x="462" y="49"/>
                  </a:lnTo>
                  <a:lnTo>
                    <a:pt x="455" y="48"/>
                  </a:lnTo>
                  <a:lnTo>
                    <a:pt x="447" y="53"/>
                  </a:lnTo>
                  <a:lnTo>
                    <a:pt x="426" y="53"/>
                  </a:lnTo>
                  <a:lnTo>
                    <a:pt x="416" y="53"/>
                  </a:lnTo>
                  <a:lnTo>
                    <a:pt x="396" y="54"/>
                  </a:lnTo>
                  <a:lnTo>
                    <a:pt x="391" y="53"/>
                  </a:lnTo>
                  <a:lnTo>
                    <a:pt x="380" y="53"/>
                  </a:lnTo>
                  <a:lnTo>
                    <a:pt x="387" y="55"/>
                  </a:lnTo>
                  <a:lnTo>
                    <a:pt x="386" y="56"/>
                  </a:lnTo>
                  <a:lnTo>
                    <a:pt x="371" y="61"/>
                  </a:lnTo>
                  <a:lnTo>
                    <a:pt x="365" y="66"/>
                  </a:lnTo>
                  <a:lnTo>
                    <a:pt x="368" y="71"/>
                  </a:lnTo>
                  <a:lnTo>
                    <a:pt x="374" y="69"/>
                  </a:lnTo>
                  <a:lnTo>
                    <a:pt x="374" y="67"/>
                  </a:lnTo>
                  <a:lnTo>
                    <a:pt x="393" y="61"/>
                  </a:lnTo>
                  <a:lnTo>
                    <a:pt x="397" y="62"/>
                  </a:lnTo>
                  <a:lnTo>
                    <a:pt x="413" y="57"/>
                  </a:lnTo>
                  <a:lnTo>
                    <a:pt x="417" y="58"/>
                  </a:lnTo>
                  <a:lnTo>
                    <a:pt x="439" y="59"/>
                  </a:lnTo>
                  <a:lnTo>
                    <a:pt x="441" y="60"/>
                  </a:lnTo>
                  <a:lnTo>
                    <a:pt x="441" y="65"/>
                  </a:lnTo>
                  <a:lnTo>
                    <a:pt x="431" y="68"/>
                  </a:lnTo>
                  <a:lnTo>
                    <a:pt x="426" y="71"/>
                  </a:lnTo>
                  <a:lnTo>
                    <a:pt x="419" y="74"/>
                  </a:lnTo>
                  <a:lnTo>
                    <a:pt x="422" y="74"/>
                  </a:lnTo>
                  <a:lnTo>
                    <a:pt x="424" y="76"/>
                  </a:lnTo>
                  <a:lnTo>
                    <a:pt x="431" y="74"/>
                  </a:lnTo>
                  <a:lnTo>
                    <a:pt x="436" y="72"/>
                  </a:lnTo>
                  <a:lnTo>
                    <a:pt x="452" y="67"/>
                  </a:lnTo>
                  <a:lnTo>
                    <a:pt x="453" y="59"/>
                  </a:lnTo>
                  <a:lnTo>
                    <a:pt x="454" y="58"/>
                  </a:lnTo>
                  <a:lnTo>
                    <a:pt x="471" y="57"/>
                  </a:lnTo>
                  <a:lnTo>
                    <a:pt x="473" y="59"/>
                  </a:lnTo>
                  <a:lnTo>
                    <a:pt x="473" y="75"/>
                  </a:lnTo>
                  <a:lnTo>
                    <a:pt x="467" y="79"/>
                  </a:lnTo>
                  <a:lnTo>
                    <a:pt x="462" y="83"/>
                  </a:lnTo>
                  <a:lnTo>
                    <a:pt x="462" y="88"/>
                  </a:lnTo>
                  <a:lnTo>
                    <a:pt x="457" y="92"/>
                  </a:lnTo>
                  <a:lnTo>
                    <a:pt x="458" y="95"/>
                  </a:lnTo>
                  <a:lnTo>
                    <a:pt x="454" y="97"/>
                  </a:lnTo>
                  <a:lnTo>
                    <a:pt x="454" y="100"/>
                  </a:lnTo>
                  <a:lnTo>
                    <a:pt x="456" y="100"/>
                  </a:lnTo>
                  <a:lnTo>
                    <a:pt x="461" y="98"/>
                  </a:lnTo>
                  <a:lnTo>
                    <a:pt x="461" y="93"/>
                  </a:lnTo>
                  <a:lnTo>
                    <a:pt x="473" y="87"/>
                  </a:lnTo>
                  <a:lnTo>
                    <a:pt x="477" y="79"/>
                  </a:lnTo>
                  <a:lnTo>
                    <a:pt x="488" y="73"/>
                  </a:lnTo>
                  <a:lnTo>
                    <a:pt x="488" y="71"/>
                  </a:lnTo>
                  <a:lnTo>
                    <a:pt x="494" y="71"/>
                  </a:lnTo>
                  <a:lnTo>
                    <a:pt x="494" y="73"/>
                  </a:lnTo>
                  <a:lnTo>
                    <a:pt x="499" y="73"/>
                  </a:lnTo>
                  <a:lnTo>
                    <a:pt x="504" y="74"/>
                  </a:lnTo>
                  <a:lnTo>
                    <a:pt x="511" y="73"/>
                  </a:lnTo>
                  <a:lnTo>
                    <a:pt x="513" y="69"/>
                  </a:lnTo>
                  <a:lnTo>
                    <a:pt x="516" y="67"/>
                  </a:lnTo>
                  <a:lnTo>
                    <a:pt x="515" y="62"/>
                  </a:lnTo>
                  <a:lnTo>
                    <a:pt x="518" y="62"/>
                  </a:lnTo>
                  <a:lnTo>
                    <a:pt x="522" y="64"/>
                  </a:lnTo>
                  <a:lnTo>
                    <a:pt x="529" y="59"/>
                  </a:lnTo>
                  <a:lnTo>
                    <a:pt x="547" y="61"/>
                  </a:lnTo>
                  <a:lnTo>
                    <a:pt x="566" y="71"/>
                  </a:lnTo>
                  <a:lnTo>
                    <a:pt x="567" y="73"/>
                  </a:lnTo>
                  <a:lnTo>
                    <a:pt x="551" y="85"/>
                  </a:lnTo>
                  <a:lnTo>
                    <a:pt x="542" y="84"/>
                  </a:lnTo>
                  <a:lnTo>
                    <a:pt x="539" y="86"/>
                  </a:lnTo>
                  <a:lnTo>
                    <a:pt x="544" y="90"/>
                  </a:lnTo>
                  <a:lnTo>
                    <a:pt x="541" y="91"/>
                  </a:lnTo>
                  <a:lnTo>
                    <a:pt x="534" y="92"/>
                  </a:lnTo>
                  <a:lnTo>
                    <a:pt x="532" y="95"/>
                  </a:lnTo>
                  <a:lnTo>
                    <a:pt x="528" y="96"/>
                  </a:lnTo>
                  <a:lnTo>
                    <a:pt x="520" y="96"/>
                  </a:lnTo>
                  <a:lnTo>
                    <a:pt x="511" y="94"/>
                  </a:lnTo>
                  <a:lnTo>
                    <a:pt x="509" y="96"/>
                  </a:lnTo>
                  <a:lnTo>
                    <a:pt x="505" y="95"/>
                  </a:lnTo>
                  <a:lnTo>
                    <a:pt x="494" y="96"/>
                  </a:lnTo>
                  <a:lnTo>
                    <a:pt x="490" y="98"/>
                  </a:lnTo>
                  <a:lnTo>
                    <a:pt x="486" y="98"/>
                  </a:lnTo>
                  <a:lnTo>
                    <a:pt x="486" y="101"/>
                  </a:lnTo>
                  <a:lnTo>
                    <a:pt x="494" y="101"/>
                  </a:lnTo>
                  <a:lnTo>
                    <a:pt x="495" y="98"/>
                  </a:lnTo>
                  <a:lnTo>
                    <a:pt x="501" y="98"/>
                  </a:lnTo>
                  <a:lnTo>
                    <a:pt x="510" y="102"/>
                  </a:lnTo>
                  <a:lnTo>
                    <a:pt x="515" y="101"/>
                  </a:lnTo>
                  <a:lnTo>
                    <a:pt x="520" y="98"/>
                  </a:lnTo>
                  <a:lnTo>
                    <a:pt x="532" y="102"/>
                  </a:lnTo>
                  <a:lnTo>
                    <a:pt x="522" y="108"/>
                  </a:lnTo>
                  <a:lnTo>
                    <a:pt x="517" y="109"/>
                  </a:lnTo>
                  <a:lnTo>
                    <a:pt x="509" y="107"/>
                  </a:lnTo>
                  <a:lnTo>
                    <a:pt x="497" y="107"/>
                  </a:lnTo>
                  <a:lnTo>
                    <a:pt x="492" y="112"/>
                  </a:lnTo>
                  <a:lnTo>
                    <a:pt x="492" y="118"/>
                  </a:lnTo>
                  <a:lnTo>
                    <a:pt x="497" y="119"/>
                  </a:lnTo>
                  <a:lnTo>
                    <a:pt x="499" y="115"/>
                  </a:lnTo>
                  <a:lnTo>
                    <a:pt x="500" y="114"/>
                  </a:lnTo>
                  <a:lnTo>
                    <a:pt x="497" y="112"/>
                  </a:lnTo>
                  <a:lnTo>
                    <a:pt x="501" y="109"/>
                  </a:lnTo>
                  <a:lnTo>
                    <a:pt x="506" y="110"/>
                  </a:lnTo>
                  <a:lnTo>
                    <a:pt x="507" y="113"/>
                  </a:lnTo>
                  <a:lnTo>
                    <a:pt x="513" y="110"/>
                  </a:lnTo>
                  <a:lnTo>
                    <a:pt x="517" y="113"/>
                  </a:lnTo>
                  <a:lnTo>
                    <a:pt x="513" y="120"/>
                  </a:lnTo>
                  <a:lnTo>
                    <a:pt x="500" y="120"/>
                  </a:lnTo>
                  <a:lnTo>
                    <a:pt x="495" y="132"/>
                  </a:lnTo>
                  <a:lnTo>
                    <a:pt x="501" y="132"/>
                  </a:lnTo>
                  <a:lnTo>
                    <a:pt x="501" y="134"/>
                  </a:lnTo>
                  <a:lnTo>
                    <a:pt x="495" y="141"/>
                  </a:lnTo>
                  <a:lnTo>
                    <a:pt x="488" y="141"/>
                  </a:lnTo>
                  <a:lnTo>
                    <a:pt x="482" y="148"/>
                  </a:lnTo>
                  <a:lnTo>
                    <a:pt x="485" y="148"/>
                  </a:lnTo>
                  <a:lnTo>
                    <a:pt x="476" y="163"/>
                  </a:lnTo>
                  <a:lnTo>
                    <a:pt x="478" y="167"/>
                  </a:lnTo>
                  <a:lnTo>
                    <a:pt x="483" y="167"/>
                  </a:lnTo>
                  <a:lnTo>
                    <a:pt x="485" y="162"/>
                  </a:lnTo>
                  <a:lnTo>
                    <a:pt x="489" y="161"/>
                  </a:lnTo>
                  <a:lnTo>
                    <a:pt x="501" y="166"/>
                  </a:lnTo>
                  <a:lnTo>
                    <a:pt x="502" y="169"/>
                  </a:lnTo>
                  <a:lnTo>
                    <a:pt x="495" y="168"/>
                  </a:lnTo>
                  <a:lnTo>
                    <a:pt x="491" y="166"/>
                  </a:lnTo>
                  <a:lnTo>
                    <a:pt x="490" y="168"/>
                  </a:lnTo>
                  <a:lnTo>
                    <a:pt x="493" y="172"/>
                  </a:lnTo>
                  <a:lnTo>
                    <a:pt x="503" y="176"/>
                  </a:lnTo>
                  <a:lnTo>
                    <a:pt x="505" y="174"/>
                  </a:lnTo>
                  <a:lnTo>
                    <a:pt x="512" y="175"/>
                  </a:lnTo>
                  <a:lnTo>
                    <a:pt x="513" y="178"/>
                  </a:lnTo>
                  <a:lnTo>
                    <a:pt x="510" y="184"/>
                  </a:lnTo>
                  <a:lnTo>
                    <a:pt x="502" y="184"/>
                  </a:lnTo>
                  <a:lnTo>
                    <a:pt x="488" y="181"/>
                  </a:lnTo>
                  <a:lnTo>
                    <a:pt x="484" y="182"/>
                  </a:lnTo>
                  <a:lnTo>
                    <a:pt x="487" y="185"/>
                  </a:lnTo>
                  <a:lnTo>
                    <a:pt x="479" y="185"/>
                  </a:lnTo>
                  <a:lnTo>
                    <a:pt x="476" y="185"/>
                  </a:lnTo>
                  <a:lnTo>
                    <a:pt x="475" y="187"/>
                  </a:lnTo>
                  <a:lnTo>
                    <a:pt x="478" y="192"/>
                  </a:lnTo>
                  <a:lnTo>
                    <a:pt x="478" y="195"/>
                  </a:lnTo>
                  <a:lnTo>
                    <a:pt x="482" y="197"/>
                  </a:lnTo>
                  <a:lnTo>
                    <a:pt x="488" y="195"/>
                  </a:lnTo>
                  <a:lnTo>
                    <a:pt x="496" y="196"/>
                  </a:lnTo>
                  <a:lnTo>
                    <a:pt x="496" y="200"/>
                  </a:lnTo>
                  <a:lnTo>
                    <a:pt x="489" y="200"/>
                  </a:lnTo>
                  <a:lnTo>
                    <a:pt x="476" y="200"/>
                  </a:lnTo>
                  <a:lnTo>
                    <a:pt x="481" y="202"/>
                  </a:lnTo>
                  <a:lnTo>
                    <a:pt x="494" y="203"/>
                  </a:lnTo>
                  <a:lnTo>
                    <a:pt x="503" y="207"/>
                  </a:lnTo>
                  <a:lnTo>
                    <a:pt x="504" y="211"/>
                  </a:lnTo>
                  <a:lnTo>
                    <a:pt x="497" y="216"/>
                  </a:lnTo>
                  <a:lnTo>
                    <a:pt x="492" y="212"/>
                  </a:lnTo>
                  <a:lnTo>
                    <a:pt x="486" y="211"/>
                  </a:lnTo>
                  <a:lnTo>
                    <a:pt x="482" y="208"/>
                  </a:lnTo>
                  <a:lnTo>
                    <a:pt x="478" y="209"/>
                  </a:lnTo>
                  <a:lnTo>
                    <a:pt x="489" y="214"/>
                  </a:lnTo>
                  <a:lnTo>
                    <a:pt x="488" y="216"/>
                  </a:lnTo>
                  <a:lnTo>
                    <a:pt x="479" y="217"/>
                  </a:lnTo>
                  <a:lnTo>
                    <a:pt x="475" y="219"/>
                  </a:lnTo>
                  <a:lnTo>
                    <a:pt x="478" y="221"/>
                  </a:lnTo>
                  <a:lnTo>
                    <a:pt x="486" y="220"/>
                  </a:lnTo>
                  <a:lnTo>
                    <a:pt x="489" y="222"/>
                  </a:lnTo>
                  <a:lnTo>
                    <a:pt x="486" y="226"/>
                  </a:lnTo>
                  <a:lnTo>
                    <a:pt x="486" y="229"/>
                  </a:lnTo>
                  <a:lnTo>
                    <a:pt x="496" y="230"/>
                  </a:lnTo>
                  <a:lnTo>
                    <a:pt x="499" y="229"/>
                  </a:lnTo>
                  <a:lnTo>
                    <a:pt x="502" y="231"/>
                  </a:lnTo>
                  <a:lnTo>
                    <a:pt x="499" y="236"/>
                  </a:lnTo>
                  <a:lnTo>
                    <a:pt x="495" y="237"/>
                  </a:lnTo>
                  <a:lnTo>
                    <a:pt x="490" y="231"/>
                  </a:lnTo>
                  <a:lnTo>
                    <a:pt x="479" y="230"/>
                  </a:lnTo>
                  <a:lnTo>
                    <a:pt x="477" y="231"/>
                  </a:lnTo>
                  <a:lnTo>
                    <a:pt x="475" y="235"/>
                  </a:lnTo>
                  <a:lnTo>
                    <a:pt x="478" y="241"/>
                  </a:lnTo>
                  <a:lnTo>
                    <a:pt x="480" y="250"/>
                  </a:lnTo>
                  <a:lnTo>
                    <a:pt x="482" y="249"/>
                  </a:lnTo>
                  <a:lnTo>
                    <a:pt x="481" y="245"/>
                  </a:lnTo>
                  <a:lnTo>
                    <a:pt x="492" y="245"/>
                  </a:lnTo>
                  <a:lnTo>
                    <a:pt x="492" y="253"/>
                  </a:lnTo>
                  <a:lnTo>
                    <a:pt x="483" y="254"/>
                  </a:lnTo>
                  <a:lnTo>
                    <a:pt x="473" y="257"/>
                  </a:lnTo>
                  <a:lnTo>
                    <a:pt x="461" y="252"/>
                  </a:lnTo>
                  <a:lnTo>
                    <a:pt x="458" y="251"/>
                  </a:lnTo>
                  <a:lnTo>
                    <a:pt x="469" y="251"/>
                  </a:lnTo>
                  <a:lnTo>
                    <a:pt x="460" y="247"/>
                  </a:lnTo>
                  <a:lnTo>
                    <a:pt x="452" y="248"/>
                  </a:lnTo>
                  <a:lnTo>
                    <a:pt x="445" y="243"/>
                  </a:lnTo>
                  <a:lnTo>
                    <a:pt x="441" y="244"/>
                  </a:lnTo>
                  <a:lnTo>
                    <a:pt x="450" y="251"/>
                  </a:lnTo>
                  <a:lnTo>
                    <a:pt x="445" y="256"/>
                  </a:lnTo>
                  <a:lnTo>
                    <a:pt x="440" y="257"/>
                  </a:lnTo>
                  <a:lnTo>
                    <a:pt x="430" y="254"/>
                  </a:lnTo>
                  <a:lnTo>
                    <a:pt x="428" y="256"/>
                  </a:lnTo>
                  <a:lnTo>
                    <a:pt x="432" y="259"/>
                  </a:lnTo>
                  <a:lnTo>
                    <a:pt x="424" y="260"/>
                  </a:lnTo>
                  <a:lnTo>
                    <a:pt x="427" y="264"/>
                  </a:lnTo>
                  <a:lnTo>
                    <a:pt x="432" y="262"/>
                  </a:lnTo>
                  <a:lnTo>
                    <a:pt x="435" y="263"/>
                  </a:lnTo>
                  <a:lnTo>
                    <a:pt x="439" y="260"/>
                  </a:lnTo>
                  <a:lnTo>
                    <a:pt x="445" y="263"/>
                  </a:lnTo>
                  <a:lnTo>
                    <a:pt x="443" y="266"/>
                  </a:lnTo>
                  <a:lnTo>
                    <a:pt x="432" y="267"/>
                  </a:lnTo>
                  <a:lnTo>
                    <a:pt x="435" y="271"/>
                  </a:lnTo>
                  <a:lnTo>
                    <a:pt x="445" y="268"/>
                  </a:lnTo>
                  <a:lnTo>
                    <a:pt x="449" y="273"/>
                  </a:lnTo>
                  <a:lnTo>
                    <a:pt x="441" y="275"/>
                  </a:lnTo>
                  <a:lnTo>
                    <a:pt x="445" y="278"/>
                  </a:lnTo>
                  <a:lnTo>
                    <a:pt x="454" y="276"/>
                  </a:lnTo>
                  <a:lnTo>
                    <a:pt x="462" y="281"/>
                  </a:lnTo>
                  <a:lnTo>
                    <a:pt x="469" y="284"/>
                  </a:lnTo>
                  <a:lnTo>
                    <a:pt x="474" y="288"/>
                  </a:lnTo>
                  <a:lnTo>
                    <a:pt x="477" y="294"/>
                  </a:lnTo>
                  <a:lnTo>
                    <a:pt x="479" y="293"/>
                  </a:lnTo>
                  <a:lnTo>
                    <a:pt x="483" y="296"/>
                  </a:lnTo>
                  <a:lnTo>
                    <a:pt x="482" y="311"/>
                  </a:lnTo>
                  <a:lnTo>
                    <a:pt x="478" y="311"/>
                  </a:lnTo>
                  <a:lnTo>
                    <a:pt x="474" y="307"/>
                  </a:lnTo>
                  <a:lnTo>
                    <a:pt x="472" y="309"/>
                  </a:lnTo>
                  <a:lnTo>
                    <a:pt x="471" y="312"/>
                  </a:lnTo>
                  <a:lnTo>
                    <a:pt x="460" y="309"/>
                  </a:lnTo>
                  <a:lnTo>
                    <a:pt x="452" y="299"/>
                  </a:lnTo>
                  <a:lnTo>
                    <a:pt x="452" y="295"/>
                  </a:lnTo>
                  <a:lnTo>
                    <a:pt x="439" y="290"/>
                  </a:lnTo>
                  <a:lnTo>
                    <a:pt x="429" y="290"/>
                  </a:lnTo>
                  <a:lnTo>
                    <a:pt x="424" y="283"/>
                  </a:lnTo>
                  <a:lnTo>
                    <a:pt x="416" y="281"/>
                  </a:lnTo>
                  <a:lnTo>
                    <a:pt x="412" y="283"/>
                  </a:lnTo>
                  <a:lnTo>
                    <a:pt x="420" y="287"/>
                  </a:lnTo>
                  <a:lnTo>
                    <a:pt x="420" y="291"/>
                  </a:lnTo>
                  <a:lnTo>
                    <a:pt x="428" y="293"/>
                  </a:lnTo>
                  <a:lnTo>
                    <a:pt x="441" y="294"/>
                  </a:lnTo>
                  <a:lnTo>
                    <a:pt x="441" y="299"/>
                  </a:lnTo>
                  <a:lnTo>
                    <a:pt x="430" y="302"/>
                  </a:lnTo>
                  <a:lnTo>
                    <a:pt x="416" y="302"/>
                  </a:lnTo>
                  <a:lnTo>
                    <a:pt x="418" y="305"/>
                  </a:lnTo>
                  <a:lnTo>
                    <a:pt x="414" y="310"/>
                  </a:lnTo>
                  <a:lnTo>
                    <a:pt x="409" y="310"/>
                  </a:lnTo>
                  <a:lnTo>
                    <a:pt x="410" y="312"/>
                  </a:lnTo>
                  <a:lnTo>
                    <a:pt x="418" y="315"/>
                  </a:lnTo>
                  <a:lnTo>
                    <a:pt x="425" y="314"/>
                  </a:lnTo>
                  <a:lnTo>
                    <a:pt x="428" y="312"/>
                  </a:lnTo>
                  <a:lnTo>
                    <a:pt x="433" y="312"/>
                  </a:lnTo>
                  <a:lnTo>
                    <a:pt x="433" y="317"/>
                  </a:lnTo>
                  <a:lnTo>
                    <a:pt x="424" y="317"/>
                  </a:lnTo>
                  <a:lnTo>
                    <a:pt x="416" y="318"/>
                  </a:lnTo>
                  <a:lnTo>
                    <a:pt x="418" y="321"/>
                  </a:lnTo>
                  <a:lnTo>
                    <a:pt x="427" y="321"/>
                  </a:lnTo>
                  <a:lnTo>
                    <a:pt x="433" y="319"/>
                  </a:lnTo>
                  <a:lnTo>
                    <a:pt x="438" y="319"/>
                  </a:lnTo>
                  <a:lnTo>
                    <a:pt x="441" y="314"/>
                  </a:lnTo>
                  <a:lnTo>
                    <a:pt x="447" y="314"/>
                  </a:lnTo>
                  <a:lnTo>
                    <a:pt x="449" y="318"/>
                  </a:lnTo>
                  <a:lnTo>
                    <a:pt x="465" y="318"/>
                  </a:lnTo>
                  <a:lnTo>
                    <a:pt x="468" y="319"/>
                  </a:lnTo>
                  <a:lnTo>
                    <a:pt x="472" y="317"/>
                  </a:lnTo>
                  <a:lnTo>
                    <a:pt x="474" y="319"/>
                  </a:lnTo>
                  <a:lnTo>
                    <a:pt x="473" y="321"/>
                  </a:lnTo>
                  <a:lnTo>
                    <a:pt x="459" y="3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3" name="Freeform 15"/>
            <p:cNvSpPr>
              <a:spLocks noEditPoints="1"/>
            </p:cNvSpPr>
            <p:nvPr/>
          </p:nvSpPr>
          <p:spPr bwMode="gray">
            <a:xfrm>
              <a:off x="2392" y="1556"/>
              <a:ext cx="75" cy="56"/>
            </a:xfrm>
            <a:custGeom>
              <a:avLst/>
              <a:gdLst>
                <a:gd name="T0" fmla="*/ 2147483647 w 58"/>
                <a:gd name="T1" fmla="*/ 2147483647 h 43"/>
                <a:gd name="T2" fmla="*/ 2147483647 w 58"/>
                <a:gd name="T3" fmla="*/ 2147483647 h 43"/>
                <a:gd name="T4" fmla="*/ 2147483647 w 58"/>
                <a:gd name="T5" fmla="*/ 2147483647 h 43"/>
                <a:gd name="T6" fmla="*/ 2147483647 w 58"/>
                <a:gd name="T7" fmla="*/ 2147483647 h 43"/>
                <a:gd name="T8" fmla="*/ 2147483647 w 58"/>
                <a:gd name="T9" fmla="*/ 2147483647 h 43"/>
                <a:gd name="T10" fmla="*/ 2147483647 w 58"/>
                <a:gd name="T11" fmla="*/ 2147483647 h 43"/>
                <a:gd name="T12" fmla="*/ 2147483647 w 58"/>
                <a:gd name="T13" fmla="*/ 2147483647 h 43"/>
                <a:gd name="T14" fmla="*/ 2147483647 w 58"/>
                <a:gd name="T15" fmla="*/ 0 h 43"/>
                <a:gd name="T16" fmla="*/ 2147483647 w 58"/>
                <a:gd name="T17" fmla="*/ 0 h 43"/>
                <a:gd name="T18" fmla="*/ 2147483647 w 58"/>
                <a:gd name="T19" fmla="*/ 2147483647 h 43"/>
                <a:gd name="T20" fmla="*/ 2147483647 w 58"/>
                <a:gd name="T21" fmla="*/ 2147483647 h 43"/>
                <a:gd name="T22" fmla="*/ 0 w 58"/>
                <a:gd name="T23" fmla="*/ 2147483647 h 43"/>
                <a:gd name="T24" fmla="*/ 2147483647 w 58"/>
                <a:gd name="T25" fmla="*/ 2147483647 h 43"/>
                <a:gd name="T26" fmla="*/ 2147483647 w 58"/>
                <a:gd name="T27" fmla="*/ 2147483647 h 43"/>
                <a:gd name="T28" fmla="*/ 2147483647 w 58"/>
                <a:gd name="T29" fmla="*/ 2147483647 h 43"/>
                <a:gd name="T30" fmla="*/ 2147483647 w 58"/>
                <a:gd name="T31" fmla="*/ 2147483647 h 43"/>
                <a:gd name="T32" fmla="*/ 2147483647 w 58"/>
                <a:gd name="T33" fmla="*/ 2147483647 h 43"/>
                <a:gd name="T34" fmla="*/ 2147483647 w 58"/>
                <a:gd name="T35" fmla="*/ 2147483647 h 43"/>
                <a:gd name="T36" fmla="*/ 0 w 58"/>
                <a:gd name="T37" fmla="*/ 2147483647 h 43"/>
                <a:gd name="T38" fmla="*/ 0 w 58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8"/>
                <a:gd name="T61" fmla="*/ 0 h 43"/>
                <a:gd name="T62" fmla="*/ 58 w 58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8" h="43">
                  <a:moveTo>
                    <a:pt x="58" y="5"/>
                  </a:moveTo>
                  <a:lnTo>
                    <a:pt x="58" y="7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4" y="13"/>
                  </a:lnTo>
                  <a:lnTo>
                    <a:pt x="42" y="9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52" y="4"/>
                  </a:lnTo>
                  <a:lnTo>
                    <a:pt x="58" y="5"/>
                  </a:lnTo>
                  <a:close/>
                  <a:moveTo>
                    <a:pt x="0" y="41"/>
                  </a:moveTo>
                  <a:lnTo>
                    <a:pt x="7" y="37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1" y="41"/>
                  </a:lnTo>
                  <a:lnTo>
                    <a:pt x="16" y="41"/>
                  </a:lnTo>
                  <a:lnTo>
                    <a:pt x="0" y="43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4" name="Freeform 16"/>
            <p:cNvSpPr>
              <a:spLocks/>
            </p:cNvSpPr>
            <p:nvPr/>
          </p:nvSpPr>
          <p:spPr bwMode="gray">
            <a:xfrm>
              <a:off x="705" y="1889"/>
              <a:ext cx="20" cy="17"/>
            </a:xfrm>
            <a:custGeom>
              <a:avLst/>
              <a:gdLst>
                <a:gd name="T0" fmla="*/ 2147483647 w 16"/>
                <a:gd name="T1" fmla="*/ 0 h 13"/>
                <a:gd name="T2" fmla="*/ 2147483647 w 16"/>
                <a:gd name="T3" fmla="*/ 2147483647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2147483647 w 16"/>
                <a:gd name="T13" fmla="*/ 2147483647 h 13"/>
                <a:gd name="T14" fmla="*/ 0 w 16"/>
                <a:gd name="T15" fmla="*/ 2147483647 h 13"/>
                <a:gd name="T16" fmla="*/ 2147483647 w 16"/>
                <a:gd name="T17" fmla="*/ 2147483647 h 13"/>
                <a:gd name="T18" fmla="*/ 2147483647 w 16"/>
                <a:gd name="T19" fmla="*/ 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13"/>
                <a:gd name="T32" fmla="*/ 16 w 1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13">
                  <a:moveTo>
                    <a:pt x="10" y="0"/>
                  </a:moveTo>
                  <a:lnTo>
                    <a:pt x="16" y="3"/>
                  </a:lnTo>
                  <a:lnTo>
                    <a:pt x="16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4" y="8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5" name="Freeform 17"/>
            <p:cNvSpPr>
              <a:spLocks/>
            </p:cNvSpPr>
            <p:nvPr/>
          </p:nvSpPr>
          <p:spPr bwMode="gray">
            <a:xfrm>
              <a:off x="649" y="1798"/>
              <a:ext cx="41" cy="18"/>
            </a:xfrm>
            <a:custGeom>
              <a:avLst/>
              <a:gdLst>
                <a:gd name="T0" fmla="*/ 2147483647 w 32"/>
                <a:gd name="T1" fmla="*/ 0 h 14"/>
                <a:gd name="T2" fmla="*/ 2147483647 w 32"/>
                <a:gd name="T3" fmla="*/ 2147483647 h 14"/>
                <a:gd name="T4" fmla="*/ 2147483647 w 32"/>
                <a:gd name="T5" fmla="*/ 2147483647 h 14"/>
                <a:gd name="T6" fmla="*/ 2147483647 w 32"/>
                <a:gd name="T7" fmla="*/ 2147483647 h 14"/>
                <a:gd name="T8" fmla="*/ 2147483647 w 32"/>
                <a:gd name="T9" fmla="*/ 2147483647 h 14"/>
                <a:gd name="T10" fmla="*/ 2147483647 w 32"/>
                <a:gd name="T11" fmla="*/ 2147483647 h 14"/>
                <a:gd name="T12" fmla="*/ 2147483647 w 32"/>
                <a:gd name="T13" fmla="*/ 2147483647 h 14"/>
                <a:gd name="T14" fmla="*/ 2147483647 w 32"/>
                <a:gd name="T15" fmla="*/ 2147483647 h 14"/>
                <a:gd name="T16" fmla="*/ 2147483647 w 32"/>
                <a:gd name="T17" fmla="*/ 2147483647 h 14"/>
                <a:gd name="T18" fmla="*/ 2147483647 w 32"/>
                <a:gd name="T19" fmla="*/ 2147483647 h 14"/>
                <a:gd name="T20" fmla="*/ 0 w 32"/>
                <a:gd name="T21" fmla="*/ 2147483647 h 14"/>
                <a:gd name="T22" fmla="*/ 2147483647 w 32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14"/>
                <a:gd name="T38" fmla="*/ 32 w 32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14">
                  <a:moveTo>
                    <a:pt x="1" y="0"/>
                  </a:moveTo>
                  <a:lnTo>
                    <a:pt x="8" y="1"/>
                  </a:lnTo>
                  <a:lnTo>
                    <a:pt x="18" y="1"/>
                  </a:lnTo>
                  <a:lnTo>
                    <a:pt x="26" y="7"/>
                  </a:lnTo>
                  <a:lnTo>
                    <a:pt x="32" y="8"/>
                  </a:lnTo>
                  <a:lnTo>
                    <a:pt x="31" y="10"/>
                  </a:lnTo>
                  <a:lnTo>
                    <a:pt x="25" y="12"/>
                  </a:lnTo>
                  <a:lnTo>
                    <a:pt x="21" y="14"/>
                  </a:lnTo>
                  <a:lnTo>
                    <a:pt x="11" y="8"/>
                  </a:lnTo>
                  <a:lnTo>
                    <a:pt x="3" y="10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6" name="Freeform 18"/>
            <p:cNvSpPr>
              <a:spLocks/>
            </p:cNvSpPr>
            <p:nvPr/>
          </p:nvSpPr>
          <p:spPr bwMode="gray">
            <a:xfrm>
              <a:off x="800" y="258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7" name="Freeform 19"/>
            <p:cNvSpPr>
              <a:spLocks/>
            </p:cNvSpPr>
            <p:nvPr/>
          </p:nvSpPr>
          <p:spPr bwMode="gray">
            <a:xfrm>
              <a:off x="694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8" name="Freeform 20"/>
            <p:cNvSpPr>
              <a:spLocks/>
            </p:cNvSpPr>
            <p:nvPr/>
          </p:nvSpPr>
          <p:spPr bwMode="gray">
            <a:xfrm>
              <a:off x="763" y="1700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2147483647 w 6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4" y="0"/>
                  </a:moveTo>
                  <a:lnTo>
                    <a:pt x="4" y="2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29" name="Freeform 21"/>
            <p:cNvSpPr>
              <a:spLocks/>
            </p:cNvSpPr>
            <p:nvPr/>
          </p:nvSpPr>
          <p:spPr bwMode="gray">
            <a:xfrm>
              <a:off x="707" y="2047"/>
              <a:ext cx="12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0 w 9"/>
                <a:gd name="T5" fmla="*/ 2147483647 h 8"/>
                <a:gd name="T6" fmla="*/ 0 w 9"/>
                <a:gd name="T7" fmla="*/ 2147483647 h 8"/>
                <a:gd name="T8" fmla="*/ 2147483647 w 9"/>
                <a:gd name="T9" fmla="*/ 0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9" y="3"/>
                  </a:move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7" y="0"/>
                  </a:lnTo>
                  <a:lnTo>
                    <a:pt x="9" y="1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0" name="Freeform 22"/>
            <p:cNvSpPr>
              <a:spLocks/>
            </p:cNvSpPr>
            <p:nvPr/>
          </p:nvSpPr>
          <p:spPr bwMode="gray">
            <a:xfrm>
              <a:off x="689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1" y="10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1" name="Freeform 23"/>
            <p:cNvSpPr>
              <a:spLocks/>
            </p:cNvSpPr>
            <p:nvPr/>
          </p:nvSpPr>
          <p:spPr bwMode="gray">
            <a:xfrm>
              <a:off x="612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10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2" name="Freeform 24"/>
            <p:cNvSpPr>
              <a:spLocks/>
            </p:cNvSpPr>
            <p:nvPr/>
          </p:nvSpPr>
          <p:spPr bwMode="gray">
            <a:xfrm>
              <a:off x="625" y="2086"/>
              <a:ext cx="10" cy="2"/>
            </a:xfrm>
            <a:custGeom>
              <a:avLst/>
              <a:gdLst>
                <a:gd name="T0" fmla="*/ 0 w 8"/>
                <a:gd name="T1" fmla="*/ 2147483646 h 2"/>
                <a:gd name="T2" fmla="*/ 2147483647 w 8"/>
                <a:gd name="T3" fmla="*/ 0 h 2"/>
                <a:gd name="T4" fmla="*/ 2147483647 w 8"/>
                <a:gd name="T5" fmla="*/ 0 h 2"/>
                <a:gd name="T6" fmla="*/ 2147483647 w 8"/>
                <a:gd name="T7" fmla="*/ 2147483646 h 2"/>
                <a:gd name="T8" fmla="*/ 0 w 8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3" name="Freeform 25"/>
            <p:cNvSpPr>
              <a:spLocks/>
            </p:cNvSpPr>
            <p:nvPr/>
          </p:nvSpPr>
          <p:spPr bwMode="gray">
            <a:xfrm>
              <a:off x="785" y="2013"/>
              <a:ext cx="6" cy="6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1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4" name="Freeform 26"/>
            <p:cNvSpPr>
              <a:spLocks/>
            </p:cNvSpPr>
            <p:nvPr/>
          </p:nvSpPr>
          <p:spPr bwMode="gray">
            <a:xfrm>
              <a:off x="793" y="2017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5" name="Freeform 27"/>
            <p:cNvSpPr>
              <a:spLocks/>
            </p:cNvSpPr>
            <p:nvPr/>
          </p:nvSpPr>
          <p:spPr bwMode="gray">
            <a:xfrm>
              <a:off x="844" y="2619"/>
              <a:ext cx="13" cy="17"/>
            </a:xfrm>
            <a:custGeom>
              <a:avLst/>
              <a:gdLst>
                <a:gd name="T0" fmla="*/ 2147483647 w 10"/>
                <a:gd name="T1" fmla="*/ 2147483647 h 13"/>
                <a:gd name="T2" fmla="*/ 2147483647 w 10"/>
                <a:gd name="T3" fmla="*/ 2147483647 h 13"/>
                <a:gd name="T4" fmla="*/ 0 w 10"/>
                <a:gd name="T5" fmla="*/ 2147483647 h 13"/>
                <a:gd name="T6" fmla="*/ 2147483647 w 10"/>
                <a:gd name="T7" fmla="*/ 0 h 13"/>
                <a:gd name="T8" fmla="*/ 2147483647 w 10"/>
                <a:gd name="T9" fmla="*/ 0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2147483647 w 10"/>
                <a:gd name="T15" fmla="*/ 2147483647 h 13"/>
                <a:gd name="T16" fmla="*/ 2147483647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3" y="13"/>
                  </a:moveTo>
                  <a:lnTo>
                    <a:pt x="1" y="9"/>
                  </a:lnTo>
                  <a:lnTo>
                    <a:pt x="0" y="3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4"/>
                  </a:lnTo>
                  <a:lnTo>
                    <a:pt x="9" y="5"/>
                  </a:lnTo>
                  <a:lnTo>
                    <a:pt x="10" y="8"/>
                  </a:lnTo>
                  <a:lnTo>
                    <a:pt x="3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6" name="Freeform 28"/>
            <p:cNvSpPr>
              <a:spLocks/>
            </p:cNvSpPr>
            <p:nvPr/>
          </p:nvSpPr>
          <p:spPr bwMode="gray">
            <a:xfrm>
              <a:off x="838" y="2608"/>
              <a:ext cx="6" cy="4"/>
            </a:xfrm>
            <a:custGeom>
              <a:avLst/>
              <a:gdLst>
                <a:gd name="T0" fmla="*/ 2147483647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2147483647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3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5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7" name="Freeform 29"/>
            <p:cNvSpPr>
              <a:spLocks/>
            </p:cNvSpPr>
            <p:nvPr/>
          </p:nvSpPr>
          <p:spPr bwMode="gray">
            <a:xfrm>
              <a:off x="831" y="2605"/>
              <a:ext cx="3" cy="1"/>
            </a:xfrm>
            <a:custGeom>
              <a:avLst/>
              <a:gdLst>
                <a:gd name="T0" fmla="*/ 0 w 2"/>
                <a:gd name="T1" fmla="*/ 0 h 1"/>
                <a:gd name="T2" fmla="*/ 2147483647 w 2"/>
                <a:gd name="T3" fmla="*/ 0 h 1"/>
                <a:gd name="T4" fmla="*/ 2147483647 w 2"/>
                <a:gd name="T5" fmla="*/ 0 h 1"/>
                <a:gd name="T6" fmla="*/ 2147483647 w 2"/>
                <a:gd name="T7" fmla="*/ 2147483646 h 1"/>
                <a:gd name="T8" fmla="*/ 0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8" name="Freeform 30"/>
            <p:cNvSpPr>
              <a:spLocks/>
            </p:cNvSpPr>
            <p:nvPr/>
          </p:nvSpPr>
          <p:spPr bwMode="gray">
            <a:xfrm>
              <a:off x="818" y="2601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39" name="Freeform 31"/>
            <p:cNvSpPr>
              <a:spLocks/>
            </p:cNvSpPr>
            <p:nvPr/>
          </p:nvSpPr>
          <p:spPr bwMode="gray">
            <a:xfrm>
              <a:off x="942" y="1889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0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0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9" y="0"/>
                  </a:moveTo>
                  <a:lnTo>
                    <a:pt x="9" y="3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0" name="Freeform 32"/>
            <p:cNvSpPr>
              <a:spLocks/>
            </p:cNvSpPr>
            <p:nvPr/>
          </p:nvSpPr>
          <p:spPr bwMode="gray">
            <a:xfrm>
              <a:off x="956" y="1882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3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1" name="Freeform 33"/>
            <p:cNvSpPr>
              <a:spLocks/>
            </p:cNvSpPr>
            <p:nvPr/>
          </p:nvSpPr>
          <p:spPr bwMode="gray">
            <a:xfrm>
              <a:off x="877" y="1938"/>
              <a:ext cx="17" cy="9"/>
            </a:xfrm>
            <a:custGeom>
              <a:avLst/>
              <a:gdLst>
                <a:gd name="T0" fmla="*/ 0 w 13"/>
                <a:gd name="T1" fmla="*/ 2147483647 h 7"/>
                <a:gd name="T2" fmla="*/ 0 w 13"/>
                <a:gd name="T3" fmla="*/ 2147483647 h 7"/>
                <a:gd name="T4" fmla="*/ 2147483647 w 13"/>
                <a:gd name="T5" fmla="*/ 0 h 7"/>
                <a:gd name="T6" fmla="*/ 2147483647 w 13"/>
                <a:gd name="T7" fmla="*/ 0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0 w 1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0" y="7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0"/>
                  </a:lnTo>
                  <a:lnTo>
                    <a:pt x="13" y="4"/>
                  </a:lnTo>
                  <a:lnTo>
                    <a:pt x="12" y="6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2" name="Freeform 34"/>
            <p:cNvSpPr>
              <a:spLocks/>
            </p:cNvSpPr>
            <p:nvPr/>
          </p:nvSpPr>
          <p:spPr bwMode="gray">
            <a:xfrm>
              <a:off x="858" y="1953"/>
              <a:ext cx="33" cy="22"/>
            </a:xfrm>
            <a:custGeom>
              <a:avLst/>
              <a:gdLst>
                <a:gd name="T0" fmla="*/ 2147483647 w 25"/>
                <a:gd name="T1" fmla="*/ 2147483647 h 17"/>
                <a:gd name="T2" fmla="*/ 2147483647 w 25"/>
                <a:gd name="T3" fmla="*/ 2147483647 h 17"/>
                <a:gd name="T4" fmla="*/ 2147483647 w 25"/>
                <a:gd name="T5" fmla="*/ 2147483647 h 17"/>
                <a:gd name="T6" fmla="*/ 2147483647 w 25"/>
                <a:gd name="T7" fmla="*/ 0 h 17"/>
                <a:gd name="T8" fmla="*/ 2147483647 w 25"/>
                <a:gd name="T9" fmla="*/ 2147483647 h 17"/>
                <a:gd name="T10" fmla="*/ 2147483647 w 25"/>
                <a:gd name="T11" fmla="*/ 2147483647 h 17"/>
                <a:gd name="T12" fmla="*/ 2147483647 w 25"/>
                <a:gd name="T13" fmla="*/ 2147483647 h 17"/>
                <a:gd name="T14" fmla="*/ 2147483647 w 25"/>
                <a:gd name="T15" fmla="*/ 2147483647 h 17"/>
                <a:gd name="T16" fmla="*/ 2147483647 w 25"/>
                <a:gd name="T17" fmla="*/ 2147483647 h 17"/>
                <a:gd name="T18" fmla="*/ 2147483647 w 25"/>
                <a:gd name="T19" fmla="*/ 2147483647 h 17"/>
                <a:gd name="T20" fmla="*/ 2147483647 w 25"/>
                <a:gd name="T21" fmla="*/ 2147483647 h 17"/>
                <a:gd name="T22" fmla="*/ 2147483647 w 25"/>
                <a:gd name="T23" fmla="*/ 2147483647 h 17"/>
                <a:gd name="T24" fmla="*/ 2147483647 w 25"/>
                <a:gd name="T25" fmla="*/ 2147483647 h 17"/>
                <a:gd name="T26" fmla="*/ 0 w 25"/>
                <a:gd name="T27" fmla="*/ 2147483647 h 17"/>
                <a:gd name="T28" fmla="*/ 2147483647 w 25"/>
                <a:gd name="T29" fmla="*/ 2147483647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7"/>
                <a:gd name="T47" fmla="*/ 25 w 25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7">
                  <a:moveTo>
                    <a:pt x="3" y="4"/>
                  </a:moveTo>
                  <a:lnTo>
                    <a:pt x="8" y="4"/>
                  </a:lnTo>
                  <a:lnTo>
                    <a:pt x="13" y="1"/>
                  </a:lnTo>
                  <a:lnTo>
                    <a:pt x="23" y="0"/>
                  </a:lnTo>
                  <a:lnTo>
                    <a:pt x="25" y="3"/>
                  </a:lnTo>
                  <a:lnTo>
                    <a:pt x="23" y="7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1" y="10"/>
                  </a:lnTo>
                  <a:lnTo>
                    <a:pt x="0" y="5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3" name="Freeform 35"/>
            <p:cNvSpPr>
              <a:spLocks/>
            </p:cNvSpPr>
            <p:nvPr/>
          </p:nvSpPr>
          <p:spPr bwMode="gray">
            <a:xfrm>
              <a:off x="941" y="1884"/>
              <a:ext cx="3" cy="5"/>
            </a:xfrm>
            <a:custGeom>
              <a:avLst/>
              <a:gdLst>
                <a:gd name="T0" fmla="*/ 2147483646 w 3"/>
                <a:gd name="T1" fmla="*/ 2147483647 h 4"/>
                <a:gd name="T2" fmla="*/ 2147483646 w 3"/>
                <a:gd name="T3" fmla="*/ 2147483647 h 4"/>
                <a:gd name="T4" fmla="*/ 0 w 3"/>
                <a:gd name="T5" fmla="*/ 2147483647 h 4"/>
                <a:gd name="T6" fmla="*/ 2147483646 w 3"/>
                <a:gd name="T7" fmla="*/ 0 h 4"/>
                <a:gd name="T8" fmla="*/ 2147483646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3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4" name="Freeform 36"/>
            <p:cNvSpPr>
              <a:spLocks/>
            </p:cNvSpPr>
            <p:nvPr/>
          </p:nvSpPr>
          <p:spPr bwMode="gray">
            <a:xfrm>
              <a:off x="938" y="1891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5" name="Freeform 37"/>
            <p:cNvSpPr>
              <a:spLocks/>
            </p:cNvSpPr>
            <p:nvPr/>
          </p:nvSpPr>
          <p:spPr bwMode="gray">
            <a:xfrm>
              <a:off x="1123" y="2037"/>
              <a:ext cx="14" cy="20"/>
            </a:xfrm>
            <a:custGeom>
              <a:avLst/>
              <a:gdLst>
                <a:gd name="T0" fmla="*/ 2147483647 w 11"/>
                <a:gd name="T1" fmla="*/ 2147483647 h 15"/>
                <a:gd name="T2" fmla="*/ 2147483647 w 11"/>
                <a:gd name="T3" fmla="*/ 0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2147483647 h 15"/>
                <a:gd name="T16" fmla="*/ 0 w 11"/>
                <a:gd name="T17" fmla="*/ 2147483647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1" y="1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0" y="8"/>
                  </a:lnTo>
                  <a:lnTo>
                    <a:pt x="9" y="15"/>
                  </a:lnTo>
                  <a:lnTo>
                    <a:pt x="4" y="15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6" name="Freeform 38"/>
            <p:cNvSpPr>
              <a:spLocks/>
            </p:cNvSpPr>
            <p:nvPr/>
          </p:nvSpPr>
          <p:spPr bwMode="gray">
            <a:xfrm>
              <a:off x="1119" y="1992"/>
              <a:ext cx="16" cy="30"/>
            </a:xfrm>
            <a:custGeom>
              <a:avLst/>
              <a:gdLst>
                <a:gd name="T0" fmla="*/ 0 w 12"/>
                <a:gd name="T1" fmla="*/ 0 h 23"/>
                <a:gd name="T2" fmla="*/ 2147483647 w 12"/>
                <a:gd name="T3" fmla="*/ 0 h 23"/>
                <a:gd name="T4" fmla="*/ 2147483647 w 12"/>
                <a:gd name="T5" fmla="*/ 2147483647 h 23"/>
                <a:gd name="T6" fmla="*/ 2147483647 w 12"/>
                <a:gd name="T7" fmla="*/ 2147483647 h 23"/>
                <a:gd name="T8" fmla="*/ 2147483647 w 12"/>
                <a:gd name="T9" fmla="*/ 2147483647 h 23"/>
                <a:gd name="T10" fmla="*/ 2147483647 w 12"/>
                <a:gd name="T11" fmla="*/ 2147483647 h 23"/>
                <a:gd name="T12" fmla="*/ 0 w 12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23"/>
                <a:gd name="T23" fmla="*/ 12 w 12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23">
                  <a:moveTo>
                    <a:pt x="0" y="0"/>
                  </a:moveTo>
                  <a:lnTo>
                    <a:pt x="2" y="0"/>
                  </a:lnTo>
                  <a:lnTo>
                    <a:pt x="8" y="8"/>
                  </a:lnTo>
                  <a:lnTo>
                    <a:pt x="12" y="21"/>
                  </a:lnTo>
                  <a:lnTo>
                    <a:pt x="11" y="23"/>
                  </a:lnTo>
                  <a:lnTo>
                    <a:pt x="1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7" name="Freeform 39"/>
            <p:cNvSpPr>
              <a:spLocks/>
            </p:cNvSpPr>
            <p:nvPr/>
          </p:nvSpPr>
          <p:spPr bwMode="gray">
            <a:xfrm>
              <a:off x="1120" y="2013"/>
              <a:ext cx="7" cy="10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0 w 5"/>
                <a:gd name="T7" fmla="*/ 2147483647 h 8"/>
                <a:gd name="T8" fmla="*/ 2147483647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2" y="0"/>
                  </a:moveTo>
                  <a:lnTo>
                    <a:pt x="5" y="7"/>
                  </a:lnTo>
                  <a:lnTo>
                    <a:pt x="3" y="8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8" name="Freeform 40"/>
            <p:cNvSpPr>
              <a:spLocks/>
            </p:cNvSpPr>
            <p:nvPr/>
          </p:nvSpPr>
          <p:spPr bwMode="gray">
            <a:xfrm>
              <a:off x="1107" y="1974"/>
              <a:ext cx="4" cy="19"/>
            </a:xfrm>
            <a:custGeom>
              <a:avLst/>
              <a:gdLst>
                <a:gd name="T0" fmla="*/ 0 w 3"/>
                <a:gd name="T1" fmla="*/ 2147483647 h 15"/>
                <a:gd name="T2" fmla="*/ 2147483647 w 3"/>
                <a:gd name="T3" fmla="*/ 0 h 15"/>
                <a:gd name="T4" fmla="*/ 2147483647 w 3"/>
                <a:gd name="T5" fmla="*/ 2147483647 h 15"/>
                <a:gd name="T6" fmla="*/ 2147483647 w 3"/>
                <a:gd name="T7" fmla="*/ 2147483647 h 15"/>
                <a:gd name="T8" fmla="*/ 2147483647 w 3"/>
                <a:gd name="T9" fmla="*/ 2147483647 h 15"/>
                <a:gd name="T10" fmla="*/ 0 w 3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5"/>
                <a:gd name="T20" fmla="*/ 3 w 3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5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49" name="Freeform 41"/>
            <p:cNvSpPr>
              <a:spLocks/>
            </p:cNvSpPr>
            <p:nvPr/>
          </p:nvSpPr>
          <p:spPr bwMode="gray">
            <a:xfrm>
              <a:off x="1097" y="1971"/>
              <a:ext cx="7" cy="17"/>
            </a:xfrm>
            <a:custGeom>
              <a:avLst/>
              <a:gdLst>
                <a:gd name="T0" fmla="*/ 2147483647 w 5"/>
                <a:gd name="T1" fmla="*/ 0 h 13"/>
                <a:gd name="T2" fmla="*/ 2147483647 w 5"/>
                <a:gd name="T3" fmla="*/ 2147483647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0 w 5"/>
                <a:gd name="T9" fmla="*/ 2147483647 h 13"/>
                <a:gd name="T10" fmla="*/ 2147483647 w 5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3"/>
                <a:gd name="T20" fmla="*/ 5 w 5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3">
                  <a:moveTo>
                    <a:pt x="3" y="0"/>
                  </a:moveTo>
                  <a:lnTo>
                    <a:pt x="5" y="5"/>
                  </a:lnTo>
                  <a:lnTo>
                    <a:pt x="5" y="12"/>
                  </a:lnTo>
                  <a:lnTo>
                    <a:pt x="3" y="13"/>
                  </a:lnTo>
                  <a:lnTo>
                    <a:pt x="0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0" name="Freeform 42"/>
            <p:cNvSpPr>
              <a:spLocks/>
            </p:cNvSpPr>
            <p:nvPr/>
          </p:nvSpPr>
          <p:spPr bwMode="gray">
            <a:xfrm>
              <a:off x="1105" y="1945"/>
              <a:ext cx="6" cy="23"/>
            </a:xfrm>
            <a:custGeom>
              <a:avLst/>
              <a:gdLst>
                <a:gd name="T0" fmla="*/ 2147483647 w 5"/>
                <a:gd name="T1" fmla="*/ 0 h 18"/>
                <a:gd name="T2" fmla="*/ 2147483647 w 5"/>
                <a:gd name="T3" fmla="*/ 2147483647 h 18"/>
                <a:gd name="T4" fmla="*/ 2147483647 w 5"/>
                <a:gd name="T5" fmla="*/ 2147483647 h 18"/>
                <a:gd name="T6" fmla="*/ 2147483647 w 5"/>
                <a:gd name="T7" fmla="*/ 2147483647 h 18"/>
                <a:gd name="T8" fmla="*/ 0 w 5"/>
                <a:gd name="T9" fmla="*/ 2147483647 h 18"/>
                <a:gd name="T10" fmla="*/ 0 w 5"/>
                <a:gd name="T11" fmla="*/ 2147483647 h 18"/>
                <a:gd name="T12" fmla="*/ 2147483647 w 5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8"/>
                <a:gd name="T23" fmla="*/ 5 w 5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8">
                  <a:moveTo>
                    <a:pt x="1" y="0"/>
                  </a:moveTo>
                  <a:lnTo>
                    <a:pt x="5" y="5"/>
                  </a:lnTo>
                  <a:lnTo>
                    <a:pt x="5" y="16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1" name="Freeform 43"/>
            <p:cNvSpPr>
              <a:spLocks/>
            </p:cNvSpPr>
            <p:nvPr/>
          </p:nvSpPr>
          <p:spPr bwMode="gray">
            <a:xfrm>
              <a:off x="1081" y="1940"/>
              <a:ext cx="20" cy="22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2147483647 h 17"/>
                <a:gd name="T4" fmla="*/ 0 w 15"/>
                <a:gd name="T5" fmla="*/ 2147483647 h 17"/>
                <a:gd name="T6" fmla="*/ 0 w 15"/>
                <a:gd name="T7" fmla="*/ 2147483647 h 17"/>
                <a:gd name="T8" fmla="*/ 2147483647 w 15"/>
                <a:gd name="T9" fmla="*/ 0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17"/>
                <a:gd name="T50" fmla="*/ 15 w 15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17">
                  <a:moveTo>
                    <a:pt x="6" y="16"/>
                  </a:moveTo>
                  <a:lnTo>
                    <a:pt x="3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8" y="9"/>
                  </a:lnTo>
                  <a:lnTo>
                    <a:pt x="7" y="10"/>
                  </a:lnTo>
                  <a:lnTo>
                    <a:pt x="8" y="17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2" name="Freeform 44"/>
            <p:cNvSpPr>
              <a:spLocks/>
            </p:cNvSpPr>
            <p:nvPr/>
          </p:nvSpPr>
          <p:spPr bwMode="gray">
            <a:xfrm>
              <a:off x="1113" y="1971"/>
              <a:ext cx="11" cy="12"/>
            </a:xfrm>
            <a:custGeom>
              <a:avLst/>
              <a:gdLst>
                <a:gd name="T0" fmla="*/ 2147483647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3" y="9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6" y="2"/>
                  </a:lnTo>
                  <a:lnTo>
                    <a:pt x="9" y="5"/>
                  </a:lnTo>
                  <a:lnTo>
                    <a:pt x="9" y="7"/>
                  </a:lnTo>
                  <a:lnTo>
                    <a:pt x="5" y="5"/>
                  </a:lnTo>
                  <a:lnTo>
                    <a:pt x="6" y="8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3" name="Freeform 45"/>
            <p:cNvSpPr>
              <a:spLocks/>
            </p:cNvSpPr>
            <p:nvPr/>
          </p:nvSpPr>
          <p:spPr bwMode="gray">
            <a:xfrm>
              <a:off x="1132" y="2060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4" name="Freeform 46"/>
            <p:cNvSpPr>
              <a:spLocks/>
            </p:cNvSpPr>
            <p:nvPr/>
          </p:nvSpPr>
          <p:spPr bwMode="gray">
            <a:xfrm>
              <a:off x="1135" y="2067"/>
              <a:ext cx="8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5" name="Freeform 47"/>
            <p:cNvSpPr>
              <a:spLocks/>
            </p:cNvSpPr>
            <p:nvPr/>
          </p:nvSpPr>
          <p:spPr bwMode="gray">
            <a:xfrm>
              <a:off x="1143" y="2074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6" name="Freeform 48"/>
            <p:cNvSpPr>
              <a:spLocks/>
            </p:cNvSpPr>
            <p:nvPr/>
          </p:nvSpPr>
          <p:spPr bwMode="gray">
            <a:xfrm>
              <a:off x="1149" y="2040"/>
              <a:ext cx="5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7" name="Freeform 49"/>
            <p:cNvSpPr>
              <a:spLocks/>
            </p:cNvSpPr>
            <p:nvPr/>
          </p:nvSpPr>
          <p:spPr bwMode="gray">
            <a:xfrm>
              <a:off x="1154" y="2050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8" name="Freeform 50"/>
            <p:cNvSpPr>
              <a:spLocks/>
            </p:cNvSpPr>
            <p:nvPr/>
          </p:nvSpPr>
          <p:spPr bwMode="gray">
            <a:xfrm>
              <a:off x="699" y="1598"/>
              <a:ext cx="462" cy="438"/>
            </a:xfrm>
            <a:custGeom>
              <a:avLst/>
              <a:gdLst>
                <a:gd name="T0" fmla="*/ 2147483647 w 354"/>
                <a:gd name="T1" fmla="*/ 2147483647 h 336"/>
                <a:gd name="T2" fmla="*/ 2147483647 w 354"/>
                <a:gd name="T3" fmla="*/ 2147483647 h 336"/>
                <a:gd name="T4" fmla="*/ 2147483647 w 354"/>
                <a:gd name="T5" fmla="*/ 2147483647 h 336"/>
                <a:gd name="T6" fmla="*/ 2147483647 w 354"/>
                <a:gd name="T7" fmla="*/ 2147483647 h 336"/>
                <a:gd name="T8" fmla="*/ 2147483647 w 354"/>
                <a:gd name="T9" fmla="*/ 2147483647 h 336"/>
                <a:gd name="T10" fmla="*/ 2147483647 w 354"/>
                <a:gd name="T11" fmla="*/ 2147483647 h 336"/>
                <a:gd name="T12" fmla="*/ 2147483647 w 354"/>
                <a:gd name="T13" fmla="*/ 2147483647 h 336"/>
                <a:gd name="T14" fmla="*/ 2147483647 w 354"/>
                <a:gd name="T15" fmla="*/ 2147483647 h 336"/>
                <a:gd name="T16" fmla="*/ 2147483647 w 354"/>
                <a:gd name="T17" fmla="*/ 2147483647 h 336"/>
                <a:gd name="T18" fmla="*/ 2147483647 w 354"/>
                <a:gd name="T19" fmla="*/ 2147483647 h 336"/>
                <a:gd name="T20" fmla="*/ 2147483647 w 354"/>
                <a:gd name="T21" fmla="*/ 2147483647 h 336"/>
                <a:gd name="T22" fmla="*/ 2147483647 w 354"/>
                <a:gd name="T23" fmla="*/ 2147483647 h 336"/>
                <a:gd name="T24" fmla="*/ 2147483647 w 354"/>
                <a:gd name="T25" fmla="*/ 2147483647 h 336"/>
                <a:gd name="T26" fmla="*/ 2147483647 w 354"/>
                <a:gd name="T27" fmla="*/ 2147483647 h 336"/>
                <a:gd name="T28" fmla="*/ 2147483647 w 354"/>
                <a:gd name="T29" fmla="*/ 2147483647 h 336"/>
                <a:gd name="T30" fmla="*/ 2147483647 w 354"/>
                <a:gd name="T31" fmla="*/ 2147483647 h 336"/>
                <a:gd name="T32" fmla="*/ 2147483647 w 354"/>
                <a:gd name="T33" fmla="*/ 2147483647 h 336"/>
                <a:gd name="T34" fmla="*/ 2147483647 w 354"/>
                <a:gd name="T35" fmla="*/ 2147483647 h 336"/>
                <a:gd name="T36" fmla="*/ 2147483647 w 354"/>
                <a:gd name="T37" fmla="*/ 2147483647 h 336"/>
                <a:gd name="T38" fmla="*/ 2147483647 w 354"/>
                <a:gd name="T39" fmla="*/ 2147483647 h 336"/>
                <a:gd name="T40" fmla="*/ 2147483647 w 354"/>
                <a:gd name="T41" fmla="*/ 2147483647 h 336"/>
                <a:gd name="T42" fmla="*/ 2147483647 w 354"/>
                <a:gd name="T43" fmla="*/ 2147483647 h 336"/>
                <a:gd name="T44" fmla="*/ 2147483647 w 354"/>
                <a:gd name="T45" fmla="*/ 2147483647 h 336"/>
                <a:gd name="T46" fmla="*/ 2147483647 w 354"/>
                <a:gd name="T47" fmla="*/ 2147483647 h 336"/>
                <a:gd name="T48" fmla="*/ 2147483647 w 354"/>
                <a:gd name="T49" fmla="*/ 2147483647 h 336"/>
                <a:gd name="T50" fmla="*/ 2147483647 w 354"/>
                <a:gd name="T51" fmla="*/ 2147483647 h 336"/>
                <a:gd name="T52" fmla="*/ 2147483647 w 354"/>
                <a:gd name="T53" fmla="*/ 2147483647 h 336"/>
                <a:gd name="T54" fmla="*/ 2147483647 w 354"/>
                <a:gd name="T55" fmla="*/ 2147483647 h 336"/>
                <a:gd name="T56" fmla="*/ 2147483647 w 354"/>
                <a:gd name="T57" fmla="*/ 2147483647 h 336"/>
                <a:gd name="T58" fmla="*/ 2147483647 w 354"/>
                <a:gd name="T59" fmla="*/ 2147483647 h 336"/>
                <a:gd name="T60" fmla="*/ 2147483647 w 354"/>
                <a:gd name="T61" fmla="*/ 2147483647 h 336"/>
                <a:gd name="T62" fmla="*/ 2147483647 w 354"/>
                <a:gd name="T63" fmla="*/ 2147483647 h 336"/>
                <a:gd name="T64" fmla="*/ 2147483647 w 354"/>
                <a:gd name="T65" fmla="*/ 2147483647 h 336"/>
                <a:gd name="T66" fmla="*/ 2147483647 w 354"/>
                <a:gd name="T67" fmla="*/ 2147483647 h 336"/>
                <a:gd name="T68" fmla="*/ 2147483647 w 354"/>
                <a:gd name="T69" fmla="*/ 2147483647 h 336"/>
                <a:gd name="T70" fmla="*/ 2147483647 w 354"/>
                <a:gd name="T71" fmla="*/ 2147483647 h 336"/>
                <a:gd name="T72" fmla="*/ 2147483647 w 354"/>
                <a:gd name="T73" fmla="*/ 2147483647 h 336"/>
                <a:gd name="T74" fmla="*/ 2147483647 w 354"/>
                <a:gd name="T75" fmla="*/ 2147483647 h 336"/>
                <a:gd name="T76" fmla="*/ 2147483647 w 354"/>
                <a:gd name="T77" fmla="*/ 2147483647 h 336"/>
                <a:gd name="T78" fmla="*/ 2147483647 w 354"/>
                <a:gd name="T79" fmla="*/ 2147483647 h 336"/>
                <a:gd name="T80" fmla="*/ 2147483647 w 354"/>
                <a:gd name="T81" fmla="*/ 2147483647 h 336"/>
                <a:gd name="T82" fmla="*/ 2147483647 w 354"/>
                <a:gd name="T83" fmla="*/ 2147483647 h 336"/>
                <a:gd name="T84" fmla="*/ 2147483647 w 354"/>
                <a:gd name="T85" fmla="*/ 2147483647 h 336"/>
                <a:gd name="T86" fmla="*/ 2147483647 w 354"/>
                <a:gd name="T87" fmla="*/ 2147483647 h 336"/>
                <a:gd name="T88" fmla="*/ 2147483647 w 354"/>
                <a:gd name="T89" fmla="*/ 2147483647 h 336"/>
                <a:gd name="T90" fmla="*/ 2147483647 w 354"/>
                <a:gd name="T91" fmla="*/ 2147483647 h 336"/>
                <a:gd name="T92" fmla="*/ 2147483647 w 354"/>
                <a:gd name="T93" fmla="*/ 2147483647 h 336"/>
                <a:gd name="T94" fmla="*/ 2147483647 w 354"/>
                <a:gd name="T95" fmla="*/ 2147483647 h 336"/>
                <a:gd name="T96" fmla="*/ 2147483647 w 354"/>
                <a:gd name="T97" fmla="*/ 2147483647 h 336"/>
                <a:gd name="T98" fmla="*/ 2147483647 w 354"/>
                <a:gd name="T99" fmla="*/ 2147483647 h 336"/>
                <a:gd name="T100" fmla="*/ 2147483647 w 354"/>
                <a:gd name="T101" fmla="*/ 2147483647 h 3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4"/>
                <a:gd name="T154" fmla="*/ 0 h 336"/>
                <a:gd name="T155" fmla="*/ 354 w 354"/>
                <a:gd name="T156" fmla="*/ 336 h 3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4" h="336">
                  <a:moveTo>
                    <a:pt x="250" y="31"/>
                  </a:moveTo>
                  <a:lnTo>
                    <a:pt x="250" y="219"/>
                  </a:lnTo>
                  <a:lnTo>
                    <a:pt x="261" y="226"/>
                  </a:lnTo>
                  <a:lnTo>
                    <a:pt x="263" y="220"/>
                  </a:lnTo>
                  <a:lnTo>
                    <a:pt x="266" y="217"/>
                  </a:lnTo>
                  <a:lnTo>
                    <a:pt x="271" y="223"/>
                  </a:lnTo>
                  <a:lnTo>
                    <a:pt x="285" y="245"/>
                  </a:lnTo>
                  <a:lnTo>
                    <a:pt x="289" y="245"/>
                  </a:lnTo>
                  <a:lnTo>
                    <a:pt x="296" y="237"/>
                  </a:lnTo>
                  <a:lnTo>
                    <a:pt x="303" y="235"/>
                  </a:lnTo>
                  <a:lnTo>
                    <a:pt x="310" y="241"/>
                  </a:lnTo>
                  <a:lnTo>
                    <a:pt x="317" y="254"/>
                  </a:lnTo>
                  <a:lnTo>
                    <a:pt x="323" y="259"/>
                  </a:lnTo>
                  <a:lnTo>
                    <a:pt x="335" y="288"/>
                  </a:lnTo>
                  <a:lnTo>
                    <a:pt x="342" y="296"/>
                  </a:lnTo>
                  <a:lnTo>
                    <a:pt x="354" y="305"/>
                  </a:lnTo>
                  <a:lnTo>
                    <a:pt x="352" y="314"/>
                  </a:lnTo>
                  <a:lnTo>
                    <a:pt x="353" y="322"/>
                  </a:lnTo>
                  <a:lnTo>
                    <a:pt x="351" y="325"/>
                  </a:lnTo>
                  <a:lnTo>
                    <a:pt x="347" y="325"/>
                  </a:lnTo>
                  <a:lnTo>
                    <a:pt x="345" y="325"/>
                  </a:lnTo>
                  <a:lnTo>
                    <a:pt x="343" y="317"/>
                  </a:lnTo>
                  <a:lnTo>
                    <a:pt x="338" y="315"/>
                  </a:lnTo>
                  <a:lnTo>
                    <a:pt x="336" y="312"/>
                  </a:lnTo>
                  <a:lnTo>
                    <a:pt x="334" y="311"/>
                  </a:lnTo>
                  <a:lnTo>
                    <a:pt x="334" y="306"/>
                  </a:lnTo>
                  <a:lnTo>
                    <a:pt x="330" y="300"/>
                  </a:lnTo>
                  <a:lnTo>
                    <a:pt x="330" y="292"/>
                  </a:lnTo>
                  <a:lnTo>
                    <a:pt x="326" y="290"/>
                  </a:lnTo>
                  <a:lnTo>
                    <a:pt x="322" y="285"/>
                  </a:lnTo>
                  <a:lnTo>
                    <a:pt x="321" y="275"/>
                  </a:lnTo>
                  <a:lnTo>
                    <a:pt x="315" y="261"/>
                  </a:lnTo>
                  <a:lnTo>
                    <a:pt x="311" y="258"/>
                  </a:lnTo>
                  <a:lnTo>
                    <a:pt x="307" y="256"/>
                  </a:lnTo>
                  <a:lnTo>
                    <a:pt x="305" y="249"/>
                  </a:lnTo>
                  <a:lnTo>
                    <a:pt x="303" y="258"/>
                  </a:lnTo>
                  <a:lnTo>
                    <a:pt x="301" y="258"/>
                  </a:lnTo>
                  <a:lnTo>
                    <a:pt x="297" y="253"/>
                  </a:lnTo>
                  <a:lnTo>
                    <a:pt x="294" y="253"/>
                  </a:lnTo>
                  <a:lnTo>
                    <a:pt x="293" y="255"/>
                  </a:lnTo>
                  <a:lnTo>
                    <a:pt x="296" y="259"/>
                  </a:lnTo>
                  <a:lnTo>
                    <a:pt x="285" y="260"/>
                  </a:lnTo>
                  <a:lnTo>
                    <a:pt x="279" y="253"/>
                  </a:lnTo>
                  <a:lnTo>
                    <a:pt x="277" y="245"/>
                  </a:lnTo>
                  <a:lnTo>
                    <a:pt x="265" y="240"/>
                  </a:lnTo>
                  <a:lnTo>
                    <a:pt x="264" y="231"/>
                  </a:lnTo>
                  <a:lnTo>
                    <a:pt x="259" y="234"/>
                  </a:lnTo>
                  <a:lnTo>
                    <a:pt x="249" y="232"/>
                  </a:lnTo>
                  <a:lnTo>
                    <a:pt x="247" y="230"/>
                  </a:lnTo>
                  <a:lnTo>
                    <a:pt x="238" y="230"/>
                  </a:lnTo>
                  <a:lnTo>
                    <a:pt x="234" y="228"/>
                  </a:lnTo>
                  <a:lnTo>
                    <a:pt x="229" y="228"/>
                  </a:lnTo>
                  <a:lnTo>
                    <a:pt x="217" y="228"/>
                  </a:lnTo>
                  <a:lnTo>
                    <a:pt x="216" y="220"/>
                  </a:lnTo>
                  <a:lnTo>
                    <a:pt x="214" y="218"/>
                  </a:lnTo>
                  <a:lnTo>
                    <a:pt x="209" y="219"/>
                  </a:lnTo>
                  <a:lnTo>
                    <a:pt x="199" y="213"/>
                  </a:lnTo>
                  <a:lnTo>
                    <a:pt x="197" y="208"/>
                  </a:lnTo>
                  <a:lnTo>
                    <a:pt x="192" y="210"/>
                  </a:lnTo>
                  <a:lnTo>
                    <a:pt x="188" y="210"/>
                  </a:lnTo>
                  <a:lnTo>
                    <a:pt x="189" y="206"/>
                  </a:lnTo>
                  <a:lnTo>
                    <a:pt x="186" y="205"/>
                  </a:lnTo>
                  <a:lnTo>
                    <a:pt x="180" y="213"/>
                  </a:lnTo>
                  <a:lnTo>
                    <a:pt x="183" y="214"/>
                  </a:lnTo>
                  <a:lnTo>
                    <a:pt x="182" y="216"/>
                  </a:lnTo>
                  <a:lnTo>
                    <a:pt x="183" y="221"/>
                  </a:lnTo>
                  <a:lnTo>
                    <a:pt x="180" y="229"/>
                  </a:lnTo>
                  <a:lnTo>
                    <a:pt x="171" y="229"/>
                  </a:lnTo>
                  <a:lnTo>
                    <a:pt x="166" y="236"/>
                  </a:lnTo>
                  <a:lnTo>
                    <a:pt x="156" y="243"/>
                  </a:lnTo>
                  <a:lnTo>
                    <a:pt x="148" y="243"/>
                  </a:lnTo>
                  <a:lnTo>
                    <a:pt x="150" y="240"/>
                  </a:lnTo>
                  <a:lnTo>
                    <a:pt x="152" y="239"/>
                  </a:lnTo>
                  <a:lnTo>
                    <a:pt x="154" y="236"/>
                  </a:lnTo>
                  <a:lnTo>
                    <a:pt x="152" y="235"/>
                  </a:lnTo>
                  <a:lnTo>
                    <a:pt x="150" y="236"/>
                  </a:lnTo>
                  <a:lnTo>
                    <a:pt x="150" y="233"/>
                  </a:lnTo>
                  <a:lnTo>
                    <a:pt x="155" y="218"/>
                  </a:lnTo>
                  <a:lnTo>
                    <a:pt x="154" y="214"/>
                  </a:lnTo>
                  <a:lnTo>
                    <a:pt x="163" y="207"/>
                  </a:lnTo>
                  <a:lnTo>
                    <a:pt x="169" y="208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5" y="201"/>
                  </a:lnTo>
                  <a:lnTo>
                    <a:pt x="158" y="201"/>
                  </a:lnTo>
                  <a:lnTo>
                    <a:pt x="141" y="224"/>
                  </a:lnTo>
                  <a:lnTo>
                    <a:pt x="142" y="231"/>
                  </a:lnTo>
                  <a:lnTo>
                    <a:pt x="138" y="236"/>
                  </a:lnTo>
                  <a:lnTo>
                    <a:pt x="132" y="236"/>
                  </a:lnTo>
                  <a:lnTo>
                    <a:pt x="127" y="244"/>
                  </a:lnTo>
                  <a:lnTo>
                    <a:pt x="128" y="247"/>
                  </a:lnTo>
                  <a:lnTo>
                    <a:pt x="133" y="247"/>
                  </a:lnTo>
                  <a:lnTo>
                    <a:pt x="133" y="256"/>
                  </a:lnTo>
                  <a:lnTo>
                    <a:pt x="129" y="257"/>
                  </a:lnTo>
                  <a:lnTo>
                    <a:pt x="127" y="266"/>
                  </a:lnTo>
                  <a:lnTo>
                    <a:pt x="120" y="270"/>
                  </a:lnTo>
                  <a:lnTo>
                    <a:pt x="114" y="275"/>
                  </a:lnTo>
                  <a:lnTo>
                    <a:pt x="106" y="282"/>
                  </a:lnTo>
                  <a:lnTo>
                    <a:pt x="106" y="287"/>
                  </a:lnTo>
                  <a:lnTo>
                    <a:pt x="102" y="290"/>
                  </a:lnTo>
                  <a:lnTo>
                    <a:pt x="87" y="302"/>
                  </a:lnTo>
                  <a:lnTo>
                    <a:pt x="87" y="305"/>
                  </a:lnTo>
                  <a:lnTo>
                    <a:pt x="81" y="307"/>
                  </a:lnTo>
                  <a:lnTo>
                    <a:pt x="75" y="311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60" y="315"/>
                  </a:lnTo>
                  <a:lnTo>
                    <a:pt x="57" y="314"/>
                  </a:lnTo>
                  <a:lnTo>
                    <a:pt x="55" y="320"/>
                  </a:lnTo>
                  <a:lnTo>
                    <a:pt x="47" y="325"/>
                  </a:lnTo>
                  <a:lnTo>
                    <a:pt x="44" y="325"/>
                  </a:lnTo>
                  <a:lnTo>
                    <a:pt x="42" y="329"/>
                  </a:lnTo>
                  <a:lnTo>
                    <a:pt x="36" y="334"/>
                  </a:lnTo>
                  <a:lnTo>
                    <a:pt x="29" y="336"/>
                  </a:lnTo>
                  <a:lnTo>
                    <a:pt x="29" y="333"/>
                  </a:lnTo>
                  <a:lnTo>
                    <a:pt x="31" y="328"/>
                  </a:lnTo>
                  <a:lnTo>
                    <a:pt x="36" y="324"/>
                  </a:lnTo>
                  <a:lnTo>
                    <a:pt x="40" y="325"/>
                  </a:lnTo>
                  <a:lnTo>
                    <a:pt x="46" y="321"/>
                  </a:lnTo>
                  <a:lnTo>
                    <a:pt x="50" y="315"/>
                  </a:lnTo>
                  <a:lnTo>
                    <a:pt x="57" y="308"/>
                  </a:lnTo>
                  <a:lnTo>
                    <a:pt x="63" y="307"/>
                  </a:lnTo>
                  <a:lnTo>
                    <a:pt x="67" y="309"/>
                  </a:lnTo>
                  <a:lnTo>
                    <a:pt x="70" y="307"/>
                  </a:lnTo>
                  <a:lnTo>
                    <a:pt x="71" y="302"/>
                  </a:lnTo>
                  <a:lnTo>
                    <a:pt x="75" y="297"/>
                  </a:lnTo>
                  <a:lnTo>
                    <a:pt x="84" y="290"/>
                  </a:lnTo>
                  <a:lnTo>
                    <a:pt x="90" y="282"/>
                  </a:lnTo>
                  <a:lnTo>
                    <a:pt x="97" y="279"/>
                  </a:lnTo>
                  <a:lnTo>
                    <a:pt x="97" y="269"/>
                  </a:lnTo>
                  <a:lnTo>
                    <a:pt x="102" y="254"/>
                  </a:lnTo>
                  <a:lnTo>
                    <a:pt x="101" y="250"/>
                  </a:lnTo>
                  <a:lnTo>
                    <a:pt x="97" y="254"/>
                  </a:lnTo>
                  <a:lnTo>
                    <a:pt x="92" y="255"/>
                  </a:lnTo>
                  <a:lnTo>
                    <a:pt x="90" y="254"/>
                  </a:lnTo>
                  <a:lnTo>
                    <a:pt x="85" y="251"/>
                  </a:lnTo>
                  <a:lnTo>
                    <a:pt x="83" y="260"/>
                  </a:lnTo>
                  <a:lnTo>
                    <a:pt x="80" y="259"/>
                  </a:lnTo>
                  <a:lnTo>
                    <a:pt x="77" y="253"/>
                  </a:lnTo>
                  <a:lnTo>
                    <a:pt x="73" y="252"/>
                  </a:lnTo>
                  <a:lnTo>
                    <a:pt x="70" y="249"/>
                  </a:lnTo>
                  <a:lnTo>
                    <a:pt x="60" y="255"/>
                  </a:lnTo>
                  <a:lnTo>
                    <a:pt x="55" y="257"/>
                  </a:lnTo>
                  <a:lnTo>
                    <a:pt x="56" y="249"/>
                  </a:lnTo>
                  <a:lnTo>
                    <a:pt x="55" y="239"/>
                  </a:lnTo>
                  <a:lnTo>
                    <a:pt x="53" y="232"/>
                  </a:lnTo>
                  <a:lnTo>
                    <a:pt x="53" y="225"/>
                  </a:lnTo>
                  <a:lnTo>
                    <a:pt x="50" y="226"/>
                  </a:lnTo>
                  <a:lnTo>
                    <a:pt x="50" y="231"/>
                  </a:lnTo>
                  <a:lnTo>
                    <a:pt x="43" y="233"/>
                  </a:lnTo>
                  <a:lnTo>
                    <a:pt x="35" y="234"/>
                  </a:lnTo>
                  <a:lnTo>
                    <a:pt x="21" y="219"/>
                  </a:lnTo>
                  <a:lnTo>
                    <a:pt x="25" y="218"/>
                  </a:lnTo>
                  <a:lnTo>
                    <a:pt x="27" y="211"/>
                  </a:lnTo>
                  <a:lnTo>
                    <a:pt x="25" y="208"/>
                  </a:lnTo>
                  <a:lnTo>
                    <a:pt x="22" y="208"/>
                  </a:lnTo>
                  <a:lnTo>
                    <a:pt x="18" y="202"/>
                  </a:lnTo>
                  <a:lnTo>
                    <a:pt x="17" y="196"/>
                  </a:lnTo>
                  <a:lnTo>
                    <a:pt x="19" y="193"/>
                  </a:lnTo>
                  <a:lnTo>
                    <a:pt x="23" y="181"/>
                  </a:lnTo>
                  <a:lnTo>
                    <a:pt x="27" y="179"/>
                  </a:lnTo>
                  <a:lnTo>
                    <a:pt x="28" y="171"/>
                  </a:lnTo>
                  <a:lnTo>
                    <a:pt x="34" y="162"/>
                  </a:lnTo>
                  <a:lnTo>
                    <a:pt x="38" y="166"/>
                  </a:lnTo>
                  <a:lnTo>
                    <a:pt x="48" y="162"/>
                  </a:lnTo>
                  <a:lnTo>
                    <a:pt x="54" y="159"/>
                  </a:lnTo>
                  <a:lnTo>
                    <a:pt x="59" y="161"/>
                  </a:lnTo>
                  <a:lnTo>
                    <a:pt x="68" y="150"/>
                  </a:lnTo>
                  <a:lnTo>
                    <a:pt x="67" y="142"/>
                  </a:lnTo>
                  <a:lnTo>
                    <a:pt x="61" y="134"/>
                  </a:lnTo>
                  <a:lnTo>
                    <a:pt x="62" y="132"/>
                  </a:lnTo>
                  <a:lnTo>
                    <a:pt x="67" y="132"/>
                  </a:lnTo>
                  <a:lnTo>
                    <a:pt x="67" y="126"/>
                  </a:lnTo>
                  <a:lnTo>
                    <a:pt x="59" y="123"/>
                  </a:lnTo>
                  <a:lnTo>
                    <a:pt x="56" y="127"/>
                  </a:lnTo>
                  <a:lnTo>
                    <a:pt x="51" y="128"/>
                  </a:lnTo>
                  <a:lnTo>
                    <a:pt x="47" y="133"/>
                  </a:lnTo>
                  <a:lnTo>
                    <a:pt x="38" y="132"/>
                  </a:lnTo>
                  <a:lnTo>
                    <a:pt x="32" y="129"/>
                  </a:lnTo>
                  <a:lnTo>
                    <a:pt x="26" y="132"/>
                  </a:lnTo>
                  <a:lnTo>
                    <a:pt x="17" y="132"/>
                  </a:lnTo>
                  <a:lnTo>
                    <a:pt x="8" y="118"/>
                  </a:lnTo>
                  <a:lnTo>
                    <a:pt x="14" y="118"/>
                  </a:lnTo>
                  <a:lnTo>
                    <a:pt x="17" y="117"/>
                  </a:lnTo>
                  <a:lnTo>
                    <a:pt x="14" y="114"/>
                  </a:lnTo>
                  <a:lnTo>
                    <a:pt x="8" y="113"/>
                  </a:lnTo>
                  <a:lnTo>
                    <a:pt x="5" y="113"/>
                  </a:lnTo>
                  <a:lnTo>
                    <a:pt x="0" y="108"/>
                  </a:lnTo>
                  <a:lnTo>
                    <a:pt x="6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17" y="94"/>
                  </a:lnTo>
                  <a:lnTo>
                    <a:pt x="20" y="89"/>
                  </a:lnTo>
                  <a:lnTo>
                    <a:pt x="28" y="87"/>
                  </a:lnTo>
                  <a:lnTo>
                    <a:pt x="36" y="87"/>
                  </a:lnTo>
                  <a:lnTo>
                    <a:pt x="36" y="92"/>
                  </a:lnTo>
                  <a:lnTo>
                    <a:pt x="35" y="96"/>
                  </a:lnTo>
                  <a:lnTo>
                    <a:pt x="45" y="94"/>
                  </a:lnTo>
                  <a:lnTo>
                    <a:pt x="56" y="98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6" y="88"/>
                  </a:lnTo>
                  <a:lnTo>
                    <a:pt x="75" y="87"/>
                  </a:lnTo>
                  <a:lnTo>
                    <a:pt x="77" y="84"/>
                  </a:lnTo>
                  <a:lnTo>
                    <a:pt x="75" y="81"/>
                  </a:lnTo>
                  <a:lnTo>
                    <a:pt x="67" y="82"/>
                  </a:lnTo>
                  <a:lnTo>
                    <a:pt x="62" y="84"/>
                  </a:lnTo>
                  <a:lnTo>
                    <a:pt x="56" y="80"/>
                  </a:lnTo>
                  <a:lnTo>
                    <a:pt x="58" y="77"/>
                  </a:lnTo>
                  <a:lnTo>
                    <a:pt x="60" y="75"/>
                  </a:lnTo>
                  <a:lnTo>
                    <a:pt x="56" y="73"/>
                  </a:lnTo>
                  <a:lnTo>
                    <a:pt x="54" y="74"/>
                  </a:lnTo>
                  <a:lnTo>
                    <a:pt x="45" y="74"/>
                  </a:lnTo>
                  <a:lnTo>
                    <a:pt x="40" y="73"/>
                  </a:lnTo>
                  <a:lnTo>
                    <a:pt x="36" y="73"/>
                  </a:lnTo>
                  <a:lnTo>
                    <a:pt x="36" y="67"/>
                  </a:lnTo>
                  <a:lnTo>
                    <a:pt x="27" y="60"/>
                  </a:lnTo>
                  <a:lnTo>
                    <a:pt x="19" y="56"/>
                  </a:lnTo>
                  <a:lnTo>
                    <a:pt x="14" y="55"/>
                  </a:lnTo>
                  <a:lnTo>
                    <a:pt x="10" y="52"/>
                  </a:lnTo>
                  <a:lnTo>
                    <a:pt x="13" y="51"/>
                  </a:lnTo>
                  <a:lnTo>
                    <a:pt x="14" y="45"/>
                  </a:lnTo>
                  <a:lnTo>
                    <a:pt x="33" y="44"/>
                  </a:lnTo>
                  <a:lnTo>
                    <a:pt x="43" y="39"/>
                  </a:lnTo>
                  <a:lnTo>
                    <a:pt x="46" y="28"/>
                  </a:lnTo>
                  <a:lnTo>
                    <a:pt x="51" y="22"/>
                  </a:lnTo>
                  <a:lnTo>
                    <a:pt x="60" y="19"/>
                  </a:lnTo>
                  <a:lnTo>
                    <a:pt x="63" y="19"/>
                  </a:lnTo>
                  <a:lnTo>
                    <a:pt x="81" y="8"/>
                  </a:lnTo>
                  <a:lnTo>
                    <a:pt x="83" y="8"/>
                  </a:lnTo>
                  <a:lnTo>
                    <a:pt x="93" y="8"/>
                  </a:lnTo>
                  <a:lnTo>
                    <a:pt x="105" y="0"/>
                  </a:lnTo>
                  <a:lnTo>
                    <a:pt x="110" y="2"/>
                  </a:lnTo>
                  <a:lnTo>
                    <a:pt x="114" y="2"/>
                  </a:lnTo>
                  <a:lnTo>
                    <a:pt x="108" y="6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1" y="5"/>
                  </a:lnTo>
                  <a:lnTo>
                    <a:pt x="129" y="9"/>
                  </a:lnTo>
                  <a:lnTo>
                    <a:pt x="135" y="7"/>
                  </a:lnTo>
                  <a:lnTo>
                    <a:pt x="144" y="7"/>
                  </a:lnTo>
                  <a:lnTo>
                    <a:pt x="141" y="11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51" y="18"/>
                  </a:lnTo>
                  <a:lnTo>
                    <a:pt x="157" y="16"/>
                  </a:lnTo>
                  <a:lnTo>
                    <a:pt x="167" y="15"/>
                  </a:lnTo>
                  <a:lnTo>
                    <a:pt x="176" y="16"/>
                  </a:lnTo>
                  <a:lnTo>
                    <a:pt x="182" y="19"/>
                  </a:lnTo>
                  <a:lnTo>
                    <a:pt x="194" y="22"/>
                  </a:lnTo>
                  <a:lnTo>
                    <a:pt x="196" y="21"/>
                  </a:lnTo>
                  <a:lnTo>
                    <a:pt x="203" y="21"/>
                  </a:lnTo>
                  <a:lnTo>
                    <a:pt x="213" y="25"/>
                  </a:lnTo>
                  <a:lnTo>
                    <a:pt x="225" y="23"/>
                  </a:lnTo>
                  <a:lnTo>
                    <a:pt x="234" y="23"/>
                  </a:lnTo>
                  <a:lnTo>
                    <a:pt x="236" y="25"/>
                  </a:lnTo>
                  <a:lnTo>
                    <a:pt x="239" y="26"/>
                  </a:lnTo>
                  <a:lnTo>
                    <a:pt x="250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59" name="Freeform 51"/>
            <p:cNvSpPr>
              <a:spLocks/>
            </p:cNvSpPr>
            <p:nvPr/>
          </p:nvSpPr>
          <p:spPr bwMode="gray">
            <a:xfrm>
              <a:off x="1242" y="1431"/>
              <a:ext cx="91" cy="46"/>
            </a:xfrm>
            <a:custGeom>
              <a:avLst/>
              <a:gdLst>
                <a:gd name="T0" fmla="*/ 2147483647 w 70"/>
                <a:gd name="T1" fmla="*/ 2147483647 h 35"/>
                <a:gd name="T2" fmla="*/ 2147483647 w 70"/>
                <a:gd name="T3" fmla="*/ 2147483647 h 35"/>
                <a:gd name="T4" fmla="*/ 2147483647 w 70"/>
                <a:gd name="T5" fmla="*/ 2147483647 h 35"/>
                <a:gd name="T6" fmla="*/ 2147483647 w 70"/>
                <a:gd name="T7" fmla="*/ 2147483647 h 35"/>
                <a:gd name="T8" fmla="*/ 2147483647 w 70"/>
                <a:gd name="T9" fmla="*/ 2147483647 h 35"/>
                <a:gd name="T10" fmla="*/ 0 w 70"/>
                <a:gd name="T11" fmla="*/ 2147483647 h 35"/>
                <a:gd name="T12" fmla="*/ 2147483647 w 70"/>
                <a:gd name="T13" fmla="*/ 2147483647 h 35"/>
                <a:gd name="T14" fmla="*/ 2147483647 w 70"/>
                <a:gd name="T15" fmla="*/ 2147483647 h 35"/>
                <a:gd name="T16" fmla="*/ 2147483647 w 70"/>
                <a:gd name="T17" fmla="*/ 2147483647 h 35"/>
                <a:gd name="T18" fmla="*/ 2147483647 w 70"/>
                <a:gd name="T19" fmla="*/ 2147483647 h 35"/>
                <a:gd name="T20" fmla="*/ 2147483647 w 70"/>
                <a:gd name="T21" fmla="*/ 2147483647 h 35"/>
                <a:gd name="T22" fmla="*/ 2147483647 w 70"/>
                <a:gd name="T23" fmla="*/ 2147483647 h 35"/>
                <a:gd name="T24" fmla="*/ 2147483647 w 70"/>
                <a:gd name="T25" fmla="*/ 2147483647 h 35"/>
                <a:gd name="T26" fmla="*/ 2147483647 w 70"/>
                <a:gd name="T27" fmla="*/ 2147483647 h 35"/>
                <a:gd name="T28" fmla="*/ 2147483647 w 70"/>
                <a:gd name="T29" fmla="*/ 2147483647 h 35"/>
                <a:gd name="T30" fmla="*/ 2147483647 w 70"/>
                <a:gd name="T31" fmla="*/ 2147483647 h 35"/>
                <a:gd name="T32" fmla="*/ 2147483647 w 70"/>
                <a:gd name="T33" fmla="*/ 2147483647 h 35"/>
                <a:gd name="T34" fmla="*/ 2147483647 w 70"/>
                <a:gd name="T35" fmla="*/ 2147483647 h 35"/>
                <a:gd name="T36" fmla="*/ 2147483647 w 70"/>
                <a:gd name="T37" fmla="*/ 2147483647 h 35"/>
                <a:gd name="T38" fmla="*/ 2147483647 w 70"/>
                <a:gd name="T39" fmla="*/ 2147483647 h 35"/>
                <a:gd name="T40" fmla="*/ 2147483647 w 70"/>
                <a:gd name="T41" fmla="*/ 2147483647 h 35"/>
                <a:gd name="T42" fmla="*/ 2147483647 w 70"/>
                <a:gd name="T43" fmla="*/ 0 h 35"/>
                <a:gd name="T44" fmla="*/ 2147483647 w 70"/>
                <a:gd name="T45" fmla="*/ 2147483647 h 35"/>
                <a:gd name="T46" fmla="*/ 2147483647 w 70"/>
                <a:gd name="T47" fmla="*/ 2147483647 h 35"/>
                <a:gd name="T48" fmla="*/ 2147483647 w 70"/>
                <a:gd name="T49" fmla="*/ 2147483647 h 35"/>
                <a:gd name="T50" fmla="*/ 2147483647 w 70"/>
                <a:gd name="T51" fmla="*/ 2147483647 h 35"/>
                <a:gd name="T52" fmla="*/ 2147483647 w 70"/>
                <a:gd name="T53" fmla="*/ 2147483647 h 35"/>
                <a:gd name="T54" fmla="*/ 2147483647 w 70"/>
                <a:gd name="T55" fmla="*/ 2147483647 h 35"/>
                <a:gd name="T56" fmla="*/ 2147483647 w 70"/>
                <a:gd name="T57" fmla="*/ 2147483647 h 35"/>
                <a:gd name="T58" fmla="*/ 2147483647 w 70"/>
                <a:gd name="T59" fmla="*/ 2147483647 h 35"/>
                <a:gd name="T60" fmla="*/ 2147483647 w 70"/>
                <a:gd name="T61" fmla="*/ 2147483647 h 35"/>
                <a:gd name="T62" fmla="*/ 2147483647 w 70"/>
                <a:gd name="T63" fmla="*/ 2147483647 h 35"/>
                <a:gd name="T64" fmla="*/ 2147483647 w 70"/>
                <a:gd name="T65" fmla="*/ 2147483647 h 35"/>
                <a:gd name="T66" fmla="*/ 2147483647 w 70"/>
                <a:gd name="T67" fmla="*/ 2147483647 h 35"/>
                <a:gd name="T68" fmla="*/ 2147483647 w 70"/>
                <a:gd name="T69" fmla="*/ 2147483647 h 35"/>
                <a:gd name="T70" fmla="*/ 2147483647 w 70"/>
                <a:gd name="T71" fmla="*/ 2147483647 h 35"/>
                <a:gd name="T72" fmla="*/ 2147483647 w 70"/>
                <a:gd name="T73" fmla="*/ 2147483647 h 35"/>
                <a:gd name="T74" fmla="*/ 2147483647 w 70"/>
                <a:gd name="T75" fmla="*/ 2147483647 h 35"/>
                <a:gd name="T76" fmla="*/ 2147483647 w 70"/>
                <a:gd name="T77" fmla="*/ 2147483647 h 35"/>
                <a:gd name="T78" fmla="*/ 2147483647 w 70"/>
                <a:gd name="T79" fmla="*/ 2147483647 h 35"/>
                <a:gd name="T80" fmla="*/ 2147483647 w 70"/>
                <a:gd name="T81" fmla="*/ 2147483647 h 35"/>
                <a:gd name="T82" fmla="*/ 2147483647 w 70"/>
                <a:gd name="T83" fmla="*/ 2147483647 h 35"/>
                <a:gd name="T84" fmla="*/ 2147483647 w 70"/>
                <a:gd name="T85" fmla="*/ 2147483647 h 35"/>
                <a:gd name="T86" fmla="*/ 2147483647 w 70"/>
                <a:gd name="T87" fmla="*/ 2147483647 h 35"/>
                <a:gd name="T88" fmla="*/ 2147483647 w 70"/>
                <a:gd name="T89" fmla="*/ 2147483647 h 3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0"/>
                <a:gd name="T136" fmla="*/ 0 h 35"/>
                <a:gd name="T137" fmla="*/ 70 w 70"/>
                <a:gd name="T138" fmla="*/ 35 h 3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0" h="35">
                  <a:moveTo>
                    <a:pt x="15" y="31"/>
                  </a:moveTo>
                  <a:lnTo>
                    <a:pt x="11" y="31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4" y="24"/>
                  </a:lnTo>
                  <a:lnTo>
                    <a:pt x="9" y="23"/>
                  </a:lnTo>
                  <a:lnTo>
                    <a:pt x="15" y="22"/>
                  </a:lnTo>
                  <a:lnTo>
                    <a:pt x="17" y="18"/>
                  </a:lnTo>
                  <a:lnTo>
                    <a:pt x="21" y="18"/>
                  </a:lnTo>
                  <a:lnTo>
                    <a:pt x="22" y="14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8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64" y="0"/>
                  </a:lnTo>
                  <a:lnTo>
                    <a:pt x="70" y="4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9"/>
                  </a:lnTo>
                  <a:lnTo>
                    <a:pt x="67" y="11"/>
                  </a:lnTo>
                  <a:lnTo>
                    <a:pt x="63" y="13"/>
                  </a:lnTo>
                  <a:lnTo>
                    <a:pt x="66" y="18"/>
                  </a:lnTo>
                  <a:lnTo>
                    <a:pt x="57" y="20"/>
                  </a:lnTo>
                  <a:lnTo>
                    <a:pt x="55" y="26"/>
                  </a:lnTo>
                  <a:lnTo>
                    <a:pt x="46" y="22"/>
                  </a:lnTo>
                  <a:lnTo>
                    <a:pt x="48" y="17"/>
                  </a:lnTo>
                  <a:lnTo>
                    <a:pt x="42" y="17"/>
                  </a:lnTo>
                  <a:lnTo>
                    <a:pt x="40" y="24"/>
                  </a:lnTo>
                  <a:lnTo>
                    <a:pt x="36" y="26"/>
                  </a:lnTo>
                  <a:lnTo>
                    <a:pt x="34" y="23"/>
                  </a:lnTo>
                  <a:lnTo>
                    <a:pt x="30" y="24"/>
                  </a:lnTo>
                  <a:lnTo>
                    <a:pt x="32" y="32"/>
                  </a:lnTo>
                  <a:lnTo>
                    <a:pt x="24" y="33"/>
                  </a:lnTo>
                  <a:lnTo>
                    <a:pt x="25" y="29"/>
                  </a:lnTo>
                  <a:lnTo>
                    <a:pt x="21" y="29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5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0" name="Freeform 52"/>
            <p:cNvSpPr>
              <a:spLocks/>
            </p:cNvSpPr>
            <p:nvPr/>
          </p:nvSpPr>
          <p:spPr bwMode="gray">
            <a:xfrm>
              <a:off x="1360" y="1397"/>
              <a:ext cx="46" cy="15"/>
            </a:xfrm>
            <a:custGeom>
              <a:avLst/>
              <a:gdLst>
                <a:gd name="T0" fmla="*/ 2147483647 w 35"/>
                <a:gd name="T1" fmla="*/ 0 h 11"/>
                <a:gd name="T2" fmla="*/ 2147483647 w 35"/>
                <a:gd name="T3" fmla="*/ 2147483647 h 11"/>
                <a:gd name="T4" fmla="*/ 2147483647 w 35"/>
                <a:gd name="T5" fmla="*/ 2147483647 h 11"/>
                <a:gd name="T6" fmla="*/ 2147483647 w 35"/>
                <a:gd name="T7" fmla="*/ 2147483647 h 11"/>
                <a:gd name="T8" fmla="*/ 2147483647 w 35"/>
                <a:gd name="T9" fmla="*/ 2147483647 h 11"/>
                <a:gd name="T10" fmla="*/ 2147483647 w 35"/>
                <a:gd name="T11" fmla="*/ 2147483647 h 11"/>
                <a:gd name="T12" fmla="*/ 2147483647 w 35"/>
                <a:gd name="T13" fmla="*/ 2147483647 h 11"/>
                <a:gd name="T14" fmla="*/ 2147483647 w 35"/>
                <a:gd name="T15" fmla="*/ 2147483647 h 11"/>
                <a:gd name="T16" fmla="*/ 2147483647 w 35"/>
                <a:gd name="T17" fmla="*/ 2147483647 h 11"/>
                <a:gd name="T18" fmla="*/ 2147483647 w 35"/>
                <a:gd name="T19" fmla="*/ 2147483647 h 11"/>
                <a:gd name="T20" fmla="*/ 0 w 35"/>
                <a:gd name="T21" fmla="*/ 2147483647 h 11"/>
                <a:gd name="T22" fmla="*/ 2147483647 w 35"/>
                <a:gd name="T23" fmla="*/ 2147483647 h 11"/>
                <a:gd name="T24" fmla="*/ 2147483647 w 35"/>
                <a:gd name="T25" fmla="*/ 2147483647 h 11"/>
                <a:gd name="T26" fmla="*/ 2147483647 w 35"/>
                <a:gd name="T27" fmla="*/ 2147483647 h 11"/>
                <a:gd name="T28" fmla="*/ 2147483647 w 35"/>
                <a:gd name="T29" fmla="*/ 2147483647 h 11"/>
                <a:gd name="T30" fmla="*/ 2147483647 w 35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5"/>
                <a:gd name="T49" fmla="*/ 0 h 11"/>
                <a:gd name="T50" fmla="*/ 35 w 35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5" h="11">
                  <a:moveTo>
                    <a:pt x="25" y="0"/>
                  </a:moveTo>
                  <a:lnTo>
                    <a:pt x="30" y="4"/>
                  </a:lnTo>
                  <a:lnTo>
                    <a:pt x="35" y="5"/>
                  </a:lnTo>
                  <a:lnTo>
                    <a:pt x="35" y="9"/>
                  </a:lnTo>
                  <a:lnTo>
                    <a:pt x="24" y="11"/>
                  </a:lnTo>
                  <a:lnTo>
                    <a:pt x="19" y="8"/>
                  </a:lnTo>
                  <a:lnTo>
                    <a:pt x="17" y="10"/>
                  </a:lnTo>
                  <a:lnTo>
                    <a:pt x="13" y="10"/>
                  </a:lnTo>
                  <a:lnTo>
                    <a:pt x="8" y="9"/>
                  </a:lnTo>
                  <a:lnTo>
                    <a:pt x="1" y="10"/>
                  </a:lnTo>
                  <a:lnTo>
                    <a:pt x="0" y="8"/>
                  </a:lnTo>
                  <a:lnTo>
                    <a:pt x="4" y="7"/>
                  </a:lnTo>
                  <a:lnTo>
                    <a:pt x="5" y="4"/>
                  </a:lnTo>
                  <a:lnTo>
                    <a:pt x="15" y="4"/>
                  </a:lnTo>
                  <a:lnTo>
                    <a:pt x="20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1" name="Freeform 53"/>
            <p:cNvSpPr>
              <a:spLocks/>
            </p:cNvSpPr>
            <p:nvPr/>
          </p:nvSpPr>
          <p:spPr bwMode="gray">
            <a:xfrm>
              <a:off x="1360" y="1417"/>
              <a:ext cx="45" cy="18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0 w 34"/>
                <a:gd name="T19" fmla="*/ 2147483647 h 14"/>
                <a:gd name="T20" fmla="*/ 2147483647 w 34"/>
                <a:gd name="T21" fmla="*/ 0 h 14"/>
                <a:gd name="T22" fmla="*/ 2147483647 w 34"/>
                <a:gd name="T23" fmla="*/ 0 h 14"/>
                <a:gd name="T24" fmla="*/ 2147483647 w 34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4"/>
                <a:gd name="T41" fmla="*/ 34 w 34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4">
                  <a:moveTo>
                    <a:pt x="34" y="1"/>
                  </a:moveTo>
                  <a:lnTo>
                    <a:pt x="34" y="3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9" y="8"/>
                  </a:lnTo>
                  <a:lnTo>
                    <a:pt x="30" y="11"/>
                  </a:lnTo>
                  <a:lnTo>
                    <a:pt x="26" y="12"/>
                  </a:lnTo>
                  <a:lnTo>
                    <a:pt x="10" y="14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2" name="Freeform 54"/>
            <p:cNvSpPr>
              <a:spLocks/>
            </p:cNvSpPr>
            <p:nvPr/>
          </p:nvSpPr>
          <p:spPr bwMode="gray">
            <a:xfrm>
              <a:off x="1337" y="1418"/>
              <a:ext cx="18" cy="8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0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8" y="1"/>
                  </a:moveTo>
                  <a:lnTo>
                    <a:pt x="14" y="3"/>
                  </a:lnTo>
                  <a:lnTo>
                    <a:pt x="12" y="5"/>
                  </a:lnTo>
                  <a:lnTo>
                    <a:pt x="6" y="6"/>
                  </a:lnTo>
                  <a:lnTo>
                    <a:pt x="0" y="1"/>
                  </a:lnTo>
                  <a:lnTo>
                    <a:pt x="4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3" name="Freeform 55"/>
            <p:cNvSpPr>
              <a:spLocks/>
            </p:cNvSpPr>
            <p:nvPr/>
          </p:nvSpPr>
          <p:spPr bwMode="gray">
            <a:xfrm>
              <a:off x="1341" y="1448"/>
              <a:ext cx="17" cy="5"/>
            </a:xfrm>
            <a:custGeom>
              <a:avLst/>
              <a:gdLst>
                <a:gd name="T0" fmla="*/ 0 w 13"/>
                <a:gd name="T1" fmla="*/ 0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0 w 13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0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9" y="4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4" name="Freeform 56"/>
            <p:cNvSpPr>
              <a:spLocks/>
            </p:cNvSpPr>
            <p:nvPr/>
          </p:nvSpPr>
          <p:spPr bwMode="gray">
            <a:xfrm>
              <a:off x="1289" y="1469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9"/>
                <a:gd name="T23" fmla="*/ 12 w 1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9">
                  <a:moveTo>
                    <a:pt x="12" y="0"/>
                  </a:moveTo>
                  <a:lnTo>
                    <a:pt x="11" y="4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6"/>
                  </a:lnTo>
                  <a:lnTo>
                    <a:pt x="7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5" name="Freeform 57"/>
            <p:cNvSpPr>
              <a:spLocks/>
            </p:cNvSpPr>
            <p:nvPr/>
          </p:nvSpPr>
          <p:spPr bwMode="gray">
            <a:xfrm>
              <a:off x="1179" y="2107"/>
              <a:ext cx="60" cy="49"/>
            </a:xfrm>
            <a:custGeom>
              <a:avLst/>
              <a:gdLst>
                <a:gd name="T0" fmla="*/ 2147483647 w 46"/>
                <a:gd name="T1" fmla="*/ 2147483647 h 38"/>
                <a:gd name="T2" fmla="*/ 2147483647 w 46"/>
                <a:gd name="T3" fmla="*/ 2147483647 h 38"/>
                <a:gd name="T4" fmla="*/ 2147483647 w 46"/>
                <a:gd name="T5" fmla="*/ 2147483647 h 38"/>
                <a:gd name="T6" fmla="*/ 2147483647 w 46"/>
                <a:gd name="T7" fmla="*/ 2147483647 h 38"/>
                <a:gd name="T8" fmla="*/ 2147483647 w 46"/>
                <a:gd name="T9" fmla="*/ 2147483647 h 38"/>
                <a:gd name="T10" fmla="*/ 2147483647 w 46"/>
                <a:gd name="T11" fmla="*/ 2147483647 h 38"/>
                <a:gd name="T12" fmla="*/ 2147483647 w 46"/>
                <a:gd name="T13" fmla="*/ 2147483647 h 38"/>
                <a:gd name="T14" fmla="*/ 2147483647 w 46"/>
                <a:gd name="T15" fmla="*/ 2147483647 h 38"/>
                <a:gd name="T16" fmla="*/ 0 w 46"/>
                <a:gd name="T17" fmla="*/ 2147483647 h 38"/>
                <a:gd name="T18" fmla="*/ 0 w 46"/>
                <a:gd name="T19" fmla="*/ 2147483647 h 38"/>
                <a:gd name="T20" fmla="*/ 2147483647 w 46"/>
                <a:gd name="T21" fmla="*/ 0 h 38"/>
                <a:gd name="T22" fmla="*/ 2147483647 w 46"/>
                <a:gd name="T23" fmla="*/ 2147483647 h 38"/>
                <a:gd name="T24" fmla="*/ 2147483647 w 46"/>
                <a:gd name="T25" fmla="*/ 2147483647 h 38"/>
                <a:gd name="T26" fmla="*/ 2147483647 w 46"/>
                <a:gd name="T27" fmla="*/ 2147483647 h 38"/>
                <a:gd name="T28" fmla="*/ 2147483647 w 46"/>
                <a:gd name="T29" fmla="*/ 2147483647 h 38"/>
                <a:gd name="T30" fmla="*/ 2147483647 w 46"/>
                <a:gd name="T31" fmla="*/ 2147483647 h 38"/>
                <a:gd name="T32" fmla="*/ 2147483647 w 46"/>
                <a:gd name="T33" fmla="*/ 2147483647 h 38"/>
                <a:gd name="T34" fmla="*/ 2147483647 w 46"/>
                <a:gd name="T35" fmla="*/ 2147483647 h 38"/>
                <a:gd name="T36" fmla="*/ 2147483647 w 46"/>
                <a:gd name="T37" fmla="*/ 2147483647 h 38"/>
                <a:gd name="T38" fmla="*/ 2147483647 w 46"/>
                <a:gd name="T39" fmla="*/ 2147483647 h 38"/>
                <a:gd name="T40" fmla="*/ 2147483647 w 46"/>
                <a:gd name="T41" fmla="*/ 2147483647 h 3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6"/>
                <a:gd name="T64" fmla="*/ 0 h 38"/>
                <a:gd name="T65" fmla="*/ 46 w 46"/>
                <a:gd name="T66" fmla="*/ 38 h 3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6" h="38">
                  <a:moveTo>
                    <a:pt x="37" y="36"/>
                  </a:moveTo>
                  <a:lnTo>
                    <a:pt x="32" y="35"/>
                  </a:lnTo>
                  <a:lnTo>
                    <a:pt x="27" y="32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4" y="15"/>
                  </a:lnTo>
                  <a:lnTo>
                    <a:pt x="0" y="3"/>
                  </a:lnTo>
                  <a:lnTo>
                    <a:pt x="0" y="1"/>
                  </a:lnTo>
                  <a:lnTo>
                    <a:pt x="6" y="0"/>
                  </a:lnTo>
                  <a:lnTo>
                    <a:pt x="11" y="9"/>
                  </a:lnTo>
                  <a:lnTo>
                    <a:pt x="22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1"/>
                  </a:lnTo>
                  <a:lnTo>
                    <a:pt x="39" y="27"/>
                  </a:lnTo>
                  <a:lnTo>
                    <a:pt x="44" y="30"/>
                  </a:lnTo>
                  <a:lnTo>
                    <a:pt x="46" y="37"/>
                  </a:lnTo>
                  <a:lnTo>
                    <a:pt x="43" y="38"/>
                  </a:lnTo>
                  <a:lnTo>
                    <a:pt x="37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6" name="Freeform 58"/>
            <p:cNvSpPr>
              <a:spLocks/>
            </p:cNvSpPr>
            <p:nvPr/>
          </p:nvSpPr>
          <p:spPr bwMode="gray">
            <a:xfrm>
              <a:off x="1210" y="1506"/>
              <a:ext cx="124" cy="95"/>
            </a:xfrm>
            <a:custGeom>
              <a:avLst/>
              <a:gdLst>
                <a:gd name="T0" fmla="*/ 2147483647 w 95"/>
                <a:gd name="T1" fmla="*/ 2147483647 h 73"/>
                <a:gd name="T2" fmla="*/ 2147483647 w 95"/>
                <a:gd name="T3" fmla="*/ 2147483647 h 73"/>
                <a:gd name="T4" fmla="*/ 2147483647 w 95"/>
                <a:gd name="T5" fmla="*/ 2147483647 h 73"/>
                <a:gd name="T6" fmla="*/ 2147483647 w 95"/>
                <a:gd name="T7" fmla="*/ 2147483647 h 73"/>
                <a:gd name="T8" fmla="*/ 2147483647 w 95"/>
                <a:gd name="T9" fmla="*/ 2147483647 h 73"/>
                <a:gd name="T10" fmla="*/ 2147483647 w 95"/>
                <a:gd name="T11" fmla="*/ 2147483647 h 73"/>
                <a:gd name="T12" fmla="*/ 2147483647 w 95"/>
                <a:gd name="T13" fmla="*/ 2147483647 h 73"/>
                <a:gd name="T14" fmla="*/ 2147483647 w 95"/>
                <a:gd name="T15" fmla="*/ 2147483647 h 73"/>
                <a:gd name="T16" fmla="*/ 2147483647 w 95"/>
                <a:gd name="T17" fmla="*/ 2147483647 h 73"/>
                <a:gd name="T18" fmla="*/ 2147483647 w 95"/>
                <a:gd name="T19" fmla="*/ 2147483647 h 73"/>
                <a:gd name="T20" fmla="*/ 2147483647 w 95"/>
                <a:gd name="T21" fmla="*/ 2147483647 h 73"/>
                <a:gd name="T22" fmla="*/ 2147483647 w 95"/>
                <a:gd name="T23" fmla="*/ 2147483647 h 73"/>
                <a:gd name="T24" fmla="*/ 2147483647 w 95"/>
                <a:gd name="T25" fmla="*/ 2147483647 h 73"/>
                <a:gd name="T26" fmla="*/ 2147483647 w 95"/>
                <a:gd name="T27" fmla="*/ 2147483647 h 73"/>
                <a:gd name="T28" fmla="*/ 2147483647 w 95"/>
                <a:gd name="T29" fmla="*/ 2147483647 h 73"/>
                <a:gd name="T30" fmla="*/ 2147483647 w 95"/>
                <a:gd name="T31" fmla="*/ 2147483647 h 73"/>
                <a:gd name="T32" fmla="*/ 2147483647 w 95"/>
                <a:gd name="T33" fmla="*/ 2147483647 h 73"/>
                <a:gd name="T34" fmla="*/ 2147483647 w 95"/>
                <a:gd name="T35" fmla="*/ 2147483647 h 73"/>
                <a:gd name="T36" fmla="*/ 0 w 95"/>
                <a:gd name="T37" fmla="*/ 2147483647 h 73"/>
                <a:gd name="T38" fmla="*/ 2147483647 w 95"/>
                <a:gd name="T39" fmla="*/ 2147483647 h 73"/>
                <a:gd name="T40" fmla="*/ 2147483647 w 95"/>
                <a:gd name="T41" fmla="*/ 2147483647 h 73"/>
                <a:gd name="T42" fmla="*/ 2147483647 w 95"/>
                <a:gd name="T43" fmla="*/ 2147483647 h 73"/>
                <a:gd name="T44" fmla="*/ 2147483647 w 95"/>
                <a:gd name="T45" fmla="*/ 2147483647 h 73"/>
                <a:gd name="T46" fmla="*/ 2147483647 w 95"/>
                <a:gd name="T47" fmla="*/ 2147483647 h 73"/>
                <a:gd name="T48" fmla="*/ 2147483647 w 95"/>
                <a:gd name="T49" fmla="*/ 2147483647 h 73"/>
                <a:gd name="T50" fmla="*/ 2147483647 w 95"/>
                <a:gd name="T51" fmla="*/ 2147483647 h 73"/>
                <a:gd name="T52" fmla="*/ 2147483647 w 95"/>
                <a:gd name="T53" fmla="*/ 2147483647 h 73"/>
                <a:gd name="T54" fmla="*/ 2147483647 w 95"/>
                <a:gd name="T55" fmla="*/ 2147483647 h 73"/>
                <a:gd name="T56" fmla="*/ 2147483647 w 95"/>
                <a:gd name="T57" fmla="*/ 2147483647 h 73"/>
                <a:gd name="T58" fmla="*/ 2147483647 w 95"/>
                <a:gd name="T59" fmla="*/ 2147483647 h 73"/>
                <a:gd name="T60" fmla="*/ 2147483647 w 95"/>
                <a:gd name="T61" fmla="*/ 2147483647 h 73"/>
                <a:gd name="T62" fmla="*/ 2147483647 w 95"/>
                <a:gd name="T63" fmla="*/ 0 h 73"/>
                <a:gd name="T64" fmla="*/ 2147483647 w 95"/>
                <a:gd name="T65" fmla="*/ 2147483647 h 73"/>
                <a:gd name="T66" fmla="*/ 2147483647 w 95"/>
                <a:gd name="T67" fmla="*/ 2147483647 h 73"/>
                <a:gd name="T68" fmla="*/ 2147483647 w 95"/>
                <a:gd name="T69" fmla="*/ 2147483647 h 73"/>
                <a:gd name="T70" fmla="*/ 2147483647 w 95"/>
                <a:gd name="T71" fmla="*/ 2147483647 h 73"/>
                <a:gd name="T72" fmla="*/ 2147483647 w 95"/>
                <a:gd name="T73" fmla="*/ 2147483647 h 73"/>
                <a:gd name="T74" fmla="*/ 2147483647 w 95"/>
                <a:gd name="T75" fmla="*/ 2147483647 h 73"/>
                <a:gd name="T76" fmla="*/ 2147483647 w 95"/>
                <a:gd name="T77" fmla="*/ 2147483647 h 73"/>
                <a:gd name="T78" fmla="*/ 2147483647 w 95"/>
                <a:gd name="T79" fmla="*/ 2147483647 h 73"/>
                <a:gd name="T80" fmla="*/ 2147483647 w 95"/>
                <a:gd name="T81" fmla="*/ 2147483647 h 73"/>
                <a:gd name="T82" fmla="*/ 2147483647 w 95"/>
                <a:gd name="T83" fmla="*/ 2147483647 h 73"/>
                <a:gd name="T84" fmla="*/ 2147483647 w 95"/>
                <a:gd name="T85" fmla="*/ 2147483647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73"/>
                <a:gd name="T131" fmla="*/ 95 w 95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73">
                  <a:moveTo>
                    <a:pt x="95" y="25"/>
                  </a:moveTo>
                  <a:lnTo>
                    <a:pt x="91" y="26"/>
                  </a:lnTo>
                  <a:lnTo>
                    <a:pt x="88" y="28"/>
                  </a:lnTo>
                  <a:lnTo>
                    <a:pt x="72" y="36"/>
                  </a:lnTo>
                  <a:lnTo>
                    <a:pt x="68" y="39"/>
                  </a:lnTo>
                  <a:lnTo>
                    <a:pt x="60" y="44"/>
                  </a:lnTo>
                  <a:lnTo>
                    <a:pt x="58" y="49"/>
                  </a:lnTo>
                  <a:lnTo>
                    <a:pt x="56" y="51"/>
                  </a:lnTo>
                  <a:lnTo>
                    <a:pt x="54" y="49"/>
                  </a:lnTo>
                  <a:lnTo>
                    <a:pt x="49" y="52"/>
                  </a:lnTo>
                  <a:lnTo>
                    <a:pt x="49" y="62"/>
                  </a:lnTo>
                  <a:lnTo>
                    <a:pt x="42" y="66"/>
                  </a:lnTo>
                  <a:lnTo>
                    <a:pt x="39" y="64"/>
                  </a:lnTo>
                  <a:lnTo>
                    <a:pt x="32" y="70"/>
                  </a:lnTo>
                  <a:lnTo>
                    <a:pt x="27" y="73"/>
                  </a:lnTo>
                  <a:lnTo>
                    <a:pt x="22" y="73"/>
                  </a:lnTo>
                  <a:lnTo>
                    <a:pt x="20" y="64"/>
                  </a:lnTo>
                  <a:lnTo>
                    <a:pt x="5" y="56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9" y="44"/>
                  </a:lnTo>
                  <a:lnTo>
                    <a:pt x="8" y="42"/>
                  </a:lnTo>
                  <a:lnTo>
                    <a:pt x="5" y="40"/>
                  </a:lnTo>
                  <a:lnTo>
                    <a:pt x="5" y="36"/>
                  </a:lnTo>
                  <a:lnTo>
                    <a:pt x="9" y="36"/>
                  </a:lnTo>
                  <a:lnTo>
                    <a:pt x="12" y="34"/>
                  </a:lnTo>
                  <a:lnTo>
                    <a:pt x="8" y="31"/>
                  </a:lnTo>
                  <a:lnTo>
                    <a:pt x="8" y="28"/>
                  </a:lnTo>
                  <a:lnTo>
                    <a:pt x="16" y="20"/>
                  </a:lnTo>
                  <a:lnTo>
                    <a:pt x="10" y="4"/>
                  </a:lnTo>
                  <a:lnTo>
                    <a:pt x="30" y="3"/>
                  </a:lnTo>
                  <a:lnTo>
                    <a:pt x="35" y="0"/>
                  </a:lnTo>
                  <a:lnTo>
                    <a:pt x="43" y="1"/>
                  </a:lnTo>
                  <a:lnTo>
                    <a:pt x="53" y="9"/>
                  </a:lnTo>
                  <a:lnTo>
                    <a:pt x="55" y="11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1" y="13"/>
                  </a:lnTo>
                  <a:lnTo>
                    <a:pt x="64" y="12"/>
                  </a:lnTo>
                  <a:lnTo>
                    <a:pt x="64" y="9"/>
                  </a:lnTo>
                  <a:lnTo>
                    <a:pt x="75" y="8"/>
                  </a:lnTo>
                  <a:lnTo>
                    <a:pt x="94" y="22"/>
                  </a:lnTo>
                  <a:lnTo>
                    <a:pt x="9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7" name="Freeform 59"/>
            <p:cNvSpPr>
              <a:spLocks/>
            </p:cNvSpPr>
            <p:nvPr/>
          </p:nvSpPr>
          <p:spPr bwMode="gray">
            <a:xfrm>
              <a:off x="1492" y="1528"/>
              <a:ext cx="77" cy="67"/>
            </a:xfrm>
            <a:custGeom>
              <a:avLst/>
              <a:gdLst>
                <a:gd name="T0" fmla="*/ 2147483647 w 59"/>
                <a:gd name="T1" fmla="*/ 2147483647 h 52"/>
                <a:gd name="T2" fmla="*/ 2147483647 w 59"/>
                <a:gd name="T3" fmla="*/ 2147483647 h 52"/>
                <a:gd name="T4" fmla="*/ 2147483647 w 59"/>
                <a:gd name="T5" fmla="*/ 2147483647 h 52"/>
                <a:gd name="T6" fmla="*/ 2147483647 w 59"/>
                <a:gd name="T7" fmla="*/ 2147483647 h 52"/>
                <a:gd name="T8" fmla="*/ 2147483647 w 59"/>
                <a:gd name="T9" fmla="*/ 2147483647 h 52"/>
                <a:gd name="T10" fmla="*/ 2147483647 w 59"/>
                <a:gd name="T11" fmla="*/ 2147483647 h 52"/>
                <a:gd name="T12" fmla="*/ 2147483647 w 59"/>
                <a:gd name="T13" fmla="*/ 2147483647 h 52"/>
                <a:gd name="T14" fmla="*/ 2147483647 w 59"/>
                <a:gd name="T15" fmla="*/ 2147483647 h 52"/>
                <a:gd name="T16" fmla="*/ 2147483647 w 59"/>
                <a:gd name="T17" fmla="*/ 2147483647 h 52"/>
                <a:gd name="T18" fmla="*/ 2147483647 w 59"/>
                <a:gd name="T19" fmla="*/ 2147483647 h 52"/>
                <a:gd name="T20" fmla="*/ 2147483647 w 59"/>
                <a:gd name="T21" fmla="*/ 2147483647 h 52"/>
                <a:gd name="T22" fmla="*/ 2147483647 w 59"/>
                <a:gd name="T23" fmla="*/ 2147483647 h 52"/>
                <a:gd name="T24" fmla="*/ 2147483647 w 59"/>
                <a:gd name="T25" fmla="*/ 2147483647 h 52"/>
                <a:gd name="T26" fmla="*/ 2147483647 w 59"/>
                <a:gd name="T27" fmla="*/ 2147483647 h 52"/>
                <a:gd name="T28" fmla="*/ 2147483647 w 59"/>
                <a:gd name="T29" fmla="*/ 2147483647 h 52"/>
                <a:gd name="T30" fmla="*/ 2147483647 w 59"/>
                <a:gd name="T31" fmla="*/ 2147483647 h 52"/>
                <a:gd name="T32" fmla="*/ 2147483647 w 59"/>
                <a:gd name="T33" fmla="*/ 2147483647 h 52"/>
                <a:gd name="T34" fmla="*/ 2147483647 w 59"/>
                <a:gd name="T35" fmla="*/ 2147483647 h 52"/>
                <a:gd name="T36" fmla="*/ 2147483647 w 59"/>
                <a:gd name="T37" fmla="*/ 2147483647 h 52"/>
                <a:gd name="T38" fmla="*/ 2147483647 w 59"/>
                <a:gd name="T39" fmla="*/ 2147483647 h 52"/>
                <a:gd name="T40" fmla="*/ 2147483647 w 59"/>
                <a:gd name="T41" fmla="*/ 2147483647 h 52"/>
                <a:gd name="T42" fmla="*/ 2147483647 w 59"/>
                <a:gd name="T43" fmla="*/ 2147483647 h 52"/>
                <a:gd name="T44" fmla="*/ 2147483647 w 59"/>
                <a:gd name="T45" fmla="*/ 2147483647 h 52"/>
                <a:gd name="T46" fmla="*/ 2147483647 w 59"/>
                <a:gd name="T47" fmla="*/ 2147483647 h 52"/>
                <a:gd name="T48" fmla="*/ 2147483647 w 59"/>
                <a:gd name="T49" fmla="*/ 2147483647 h 52"/>
                <a:gd name="T50" fmla="*/ 2147483647 w 59"/>
                <a:gd name="T51" fmla="*/ 2147483647 h 52"/>
                <a:gd name="T52" fmla="*/ 2147483647 w 59"/>
                <a:gd name="T53" fmla="*/ 2147483647 h 52"/>
                <a:gd name="T54" fmla="*/ 2147483647 w 59"/>
                <a:gd name="T55" fmla="*/ 2147483647 h 52"/>
                <a:gd name="T56" fmla="*/ 0 w 59"/>
                <a:gd name="T57" fmla="*/ 2147483647 h 52"/>
                <a:gd name="T58" fmla="*/ 2147483647 w 59"/>
                <a:gd name="T59" fmla="*/ 2147483647 h 52"/>
                <a:gd name="T60" fmla="*/ 2147483647 w 59"/>
                <a:gd name="T61" fmla="*/ 2147483647 h 52"/>
                <a:gd name="T62" fmla="*/ 2147483647 w 59"/>
                <a:gd name="T63" fmla="*/ 2147483647 h 52"/>
                <a:gd name="T64" fmla="*/ 2147483647 w 59"/>
                <a:gd name="T65" fmla="*/ 2147483647 h 52"/>
                <a:gd name="T66" fmla="*/ 2147483647 w 59"/>
                <a:gd name="T67" fmla="*/ 2147483647 h 52"/>
                <a:gd name="T68" fmla="*/ 2147483647 w 59"/>
                <a:gd name="T69" fmla="*/ 2147483647 h 52"/>
                <a:gd name="T70" fmla="*/ 2147483647 w 59"/>
                <a:gd name="T71" fmla="*/ 2147483647 h 52"/>
                <a:gd name="T72" fmla="*/ 2147483647 w 59"/>
                <a:gd name="T73" fmla="*/ 2147483647 h 52"/>
                <a:gd name="T74" fmla="*/ 2147483647 w 59"/>
                <a:gd name="T75" fmla="*/ 2147483647 h 52"/>
                <a:gd name="T76" fmla="*/ 2147483647 w 59"/>
                <a:gd name="T77" fmla="*/ 2147483647 h 52"/>
                <a:gd name="T78" fmla="*/ 2147483647 w 59"/>
                <a:gd name="T79" fmla="*/ 2147483647 h 52"/>
                <a:gd name="T80" fmla="*/ 2147483647 w 59"/>
                <a:gd name="T81" fmla="*/ 2147483647 h 52"/>
                <a:gd name="T82" fmla="*/ 2147483647 w 59"/>
                <a:gd name="T83" fmla="*/ 2147483647 h 52"/>
                <a:gd name="T84" fmla="*/ 2147483647 w 59"/>
                <a:gd name="T85" fmla="*/ 2147483647 h 52"/>
                <a:gd name="T86" fmla="*/ 2147483647 w 59"/>
                <a:gd name="T87" fmla="*/ 0 h 52"/>
                <a:gd name="T88" fmla="*/ 2147483647 w 59"/>
                <a:gd name="T89" fmla="*/ 2147483647 h 52"/>
                <a:gd name="T90" fmla="*/ 2147483647 w 59"/>
                <a:gd name="T91" fmla="*/ 2147483647 h 52"/>
                <a:gd name="T92" fmla="*/ 2147483647 w 59"/>
                <a:gd name="T93" fmla="*/ 2147483647 h 52"/>
                <a:gd name="T94" fmla="*/ 2147483647 w 59"/>
                <a:gd name="T95" fmla="*/ 2147483647 h 52"/>
                <a:gd name="T96" fmla="*/ 2147483647 w 59"/>
                <a:gd name="T97" fmla="*/ 2147483647 h 52"/>
                <a:gd name="T98" fmla="*/ 2147483647 w 59"/>
                <a:gd name="T99" fmla="*/ 2147483647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9"/>
                <a:gd name="T151" fmla="*/ 0 h 52"/>
                <a:gd name="T152" fmla="*/ 59 w 59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9" h="52">
                  <a:moveTo>
                    <a:pt x="45" y="1"/>
                  </a:moveTo>
                  <a:lnTo>
                    <a:pt x="53" y="1"/>
                  </a:lnTo>
                  <a:lnTo>
                    <a:pt x="51" y="6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1" y="17"/>
                  </a:lnTo>
                  <a:lnTo>
                    <a:pt x="39" y="20"/>
                  </a:lnTo>
                  <a:lnTo>
                    <a:pt x="47" y="20"/>
                  </a:lnTo>
                  <a:lnTo>
                    <a:pt x="49" y="21"/>
                  </a:lnTo>
                  <a:lnTo>
                    <a:pt x="49" y="25"/>
                  </a:lnTo>
                  <a:lnTo>
                    <a:pt x="55" y="26"/>
                  </a:lnTo>
                  <a:lnTo>
                    <a:pt x="56" y="27"/>
                  </a:lnTo>
                  <a:lnTo>
                    <a:pt x="59" y="30"/>
                  </a:lnTo>
                  <a:lnTo>
                    <a:pt x="55" y="33"/>
                  </a:lnTo>
                  <a:lnTo>
                    <a:pt x="57" y="39"/>
                  </a:lnTo>
                  <a:lnTo>
                    <a:pt x="55" y="44"/>
                  </a:lnTo>
                  <a:lnTo>
                    <a:pt x="44" y="46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42" y="47"/>
                  </a:lnTo>
                  <a:lnTo>
                    <a:pt x="42" y="50"/>
                  </a:lnTo>
                  <a:lnTo>
                    <a:pt x="32" y="52"/>
                  </a:lnTo>
                  <a:lnTo>
                    <a:pt x="26" y="41"/>
                  </a:lnTo>
                  <a:lnTo>
                    <a:pt x="21" y="39"/>
                  </a:lnTo>
                  <a:lnTo>
                    <a:pt x="18" y="36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2" y="29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7" y="19"/>
                  </a:lnTo>
                  <a:lnTo>
                    <a:pt x="17" y="26"/>
                  </a:lnTo>
                  <a:lnTo>
                    <a:pt x="19" y="25"/>
                  </a:lnTo>
                  <a:lnTo>
                    <a:pt x="24" y="23"/>
                  </a:lnTo>
                  <a:lnTo>
                    <a:pt x="21" y="16"/>
                  </a:lnTo>
                  <a:lnTo>
                    <a:pt x="23" y="15"/>
                  </a:lnTo>
                  <a:lnTo>
                    <a:pt x="22" y="14"/>
                  </a:lnTo>
                  <a:lnTo>
                    <a:pt x="17" y="14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16" y="5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2" y="3"/>
                  </a:lnTo>
                  <a:lnTo>
                    <a:pt x="38" y="4"/>
                  </a:lnTo>
                  <a:lnTo>
                    <a:pt x="42" y="2"/>
                  </a:lnTo>
                  <a:lnTo>
                    <a:pt x="4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8" name="Freeform 60"/>
            <p:cNvSpPr>
              <a:spLocks/>
            </p:cNvSpPr>
            <p:nvPr/>
          </p:nvSpPr>
          <p:spPr bwMode="gray">
            <a:xfrm>
              <a:off x="1437" y="1532"/>
              <a:ext cx="30" cy="18"/>
            </a:xfrm>
            <a:custGeom>
              <a:avLst/>
              <a:gdLst>
                <a:gd name="T0" fmla="*/ 0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0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2147483647 h 14"/>
                <a:gd name="T14" fmla="*/ 2147483647 w 23"/>
                <a:gd name="T15" fmla="*/ 2147483647 h 14"/>
                <a:gd name="T16" fmla="*/ 0 w 23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4"/>
                <a:gd name="T29" fmla="*/ 23 w 2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4">
                  <a:moveTo>
                    <a:pt x="0" y="6"/>
                  </a:moveTo>
                  <a:lnTo>
                    <a:pt x="3" y="1"/>
                  </a:lnTo>
                  <a:lnTo>
                    <a:pt x="15" y="0"/>
                  </a:lnTo>
                  <a:lnTo>
                    <a:pt x="21" y="2"/>
                  </a:lnTo>
                  <a:lnTo>
                    <a:pt x="23" y="4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8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69" name="Freeform 61"/>
            <p:cNvSpPr>
              <a:spLocks/>
            </p:cNvSpPr>
            <p:nvPr/>
          </p:nvSpPr>
          <p:spPr bwMode="gray">
            <a:xfrm>
              <a:off x="1452" y="1378"/>
              <a:ext cx="79" cy="44"/>
            </a:xfrm>
            <a:custGeom>
              <a:avLst/>
              <a:gdLst>
                <a:gd name="T0" fmla="*/ 2147483647 w 61"/>
                <a:gd name="T1" fmla="*/ 2147483647 h 34"/>
                <a:gd name="T2" fmla="*/ 2147483647 w 61"/>
                <a:gd name="T3" fmla="*/ 2147483647 h 34"/>
                <a:gd name="T4" fmla="*/ 2147483647 w 61"/>
                <a:gd name="T5" fmla="*/ 0 h 34"/>
                <a:gd name="T6" fmla="*/ 2147483647 w 61"/>
                <a:gd name="T7" fmla="*/ 2147483647 h 34"/>
                <a:gd name="T8" fmla="*/ 2147483647 w 61"/>
                <a:gd name="T9" fmla="*/ 2147483647 h 34"/>
                <a:gd name="T10" fmla="*/ 2147483647 w 61"/>
                <a:gd name="T11" fmla="*/ 2147483647 h 34"/>
                <a:gd name="T12" fmla="*/ 2147483647 w 61"/>
                <a:gd name="T13" fmla="*/ 2147483647 h 34"/>
                <a:gd name="T14" fmla="*/ 2147483647 w 61"/>
                <a:gd name="T15" fmla="*/ 2147483647 h 34"/>
                <a:gd name="T16" fmla="*/ 2147483647 w 61"/>
                <a:gd name="T17" fmla="*/ 2147483647 h 34"/>
                <a:gd name="T18" fmla="*/ 2147483647 w 61"/>
                <a:gd name="T19" fmla="*/ 2147483647 h 34"/>
                <a:gd name="T20" fmla="*/ 2147483647 w 61"/>
                <a:gd name="T21" fmla="*/ 2147483647 h 34"/>
                <a:gd name="T22" fmla="*/ 2147483647 w 61"/>
                <a:gd name="T23" fmla="*/ 2147483647 h 34"/>
                <a:gd name="T24" fmla="*/ 2147483647 w 61"/>
                <a:gd name="T25" fmla="*/ 2147483647 h 34"/>
                <a:gd name="T26" fmla="*/ 2147483647 w 61"/>
                <a:gd name="T27" fmla="*/ 2147483647 h 34"/>
                <a:gd name="T28" fmla="*/ 2147483647 w 61"/>
                <a:gd name="T29" fmla="*/ 2147483647 h 34"/>
                <a:gd name="T30" fmla="*/ 2147483647 w 61"/>
                <a:gd name="T31" fmla="*/ 2147483647 h 34"/>
                <a:gd name="T32" fmla="*/ 2147483647 w 61"/>
                <a:gd name="T33" fmla="*/ 2147483647 h 34"/>
                <a:gd name="T34" fmla="*/ 2147483647 w 61"/>
                <a:gd name="T35" fmla="*/ 2147483647 h 34"/>
                <a:gd name="T36" fmla="*/ 2147483647 w 61"/>
                <a:gd name="T37" fmla="*/ 2147483647 h 34"/>
                <a:gd name="T38" fmla="*/ 2147483647 w 61"/>
                <a:gd name="T39" fmla="*/ 2147483647 h 34"/>
                <a:gd name="T40" fmla="*/ 2147483647 w 61"/>
                <a:gd name="T41" fmla="*/ 2147483647 h 34"/>
                <a:gd name="T42" fmla="*/ 2147483647 w 61"/>
                <a:gd name="T43" fmla="*/ 2147483647 h 34"/>
                <a:gd name="T44" fmla="*/ 2147483647 w 61"/>
                <a:gd name="T45" fmla="*/ 2147483647 h 34"/>
                <a:gd name="T46" fmla="*/ 2147483647 w 61"/>
                <a:gd name="T47" fmla="*/ 2147483647 h 34"/>
                <a:gd name="T48" fmla="*/ 2147483647 w 61"/>
                <a:gd name="T49" fmla="*/ 2147483647 h 34"/>
                <a:gd name="T50" fmla="*/ 2147483647 w 61"/>
                <a:gd name="T51" fmla="*/ 2147483647 h 34"/>
                <a:gd name="T52" fmla="*/ 2147483647 w 61"/>
                <a:gd name="T53" fmla="*/ 2147483647 h 34"/>
                <a:gd name="T54" fmla="*/ 2147483647 w 61"/>
                <a:gd name="T55" fmla="*/ 2147483647 h 34"/>
                <a:gd name="T56" fmla="*/ 2147483647 w 61"/>
                <a:gd name="T57" fmla="*/ 2147483647 h 34"/>
                <a:gd name="T58" fmla="*/ 2147483647 w 61"/>
                <a:gd name="T59" fmla="*/ 2147483647 h 34"/>
                <a:gd name="T60" fmla="*/ 2147483647 w 61"/>
                <a:gd name="T61" fmla="*/ 2147483647 h 34"/>
                <a:gd name="T62" fmla="*/ 2147483647 w 61"/>
                <a:gd name="T63" fmla="*/ 2147483647 h 34"/>
                <a:gd name="T64" fmla="*/ 2147483647 w 61"/>
                <a:gd name="T65" fmla="*/ 2147483647 h 34"/>
                <a:gd name="T66" fmla="*/ 0 w 61"/>
                <a:gd name="T67" fmla="*/ 2147483647 h 34"/>
                <a:gd name="T68" fmla="*/ 2147483647 w 61"/>
                <a:gd name="T69" fmla="*/ 2147483647 h 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34"/>
                <a:gd name="T107" fmla="*/ 61 w 61"/>
                <a:gd name="T108" fmla="*/ 34 h 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34">
                  <a:moveTo>
                    <a:pt x="1" y="1"/>
                  </a:moveTo>
                  <a:lnTo>
                    <a:pt x="11" y="2"/>
                  </a:lnTo>
                  <a:lnTo>
                    <a:pt x="18" y="0"/>
                  </a:lnTo>
                  <a:lnTo>
                    <a:pt x="25" y="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7" y="7"/>
                  </a:lnTo>
                  <a:lnTo>
                    <a:pt x="44" y="9"/>
                  </a:lnTo>
                  <a:lnTo>
                    <a:pt x="42" y="14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61" y="27"/>
                  </a:lnTo>
                  <a:lnTo>
                    <a:pt x="58" y="33"/>
                  </a:lnTo>
                  <a:lnTo>
                    <a:pt x="50" y="34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38" y="27"/>
                  </a:lnTo>
                  <a:lnTo>
                    <a:pt x="32" y="24"/>
                  </a:lnTo>
                  <a:lnTo>
                    <a:pt x="27" y="26"/>
                  </a:lnTo>
                  <a:lnTo>
                    <a:pt x="23" y="24"/>
                  </a:lnTo>
                  <a:lnTo>
                    <a:pt x="12" y="25"/>
                  </a:lnTo>
                  <a:lnTo>
                    <a:pt x="8" y="22"/>
                  </a:lnTo>
                  <a:lnTo>
                    <a:pt x="9" y="19"/>
                  </a:lnTo>
                  <a:lnTo>
                    <a:pt x="21" y="19"/>
                  </a:lnTo>
                  <a:lnTo>
                    <a:pt x="17" y="16"/>
                  </a:lnTo>
                  <a:lnTo>
                    <a:pt x="18" y="14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14"/>
                  </a:lnTo>
                  <a:lnTo>
                    <a:pt x="7" y="13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0" name="Freeform 62"/>
            <p:cNvSpPr>
              <a:spLocks/>
            </p:cNvSpPr>
            <p:nvPr/>
          </p:nvSpPr>
          <p:spPr bwMode="gray">
            <a:xfrm>
              <a:off x="1487" y="1451"/>
              <a:ext cx="66" cy="43"/>
            </a:xfrm>
            <a:custGeom>
              <a:avLst/>
              <a:gdLst>
                <a:gd name="T0" fmla="*/ 2147483647 w 51"/>
                <a:gd name="T1" fmla="*/ 2147483647 h 33"/>
                <a:gd name="T2" fmla="*/ 2147483647 w 51"/>
                <a:gd name="T3" fmla="*/ 2147483647 h 33"/>
                <a:gd name="T4" fmla="*/ 2147483647 w 51"/>
                <a:gd name="T5" fmla="*/ 2147483647 h 33"/>
                <a:gd name="T6" fmla="*/ 2147483647 w 51"/>
                <a:gd name="T7" fmla="*/ 2147483647 h 33"/>
                <a:gd name="T8" fmla="*/ 2147483647 w 51"/>
                <a:gd name="T9" fmla="*/ 2147483647 h 33"/>
                <a:gd name="T10" fmla="*/ 2147483647 w 51"/>
                <a:gd name="T11" fmla="*/ 2147483647 h 33"/>
                <a:gd name="T12" fmla="*/ 2147483647 w 51"/>
                <a:gd name="T13" fmla="*/ 2147483647 h 33"/>
                <a:gd name="T14" fmla="*/ 2147483647 w 51"/>
                <a:gd name="T15" fmla="*/ 2147483647 h 33"/>
                <a:gd name="T16" fmla="*/ 2147483647 w 51"/>
                <a:gd name="T17" fmla="*/ 2147483647 h 33"/>
                <a:gd name="T18" fmla="*/ 2147483647 w 51"/>
                <a:gd name="T19" fmla="*/ 2147483647 h 33"/>
                <a:gd name="T20" fmla="*/ 2147483647 w 51"/>
                <a:gd name="T21" fmla="*/ 2147483647 h 33"/>
                <a:gd name="T22" fmla="*/ 2147483647 w 51"/>
                <a:gd name="T23" fmla="*/ 2147483647 h 33"/>
                <a:gd name="T24" fmla="*/ 2147483647 w 51"/>
                <a:gd name="T25" fmla="*/ 2147483647 h 33"/>
                <a:gd name="T26" fmla="*/ 2147483647 w 51"/>
                <a:gd name="T27" fmla="*/ 2147483647 h 33"/>
                <a:gd name="T28" fmla="*/ 2147483647 w 51"/>
                <a:gd name="T29" fmla="*/ 2147483647 h 33"/>
                <a:gd name="T30" fmla="*/ 2147483647 w 51"/>
                <a:gd name="T31" fmla="*/ 2147483647 h 33"/>
                <a:gd name="T32" fmla="*/ 2147483647 w 51"/>
                <a:gd name="T33" fmla="*/ 2147483647 h 33"/>
                <a:gd name="T34" fmla="*/ 2147483647 w 51"/>
                <a:gd name="T35" fmla="*/ 0 h 33"/>
                <a:gd name="T36" fmla="*/ 2147483647 w 51"/>
                <a:gd name="T37" fmla="*/ 0 h 33"/>
                <a:gd name="T38" fmla="*/ 2147483647 w 51"/>
                <a:gd name="T39" fmla="*/ 2147483647 h 33"/>
                <a:gd name="T40" fmla="*/ 2147483647 w 51"/>
                <a:gd name="T41" fmla="*/ 2147483647 h 33"/>
                <a:gd name="T42" fmla="*/ 2147483647 w 51"/>
                <a:gd name="T43" fmla="*/ 2147483647 h 33"/>
                <a:gd name="T44" fmla="*/ 2147483647 w 51"/>
                <a:gd name="T45" fmla="*/ 2147483647 h 33"/>
                <a:gd name="T46" fmla="*/ 2147483647 w 51"/>
                <a:gd name="T47" fmla="*/ 2147483647 h 33"/>
                <a:gd name="T48" fmla="*/ 2147483647 w 51"/>
                <a:gd name="T49" fmla="*/ 2147483647 h 33"/>
                <a:gd name="T50" fmla="*/ 2147483647 w 51"/>
                <a:gd name="T51" fmla="*/ 2147483647 h 33"/>
                <a:gd name="T52" fmla="*/ 2147483647 w 51"/>
                <a:gd name="T53" fmla="*/ 2147483647 h 33"/>
                <a:gd name="T54" fmla="*/ 2147483647 w 51"/>
                <a:gd name="T55" fmla="*/ 2147483647 h 33"/>
                <a:gd name="T56" fmla="*/ 2147483647 w 51"/>
                <a:gd name="T57" fmla="*/ 2147483647 h 33"/>
                <a:gd name="T58" fmla="*/ 2147483647 w 51"/>
                <a:gd name="T59" fmla="*/ 2147483647 h 33"/>
                <a:gd name="T60" fmla="*/ 2147483647 w 51"/>
                <a:gd name="T61" fmla="*/ 2147483647 h 33"/>
                <a:gd name="T62" fmla="*/ 2147483647 w 51"/>
                <a:gd name="T63" fmla="*/ 2147483647 h 33"/>
                <a:gd name="T64" fmla="*/ 2147483647 w 51"/>
                <a:gd name="T65" fmla="*/ 2147483647 h 33"/>
                <a:gd name="T66" fmla="*/ 2147483647 w 51"/>
                <a:gd name="T67" fmla="*/ 2147483647 h 33"/>
                <a:gd name="T68" fmla="*/ 2147483647 w 51"/>
                <a:gd name="T69" fmla="*/ 2147483647 h 33"/>
                <a:gd name="T70" fmla="*/ 2147483647 w 51"/>
                <a:gd name="T71" fmla="*/ 2147483647 h 33"/>
                <a:gd name="T72" fmla="*/ 2147483647 w 51"/>
                <a:gd name="T73" fmla="*/ 2147483647 h 33"/>
                <a:gd name="T74" fmla="*/ 2147483647 w 51"/>
                <a:gd name="T75" fmla="*/ 2147483647 h 33"/>
                <a:gd name="T76" fmla="*/ 2147483647 w 51"/>
                <a:gd name="T77" fmla="*/ 2147483647 h 33"/>
                <a:gd name="T78" fmla="*/ 2147483647 w 51"/>
                <a:gd name="T79" fmla="*/ 2147483647 h 33"/>
                <a:gd name="T80" fmla="*/ 2147483647 w 51"/>
                <a:gd name="T81" fmla="*/ 2147483647 h 33"/>
                <a:gd name="T82" fmla="*/ 0 w 51"/>
                <a:gd name="T83" fmla="*/ 2147483647 h 33"/>
                <a:gd name="T84" fmla="*/ 2147483647 w 51"/>
                <a:gd name="T85" fmla="*/ 2147483647 h 33"/>
                <a:gd name="T86" fmla="*/ 2147483647 w 51"/>
                <a:gd name="T87" fmla="*/ 2147483647 h 33"/>
                <a:gd name="T88" fmla="*/ 2147483647 w 51"/>
                <a:gd name="T89" fmla="*/ 2147483647 h 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33"/>
                <a:gd name="T137" fmla="*/ 51 w 51"/>
                <a:gd name="T138" fmla="*/ 33 h 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33">
                  <a:moveTo>
                    <a:pt x="13" y="17"/>
                  </a:moveTo>
                  <a:lnTo>
                    <a:pt x="10" y="15"/>
                  </a:lnTo>
                  <a:lnTo>
                    <a:pt x="9" y="13"/>
                  </a:lnTo>
                  <a:lnTo>
                    <a:pt x="9" y="8"/>
                  </a:lnTo>
                  <a:lnTo>
                    <a:pt x="12" y="7"/>
                  </a:lnTo>
                  <a:lnTo>
                    <a:pt x="17" y="11"/>
                  </a:lnTo>
                  <a:lnTo>
                    <a:pt x="22" y="13"/>
                  </a:lnTo>
                  <a:lnTo>
                    <a:pt x="30" y="16"/>
                  </a:lnTo>
                  <a:lnTo>
                    <a:pt x="32" y="15"/>
                  </a:lnTo>
                  <a:lnTo>
                    <a:pt x="27" y="13"/>
                  </a:lnTo>
                  <a:lnTo>
                    <a:pt x="26" y="11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8"/>
                  </a:lnTo>
                  <a:lnTo>
                    <a:pt x="49" y="20"/>
                  </a:lnTo>
                  <a:lnTo>
                    <a:pt x="51" y="25"/>
                  </a:lnTo>
                  <a:lnTo>
                    <a:pt x="47" y="22"/>
                  </a:lnTo>
                  <a:lnTo>
                    <a:pt x="45" y="22"/>
                  </a:lnTo>
                  <a:lnTo>
                    <a:pt x="44" y="23"/>
                  </a:lnTo>
                  <a:lnTo>
                    <a:pt x="47" y="27"/>
                  </a:lnTo>
                  <a:lnTo>
                    <a:pt x="44" y="30"/>
                  </a:lnTo>
                  <a:lnTo>
                    <a:pt x="24" y="33"/>
                  </a:lnTo>
                  <a:lnTo>
                    <a:pt x="23" y="27"/>
                  </a:lnTo>
                  <a:lnTo>
                    <a:pt x="19" y="26"/>
                  </a:lnTo>
                  <a:lnTo>
                    <a:pt x="21" y="24"/>
                  </a:lnTo>
                  <a:lnTo>
                    <a:pt x="25" y="23"/>
                  </a:lnTo>
                  <a:lnTo>
                    <a:pt x="31" y="22"/>
                  </a:lnTo>
                  <a:lnTo>
                    <a:pt x="28" y="19"/>
                  </a:lnTo>
                  <a:lnTo>
                    <a:pt x="25" y="20"/>
                  </a:lnTo>
                  <a:lnTo>
                    <a:pt x="22" y="21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2" y="22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11" y="19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1" name="Freeform 63"/>
            <p:cNvSpPr>
              <a:spLocks/>
            </p:cNvSpPr>
            <p:nvPr/>
          </p:nvSpPr>
          <p:spPr bwMode="gray">
            <a:xfrm>
              <a:off x="1565" y="1478"/>
              <a:ext cx="35" cy="25"/>
            </a:xfrm>
            <a:custGeom>
              <a:avLst/>
              <a:gdLst>
                <a:gd name="T0" fmla="*/ 2147483647 w 27"/>
                <a:gd name="T1" fmla="*/ 2147483647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2147483647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2147483647 h 19"/>
                <a:gd name="T14" fmla="*/ 2147483647 w 27"/>
                <a:gd name="T15" fmla="*/ 2147483647 h 19"/>
                <a:gd name="T16" fmla="*/ 2147483647 w 27"/>
                <a:gd name="T17" fmla="*/ 2147483647 h 19"/>
                <a:gd name="T18" fmla="*/ 2147483647 w 27"/>
                <a:gd name="T19" fmla="*/ 2147483647 h 19"/>
                <a:gd name="T20" fmla="*/ 0 w 27"/>
                <a:gd name="T21" fmla="*/ 2147483647 h 19"/>
                <a:gd name="T22" fmla="*/ 2147483647 w 27"/>
                <a:gd name="T23" fmla="*/ 2147483647 h 19"/>
                <a:gd name="T24" fmla="*/ 2147483647 w 27"/>
                <a:gd name="T25" fmla="*/ 2147483647 h 19"/>
                <a:gd name="T26" fmla="*/ 2147483647 w 27"/>
                <a:gd name="T27" fmla="*/ 2147483647 h 19"/>
                <a:gd name="T28" fmla="*/ 2147483647 w 27"/>
                <a:gd name="T29" fmla="*/ 0 h 19"/>
                <a:gd name="T30" fmla="*/ 2147483647 w 27"/>
                <a:gd name="T31" fmla="*/ 2147483647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"/>
                <a:gd name="T49" fmla="*/ 0 h 19"/>
                <a:gd name="T50" fmla="*/ 27 w 27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" h="19">
                  <a:moveTo>
                    <a:pt x="20" y="1"/>
                  </a:moveTo>
                  <a:lnTo>
                    <a:pt x="22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7" y="10"/>
                  </a:lnTo>
                  <a:lnTo>
                    <a:pt x="27" y="15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1" y="16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3"/>
                  </a:lnTo>
                  <a:lnTo>
                    <a:pt x="10" y="1"/>
                  </a:lnTo>
                  <a:lnTo>
                    <a:pt x="14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2" name="Freeform 64"/>
            <p:cNvSpPr>
              <a:spLocks/>
            </p:cNvSpPr>
            <p:nvPr/>
          </p:nvSpPr>
          <p:spPr bwMode="gray">
            <a:xfrm>
              <a:off x="1544" y="1392"/>
              <a:ext cx="42" cy="31"/>
            </a:xfrm>
            <a:custGeom>
              <a:avLst/>
              <a:gdLst>
                <a:gd name="T0" fmla="*/ 2147483647 w 32"/>
                <a:gd name="T1" fmla="*/ 2147483647 h 24"/>
                <a:gd name="T2" fmla="*/ 2147483647 w 32"/>
                <a:gd name="T3" fmla="*/ 2147483647 h 24"/>
                <a:gd name="T4" fmla="*/ 2147483647 w 32"/>
                <a:gd name="T5" fmla="*/ 2147483647 h 24"/>
                <a:gd name="T6" fmla="*/ 2147483647 w 32"/>
                <a:gd name="T7" fmla="*/ 2147483647 h 24"/>
                <a:gd name="T8" fmla="*/ 2147483647 w 32"/>
                <a:gd name="T9" fmla="*/ 2147483647 h 24"/>
                <a:gd name="T10" fmla="*/ 2147483647 w 32"/>
                <a:gd name="T11" fmla="*/ 2147483647 h 24"/>
                <a:gd name="T12" fmla="*/ 2147483647 w 32"/>
                <a:gd name="T13" fmla="*/ 2147483647 h 24"/>
                <a:gd name="T14" fmla="*/ 2147483647 w 32"/>
                <a:gd name="T15" fmla="*/ 2147483647 h 24"/>
                <a:gd name="T16" fmla="*/ 2147483647 w 32"/>
                <a:gd name="T17" fmla="*/ 2147483647 h 24"/>
                <a:gd name="T18" fmla="*/ 2147483647 w 32"/>
                <a:gd name="T19" fmla="*/ 2147483647 h 24"/>
                <a:gd name="T20" fmla="*/ 2147483647 w 32"/>
                <a:gd name="T21" fmla="*/ 2147483647 h 24"/>
                <a:gd name="T22" fmla="*/ 2147483647 w 32"/>
                <a:gd name="T23" fmla="*/ 2147483647 h 24"/>
                <a:gd name="T24" fmla="*/ 2147483647 w 32"/>
                <a:gd name="T25" fmla="*/ 2147483647 h 24"/>
                <a:gd name="T26" fmla="*/ 2147483647 w 32"/>
                <a:gd name="T27" fmla="*/ 2147483647 h 24"/>
                <a:gd name="T28" fmla="*/ 2147483647 w 32"/>
                <a:gd name="T29" fmla="*/ 2147483647 h 24"/>
                <a:gd name="T30" fmla="*/ 2147483647 w 32"/>
                <a:gd name="T31" fmla="*/ 2147483647 h 24"/>
                <a:gd name="T32" fmla="*/ 2147483647 w 32"/>
                <a:gd name="T33" fmla="*/ 2147483647 h 24"/>
                <a:gd name="T34" fmla="*/ 2147483647 w 32"/>
                <a:gd name="T35" fmla="*/ 2147483647 h 24"/>
                <a:gd name="T36" fmla="*/ 2147483647 w 32"/>
                <a:gd name="T37" fmla="*/ 2147483647 h 24"/>
                <a:gd name="T38" fmla="*/ 2147483647 w 32"/>
                <a:gd name="T39" fmla="*/ 2147483647 h 24"/>
                <a:gd name="T40" fmla="*/ 2147483647 w 32"/>
                <a:gd name="T41" fmla="*/ 2147483647 h 24"/>
                <a:gd name="T42" fmla="*/ 2147483647 w 32"/>
                <a:gd name="T43" fmla="*/ 2147483647 h 24"/>
                <a:gd name="T44" fmla="*/ 0 w 32"/>
                <a:gd name="T45" fmla="*/ 2147483647 h 24"/>
                <a:gd name="T46" fmla="*/ 2147483647 w 32"/>
                <a:gd name="T47" fmla="*/ 0 h 24"/>
                <a:gd name="T48" fmla="*/ 2147483647 w 32"/>
                <a:gd name="T49" fmla="*/ 2147483647 h 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24"/>
                <a:gd name="T77" fmla="*/ 32 w 32"/>
                <a:gd name="T78" fmla="*/ 24 h 2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24">
                  <a:moveTo>
                    <a:pt x="14" y="1"/>
                  </a:moveTo>
                  <a:lnTo>
                    <a:pt x="16" y="5"/>
                  </a:lnTo>
                  <a:lnTo>
                    <a:pt x="29" y="9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32" y="18"/>
                  </a:lnTo>
                  <a:lnTo>
                    <a:pt x="29" y="20"/>
                  </a:lnTo>
                  <a:lnTo>
                    <a:pt x="24" y="21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0" y="21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9" y="14"/>
                  </a:lnTo>
                  <a:lnTo>
                    <a:pt x="4" y="14"/>
                  </a:lnTo>
                  <a:lnTo>
                    <a:pt x="1" y="7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lnTo>
                    <a:pt x="1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3" name="Freeform 65"/>
            <p:cNvSpPr>
              <a:spLocks/>
            </p:cNvSpPr>
            <p:nvPr/>
          </p:nvSpPr>
          <p:spPr bwMode="gray">
            <a:xfrm>
              <a:off x="1577" y="1332"/>
              <a:ext cx="10" cy="3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2147483647 h 2"/>
                <a:gd name="T6" fmla="*/ 0 w 8"/>
                <a:gd name="T7" fmla="*/ 2147483647 h 2"/>
                <a:gd name="T8" fmla="*/ 0 w 8"/>
                <a:gd name="T9" fmla="*/ 0 h 2"/>
                <a:gd name="T10" fmla="*/ 2147483647 w 8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2"/>
                <a:gd name="T20" fmla="*/ 8 w 8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2">
                  <a:moveTo>
                    <a:pt x="5" y="1"/>
                  </a:moveTo>
                  <a:lnTo>
                    <a:pt x="8" y="1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4" name="Freeform 66"/>
            <p:cNvSpPr>
              <a:spLocks/>
            </p:cNvSpPr>
            <p:nvPr/>
          </p:nvSpPr>
          <p:spPr bwMode="gray">
            <a:xfrm>
              <a:off x="1526" y="1356"/>
              <a:ext cx="16" cy="13"/>
            </a:xfrm>
            <a:custGeom>
              <a:avLst/>
              <a:gdLst>
                <a:gd name="T0" fmla="*/ 2147483647 w 12"/>
                <a:gd name="T1" fmla="*/ 0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0 w 12"/>
                <a:gd name="T9" fmla="*/ 2147483647 h 10"/>
                <a:gd name="T10" fmla="*/ 2147483647 w 12"/>
                <a:gd name="T11" fmla="*/ 0 h 10"/>
                <a:gd name="T12" fmla="*/ 2147483647 w 12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0"/>
                <a:gd name="T23" fmla="*/ 12 w 12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0">
                  <a:moveTo>
                    <a:pt x="12" y="0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5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5" name="Freeform 67"/>
            <p:cNvSpPr>
              <a:spLocks/>
            </p:cNvSpPr>
            <p:nvPr/>
          </p:nvSpPr>
          <p:spPr bwMode="gray">
            <a:xfrm>
              <a:off x="1420" y="1654"/>
              <a:ext cx="33" cy="12"/>
            </a:xfrm>
            <a:custGeom>
              <a:avLst/>
              <a:gdLst>
                <a:gd name="T0" fmla="*/ 2147483647 w 25"/>
                <a:gd name="T1" fmla="*/ 0 h 9"/>
                <a:gd name="T2" fmla="*/ 2147483647 w 25"/>
                <a:gd name="T3" fmla="*/ 2147483647 h 9"/>
                <a:gd name="T4" fmla="*/ 2147483647 w 25"/>
                <a:gd name="T5" fmla="*/ 2147483647 h 9"/>
                <a:gd name="T6" fmla="*/ 2147483647 w 25"/>
                <a:gd name="T7" fmla="*/ 2147483647 h 9"/>
                <a:gd name="T8" fmla="*/ 2147483647 w 25"/>
                <a:gd name="T9" fmla="*/ 2147483647 h 9"/>
                <a:gd name="T10" fmla="*/ 2147483647 w 25"/>
                <a:gd name="T11" fmla="*/ 2147483647 h 9"/>
                <a:gd name="T12" fmla="*/ 0 w 25"/>
                <a:gd name="T13" fmla="*/ 2147483647 h 9"/>
                <a:gd name="T14" fmla="*/ 2147483647 w 25"/>
                <a:gd name="T15" fmla="*/ 2147483647 h 9"/>
                <a:gd name="T16" fmla="*/ 2147483647 w 25"/>
                <a:gd name="T17" fmla="*/ 2147483647 h 9"/>
                <a:gd name="T18" fmla="*/ 2147483647 w 25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9"/>
                <a:gd name="T32" fmla="*/ 25 w 2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9">
                  <a:moveTo>
                    <a:pt x="22" y="0"/>
                  </a:moveTo>
                  <a:lnTo>
                    <a:pt x="25" y="1"/>
                  </a:lnTo>
                  <a:lnTo>
                    <a:pt x="25" y="3"/>
                  </a:lnTo>
                  <a:lnTo>
                    <a:pt x="20" y="4"/>
                  </a:lnTo>
                  <a:lnTo>
                    <a:pt x="16" y="8"/>
                  </a:lnTo>
                  <a:lnTo>
                    <a:pt x="6" y="9"/>
                  </a:lnTo>
                  <a:lnTo>
                    <a:pt x="0" y="6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6" name="Freeform 68"/>
            <p:cNvSpPr>
              <a:spLocks/>
            </p:cNvSpPr>
            <p:nvPr/>
          </p:nvSpPr>
          <p:spPr bwMode="gray">
            <a:xfrm>
              <a:off x="1527" y="1632"/>
              <a:ext cx="51" cy="27"/>
            </a:xfrm>
            <a:custGeom>
              <a:avLst/>
              <a:gdLst>
                <a:gd name="T0" fmla="*/ 2147483647 w 39"/>
                <a:gd name="T1" fmla="*/ 2147483647 h 21"/>
                <a:gd name="T2" fmla="*/ 2147483647 w 39"/>
                <a:gd name="T3" fmla="*/ 0 h 21"/>
                <a:gd name="T4" fmla="*/ 2147483647 w 39"/>
                <a:gd name="T5" fmla="*/ 2147483647 h 21"/>
                <a:gd name="T6" fmla="*/ 2147483647 w 39"/>
                <a:gd name="T7" fmla="*/ 2147483647 h 21"/>
                <a:gd name="T8" fmla="*/ 2147483647 w 39"/>
                <a:gd name="T9" fmla="*/ 2147483647 h 21"/>
                <a:gd name="T10" fmla="*/ 2147483647 w 39"/>
                <a:gd name="T11" fmla="*/ 2147483647 h 21"/>
                <a:gd name="T12" fmla="*/ 2147483647 w 39"/>
                <a:gd name="T13" fmla="*/ 2147483647 h 21"/>
                <a:gd name="T14" fmla="*/ 2147483647 w 39"/>
                <a:gd name="T15" fmla="*/ 2147483647 h 21"/>
                <a:gd name="T16" fmla="*/ 2147483647 w 39"/>
                <a:gd name="T17" fmla="*/ 2147483647 h 21"/>
                <a:gd name="T18" fmla="*/ 2147483647 w 39"/>
                <a:gd name="T19" fmla="*/ 2147483647 h 21"/>
                <a:gd name="T20" fmla="*/ 2147483647 w 39"/>
                <a:gd name="T21" fmla="*/ 2147483647 h 21"/>
                <a:gd name="T22" fmla="*/ 2147483647 w 39"/>
                <a:gd name="T23" fmla="*/ 2147483647 h 21"/>
                <a:gd name="T24" fmla="*/ 2147483647 w 39"/>
                <a:gd name="T25" fmla="*/ 2147483647 h 21"/>
                <a:gd name="T26" fmla="*/ 2147483647 w 39"/>
                <a:gd name="T27" fmla="*/ 2147483647 h 21"/>
                <a:gd name="T28" fmla="*/ 0 w 39"/>
                <a:gd name="T29" fmla="*/ 2147483647 h 21"/>
                <a:gd name="T30" fmla="*/ 2147483647 w 39"/>
                <a:gd name="T31" fmla="*/ 2147483647 h 21"/>
                <a:gd name="T32" fmla="*/ 2147483647 w 39"/>
                <a:gd name="T33" fmla="*/ 2147483647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21"/>
                <a:gd name="T53" fmla="*/ 39 w 39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21">
                  <a:moveTo>
                    <a:pt x="12" y="3"/>
                  </a:moveTo>
                  <a:lnTo>
                    <a:pt x="16" y="0"/>
                  </a:lnTo>
                  <a:lnTo>
                    <a:pt x="19" y="1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9" y="16"/>
                  </a:lnTo>
                  <a:lnTo>
                    <a:pt x="35" y="18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18" y="18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11" y="8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7" name="Freeform 69"/>
            <p:cNvSpPr>
              <a:spLocks/>
            </p:cNvSpPr>
            <p:nvPr/>
          </p:nvSpPr>
          <p:spPr bwMode="gray">
            <a:xfrm>
              <a:off x="1514" y="1650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4" y="3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8" name="Freeform 70"/>
            <p:cNvSpPr>
              <a:spLocks/>
            </p:cNvSpPr>
            <p:nvPr/>
          </p:nvSpPr>
          <p:spPr bwMode="gray">
            <a:xfrm>
              <a:off x="1496" y="1654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0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w 6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79" name="Freeform 71"/>
            <p:cNvSpPr>
              <a:spLocks/>
            </p:cNvSpPr>
            <p:nvPr/>
          </p:nvSpPr>
          <p:spPr bwMode="gray">
            <a:xfrm>
              <a:off x="1462" y="1659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0" name="Freeform 72"/>
            <p:cNvSpPr>
              <a:spLocks/>
            </p:cNvSpPr>
            <p:nvPr/>
          </p:nvSpPr>
          <p:spPr bwMode="gray">
            <a:xfrm>
              <a:off x="1534" y="1522"/>
              <a:ext cx="17" cy="8"/>
            </a:xfrm>
            <a:custGeom>
              <a:avLst/>
              <a:gdLst>
                <a:gd name="T0" fmla="*/ 0 w 13"/>
                <a:gd name="T1" fmla="*/ 2147483647 h 6"/>
                <a:gd name="T2" fmla="*/ 0 w 13"/>
                <a:gd name="T3" fmla="*/ 2147483647 h 6"/>
                <a:gd name="T4" fmla="*/ 2147483647 w 13"/>
                <a:gd name="T5" fmla="*/ 0 h 6"/>
                <a:gd name="T6" fmla="*/ 2147483647 w 13"/>
                <a:gd name="T7" fmla="*/ 0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0 w 1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0" y="5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0" y="4"/>
                  </a:lnTo>
                  <a:lnTo>
                    <a:pt x="6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1" name="Freeform 73"/>
            <p:cNvSpPr>
              <a:spLocks/>
            </p:cNvSpPr>
            <p:nvPr/>
          </p:nvSpPr>
          <p:spPr bwMode="gray">
            <a:xfrm>
              <a:off x="1559" y="1549"/>
              <a:ext cx="7" cy="6"/>
            </a:xfrm>
            <a:custGeom>
              <a:avLst/>
              <a:gdLst>
                <a:gd name="T0" fmla="*/ 2147483647 w 6"/>
                <a:gd name="T1" fmla="*/ 2147483647 h 5"/>
                <a:gd name="T2" fmla="*/ 0 w 6"/>
                <a:gd name="T3" fmla="*/ 2147483647 h 5"/>
                <a:gd name="T4" fmla="*/ 0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5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2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2" name="Freeform 74"/>
            <p:cNvSpPr>
              <a:spLocks/>
            </p:cNvSpPr>
            <p:nvPr/>
          </p:nvSpPr>
          <p:spPr bwMode="gray">
            <a:xfrm>
              <a:off x="1574" y="1506"/>
              <a:ext cx="5" cy="3"/>
            </a:xfrm>
            <a:custGeom>
              <a:avLst/>
              <a:gdLst>
                <a:gd name="T0" fmla="*/ 2147483647 w 4"/>
                <a:gd name="T1" fmla="*/ 2147483646 h 3"/>
                <a:gd name="T2" fmla="*/ 0 w 4"/>
                <a:gd name="T3" fmla="*/ 2147483646 h 3"/>
                <a:gd name="T4" fmla="*/ 2147483647 w 4"/>
                <a:gd name="T5" fmla="*/ 0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3" name="Freeform 75"/>
            <p:cNvSpPr>
              <a:spLocks/>
            </p:cNvSpPr>
            <p:nvPr/>
          </p:nvSpPr>
          <p:spPr bwMode="gray">
            <a:xfrm>
              <a:off x="1489" y="1419"/>
              <a:ext cx="17" cy="6"/>
            </a:xfrm>
            <a:custGeom>
              <a:avLst/>
              <a:gdLst>
                <a:gd name="T0" fmla="*/ 0 w 13"/>
                <a:gd name="T1" fmla="*/ 2147483647 h 4"/>
                <a:gd name="T2" fmla="*/ 2147483647 w 13"/>
                <a:gd name="T3" fmla="*/ 0 h 4"/>
                <a:gd name="T4" fmla="*/ 2147483647 w 13"/>
                <a:gd name="T5" fmla="*/ 0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0 w 1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4"/>
                <a:gd name="T20" fmla="*/ 13 w 1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4">
                  <a:moveTo>
                    <a:pt x="0" y="1"/>
                  </a:moveTo>
                  <a:lnTo>
                    <a:pt x="5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5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4" name="Freeform 76"/>
            <p:cNvSpPr>
              <a:spLocks/>
            </p:cNvSpPr>
            <p:nvPr/>
          </p:nvSpPr>
          <p:spPr bwMode="gray">
            <a:xfrm>
              <a:off x="1478" y="1412"/>
              <a:ext cx="6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2147483647 w 5"/>
                <a:gd name="T9" fmla="*/ 2147483646 h 2"/>
                <a:gd name="T10" fmla="*/ 0 w 5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5" name="Freeform 77"/>
            <p:cNvSpPr>
              <a:spLocks/>
            </p:cNvSpPr>
            <p:nvPr/>
          </p:nvSpPr>
          <p:spPr bwMode="gray">
            <a:xfrm>
              <a:off x="1449" y="1425"/>
              <a:ext cx="21" cy="17"/>
            </a:xfrm>
            <a:custGeom>
              <a:avLst/>
              <a:gdLst>
                <a:gd name="T0" fmla="*/ 0 w 16"/>
                <a:gd name="T1" fmla="*/ 0 h 13"/>
                <a:gd name="T2" fmla="*/ 2147483647 w 16"/>
                <a:gd name="T3" fmla="*/ 0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2147483647 w 16"/>
                <a:gd name="T9" fmla="*/ 2147483647 h 13"/>
                <a:gd name="T10" fmla="*/ 2147483647 w 16"/>
                <a:gd name="T11" fmla="*/ 2147483647 h 13"/>
                <a:gd name="T12" fmla="*/ 0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0" y="0"/>
                  </a:moveTo>
                  <a:lnTo>
                    <a:pt x="5" y="0"/>
                  </a:lnTo>
                  <a:lnTo>
                    <a:pt x="15" y="7"/>
                  </a:lnTo>
                  <a:lnTo>
                    <a:pt x="16" y="13"/>
                  </a:lnTo>
                  <a:lnTo>
                    <a:pt x="8" y="13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6" name="Freeform 78"/>
            <p:cNvSpPr>
              <a:spLocks/>
            </p:cNvSpPr>
            <p:nvPr/>
          </p:nvSpPr>
          <p:spPr bwMode="gray">
            <a:xfrm>
              <a:off x="1459" y="1483"/>
              <a:ext cx="17" cy="9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2147483647 w 13"/>
                <a:gd name="T5" fmla="*/ 2147483647 h 7"/>
                <a:gd name="T6" fmla="*/ 2147483647 w 13"/>
                <a:gd name="T7" fmla="*/ 2147483647 h 7"/>
                <a:gd name="T8" fmla="*/ 0 w 13"/>
                <a:gd name="T9" fmla="*/ 2147483647 h 7"/>
                <a:gd name="T10" fmla="*/ 2147483647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7" y="0"/>
                  </a:moveTo>
                  <a:lnTo>
                    <a:pt x="13" y="2"/>
                  </a:lnTo>
                  <a:lnTo>
                    <a:pt x="9" y="6"/>
                  </a:lnTo>
                  <a:lnTo>
                    <a:pt x="4" y="7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7" name="Freeform 79"/>
            <p:cNvSpPr>
              <a:spLocks/>
            </p:cNvSpPr>
            <p:nvPr/>
          </p:nvSpPr>
          <p:spPr bwMode="gray">
            <a:xfrm>
              <a:off x="1471" y="1464"/>
              <a:ext cx="21" cy="4"/>
            </a:xfrm>
            <a:custGeom>
              <a:avLst/>
              <a:gdLst>
                <a:gd name="T0" fmla="*/ 0 w 16"/>
                <a:gd name="T1" fmla="*/ 2147483647 h 3"/>
                <a:gd name="T2" fmla="*/ 2147483647 w 16"/>
                <a:gd name="T3" fmla="*/ 0 h 3"/>
                <a:gd name="T4" fmla="*/ 2147483647 w 16"/>
                <a:gd name="T5" fmla="*/ 2147483647 h 3"/>
                <a:gd name="T6" fmla="*/ 2147483647 w 16"/>
                <a:gd name="T7" fmla="*/ 2147483647 h 3"/>
                <a:gd name="T8" fmla="*/ 2147483647 w 16"/>
                <a:gd name="T9" fmla="*/ 2147483647 h 3"/>
                <a:gd name="T10" fmla="*/ 0 w 1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"/>
                <a:gd name="T20" fmla="*/ 16 w 1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">
                  <a:moveTo>
                    <a:pt x="0" y="1"/>
                  </a:moveTo>
                  <a:lnTo>
                    <a:pt x="11" y="0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8" name="Freeform 80"/>
            <p:cNvSpPr>
              <a:spLocks/>
            </p:cNvSpPr>
            <p:nvPr/>
          </p:nvSpPr>
          <p:spPr bwMode="gray">
            <a:xfrm>
              <a:off x="1475" y="1468"/>
              <a:ext cx="18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0 h 4"/>
                <a:gd name="T4" fmla="*/ 2147483647 w 14"/>
                <a:gd name="T5" fmla="*/ 2147483647 h 4"/>
                <a:gd name="T6" fmla="*/ 2147483647 w 14"/>
                <a:gd name="T7" fmla="*/ 2147483647 h 4"/>
                <a:gd name="T8" fmla="*/ 0 w 1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4"/>
                <a:gd name="T17" fmla="*/ 14 w 1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4">
                  <a:moveTo>
                    <a:pt x="0" y="2"/>
                  </a:moveTo>
                  <a:lnTo>
                    <a:pt x="14" y="0"/>
                  </a:lnTo>
                  <a:lnTo>
                    <a:pt x="14" y="1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89" name="Freeform 81"/>
            <p:cNvSpPr>
              <a:spLocks/>
            </p:cNvSpPr>
            <p:nvPr/>
          </p:nvSpPr>
          <p:spPr bwMode="gray">
            <a:xfrm>
              <a:off x="1482" y="1472"/>
              <a:ext cx="11" cy="4"/>
            </a:xfrm>
            <a:custGeom>
              <a:avLst/>
              <a:gdLst>
                <a:gd name="T0" fmla="*/ 0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2147483647 w 9"/>
                <a:gd name="T7" fmla="*/ 2147483647 h 3"/>
                <a:gd name="T8" fmla="*/ 2147483647 w 9"/>
                <a:gd name="T9" fmla="*/ 2147483647 h 3"/>
                <a:gd name="T10" fmla="*/ 0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0" y="1"/>
                  </a:moveTo>
                  <a:lnTo>
                    <a:pt x="5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0" name="Freeform 82"/>
            <p:cNvSpPr>
              <a:spLocks/>
            </p:cNvSpPr>
            <p:nvPr/>
          </p:nvSpPr>
          <p:spPr bwMode="gray">
            <a:xfrm>
              <a:off x="1587" y="1410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1" name="Freeform 83"/>
            <p:cNvSpPr>
              <a:spLocks/>
            </p:cNvSpPr>
            <p:nvPr/>
          </p:nvSpPr>
          <p:spPr bwMode="gray">
            <a:xfrm>
              <a:off x="1557" y="1476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0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2147483647 w 9"/>
                <a:gd name="T13" fmla="*/ 2147483647 h 4"/>
                <a:gd name="T14" fmla="*/ 0 w 9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4"/>
                <a:gd name="T26" fmla="*/ 9 w 9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4">
                  <a:moveTo>
                    <a:pt x="0" y="4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2" name="Freeform 84"/>
            <p:cNvSpPr>
              <a:spLocks/>
            </p:cNvSpPr>
            <p:nvPr/>
          </p:nvSpPr>
          <p:spPr bwMode="gray">
            <a:xfrm>
              <a:off x="1585" y="1472"/>
              <a:ext cx="6" cy="4"/>
            </a:xfrm>
            <a:custGeom>
              <a:avLst/>
              <a:gdLst>
                <a:gd name="T0" fmla="*/ 0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3" name="Freeform 85"/>
            <p:cNvSpPr>
              <a:spLocks/>
            </p:cNvSpPr>
            <p:nvPr/>
          </p:nvSpPr>
          <p:spPr bwMode="gray">
            <a:xfrm>
              <a:off x="1579" y="1466"/>
              <a:ext cx="6" cy="2"/>
            </a:xfrm>
            <a:custGeom>
              <a:avLst/>
              <a:gdLst>
                <a:gd name="T0" fmla="*/ 0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0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4" name="Freeform 86"/>
            <p:cNvSpPr>
              <a:spLocks/>
            </p:cNvSpPr>
            <p:nvPr/>
          </p:nvSpPr>
          <p:spPr bwMode="gray">
            <a:xfrm>
              <a:off x="1521" y="1449"/>
              <a:ext cx="6" cy="2"/>
            </a:xfrm>
            <a:custGeom>
              <a:avLst/>
              <a:gdLst>
                <a:gd name="T0" fmla="*/ 0 w 5"/>
                <a:gd name="T1" fmla="*/ 2147483647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2147483647 h 1"/>
                <a:gd name="T8" fmla="*/ 0 w 5"/>
                <a:gd name="T9" fmla="*/ 214748364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5" name="Freeform 87"/>
            <p:cNvSpPr>
              <a:spLocks/>
            </p:cNvSpPr>
            <p:nvPr/>
          </p:nvSpPr>
          <p:spPr bwMode="gray">
            <a:xfrm>
              <a:off x="1502" y="1451"/>
              <a:ext cx="13" cy="5"/>
            </a:xfrm>
            <a:custGeom>
              <a:avLst/>
              <a:gdLst>
                <a:gd name="T0" fmla="*/ 2147483647 w 10"/>
                <a:gd name="T1" fmla="*/ 2147483647 h 4"/>
                <a:gd name="T2" fmla="*/ 2147483647 w 10"/>
                <a:gd name="T3" fmla="*/ 2147483647 h 4"/>
                <a:gd name="T4" fmla="*/ 0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0 h 4"/>
                <a:gd name="T10" fmla="*/ 2147483647 w 10"/>
                <a:gd name="T11" fmla="*/ 0 h 4"/>
                <a:gd name="T12" fmla="*/ 2147483647 w 10"/>
                <a:gd name="T13" fmla="*/ 2147483647 h 4"/>
                <a:gd name="T14" fmla="*/ 2147483647 w 10"/>
                <a:gd name="T15" fmla="*/ 2147483647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3" y="4"/>
                  </a:moveTo>
                  <a:lnTo>
                    <a:pt x="2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10" y="0"/>
                  </a:lnTo>
                  <a:lnTo>
                    <a:pt x="4" y="3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6" name="Freeform 88"/>
            <p:cNvSpPr>
              <a:spLocks/>
            </p:cNvSpPr>
            <p:nvPr/>
          </p:nvSpPr>
          <p:spPr bwMode="gray">
            <a:xfrm>
              <a:off x="1470" y="1455"/>
              <a:ext cx="14" cy="6"/>
            </a:xfrm>
            <a:custGeom>
              <a:avLst/>
              <a:gdLst>
                <a:gd name="T0" fmla="*/ 2147483647 w 11"/>
                <a:gd name="T1" fmla="*/ 2147483647 h 5"/>
                <a:gd name="T2" fmla="*/ 0 w 11"/>
                <a:gd name="T3" fmla="*/ 2147483647 h 5"/>
                <a:gd name="T4" fmla="*/ 0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2147483647 w 11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5"/>
                <a:gd name="T23" fmla="*/ 11 w 11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5">
                  <a:moveTo>
                    <a:pt x="2" y="5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7" name="Freeform 89"/>
            <p:cNvSpPr>
              <a:spLocks/>
            </p:cNvSpPr>
            <p:nvPr/>
          </p:nvSpPr>
          <p:spPr bwMode="gray">
            <a:xfrm>
              <a:off x="1295" y="1542"/>
              <a:ext cx="217" cy="119"/>
            </a:xfrm>
            <a:custGeom>
              <a:avLst/>
              <a:gdLst>
                <a:gd name="T0" fmla="*/ 2147483647 w 166"/>
                <a:gd name="T1" fmla="*/ 2147483647 h 91"/>
                <a:gd name="T2" fmla="*/ 2147483647 w 166"/>
                <a:gd name="T3" fmla="*/ 2147483647 h 91"/>
                <a:gd name="T4" fmla="*/ 2147483647 w 166"/>
                <a:gd name="T5" fmla="*/ 2147483647 h 91"/>
                <a:gd name="T6" fmla="*/ 2147483647 w 166"/>
                <a:gd name="T7" fmla="*/ 2147483647 h 91"/>
                <a:gd name="T8" fmla="*/ 2147483647 w 166"/>
                <a:gd name="T9" fmla="*/ 2147483647 h 91"/>
                <a:gd name="T10" fmla="*/ 2147483647 w 166"/>
                <a:gd name="T11" fmla="*/ 2147483647 h 91"/>
                <a:gd name="T12" fmla="*/ 2147483647 w 166"/>
                <a:gd name="T13" fmla="*/ 2147483647 h 91"/>
                <a:gd name="T14" fmla="*/ 2147483647 w 166"/>
                <a:gd name="T15" fmla="*/ 2147483647 h 91"/>
                <a:gd name="T16" fmla="*/ 2147483647 w 166"/>
                <a:gd name="T17" fmla="*/ 2147483647 h 91"/>
                <a:gd name="T18" fmla="*/ 2147483647 w 166"/>
                <a:gd name="T19" fmla="*/ 2147483647 h 91"/>
                <a:gd name="T20" fmla="*/ 2147483647 w 166"/>
                <a:gd name="T21" fmla="*/ 2147483647 h 91"/>
                <a:gd name="T22" fmla="*/ 2147483647 w 166"/>
                <a:gd name="T23" fmla="*/ 2147483647 h 91"/>
                <a:gd name="T24" fmla="*/ 2147483647 w 166"/>
                <a:gd name="T25" fmla="*/ 2147483647 h 91"/>
                <a:gd name="T26" fmla="*/ 2147483647 w 166"/>
                <a:gd name="T27" fmla="*/ 2147483647 h 91"/>
                <a:gd name="T28" fmla="*/ 2147483647 w 166"/>
                <a:gd name="T29" fmla="*/ 2147483647 h 91"/>
                <a:gd name="T30" fmla="*/ 2147483647 w 166"/>
                <a:gd name="T31" fmla="*/ 2147483647 h 91"/>
                <a:gd name="T32" fmla="*/ 2147483647 w 166"/>
                <a:gd name="T33" fmla="*/ 2147483647 h 91"/>
                <a:gd name="T34" fmla="*/ 2147483647 w 166"/>
                <a:gd name="T35" fmla="*/ 2147483647 h 91"/>
                <a:gd name="T36" fmla="*/ 2147483647 w 166"/>
                <a:gd name="T37" fmla="*/ 2147483647 h 91"/>
                <a:gd name="T38" fmla="*/ 2147483647 w 166"/>
                <a:gd name="T39" fmla="*/ 2147483647 h 91"/>
                <a:gd name="T40" fmla="*/ 2147483647 w 166"/>
                <a:gd name="T41" fmla="*/ 2147483647 h 91"/>
                <a:gd name="T42" fmla="*/ 2147483647 w 166"/>
                <a:gd name="T43" fmla="*/ 2147483647 h 91"/>
                <a:gd name="T44" fmla="*/ 2147483647 w 166"/>
                <a:gd name="T45" fmla="*/ 2147483647 h 91"/>
                <a:gd name="T46" fmla="*/ 2147483647 w 166"/>
                <a:gd name="T47" fmla="*/ 2147483647 h 91"/>
                <a:gd name="T48" fmla="*/ 2147483647 w 166"/>
                <a:gd name="T49" fmla="*/ 2147483647 h 91"/>
                <a:gd name="T50" fmla="*/ 2147483647 w 166"/>
                <a:gd name="T51" fmla="*/ 2147483647 h 91"/>
                <a:gd name="T52" fmla="*/ 2147483647 w 166"/>
                <a:gd name="T53" fmla="*/ 2147483647 h 91"/>
                <a:gd name="T54" fmla="*/ 2147483647 w 166"/>
                <a:gd name="T55" fmla="*/ 2147483647 h 91"/>
                <a:gd name="T56" fmla="*/ 2147483647 w 166"/>
                <a:gd name="T57" fmla="*/ 2147483647 h 91"/>
                <a:gd name="T58" fmla="*/ 2147483647 w 166"/>
                <a:gd name="T59" fmla="*/ 2147483647 h 91"/>
                <a:gd name="T60" fmla="*/ 2147483647 w 166"/>
                <a:gd name="T61" fmla="*/ 2147483647 h 91"/>
                <a:gd name="T62" fmla="*/ 2147483647 w 166"/>
                <a:gd name="T63" fmla="*/ 2147483647 h 91"/>
                <a:gd name="T64" fmla="*/ 2147483647 w 166"/>
                <a:gd name="T65" fmla="*/ 2147483647 h 91"/>
                <a:gd name="T66" fmla="*/ 0 w 166"/>
                <a:gd name="T67" fmla="*/ 2147483647 h 91"/>
                <a:gd name="T68" fmla="*/ 2147483647 w 166"/>
                <a:gd name="T69" fmla="*/ 2147483647 h 91"/>
                <a:gd name="T70" fmla="*/ 2147483647 w 166"/>
                <a:gd name="T71" fmla="*/ 2147483647 h 91"/>
                <a:gd name="T72" fmla="*/ 2147483647 w 166"/>
                <a:gd name="T73" fmla="*/ 2147483647 h 91"/>
                <a:gd name="T74" fmla="*/ 2147483647 w 166"/>
                <a:gd name="T75" fmla="*/ 0 h 91"/>
                <a:gd name="T76" fmla="*/ 2147483647 w 166"/>
                <a:gd name="T77" fmla="*/ 2147483647 h 91"/>
                <a:gd name="T78" fmla="*/ 2147483647 w 166"/>
                <a:gd name="T79" fmla="*/ 2147483647 h 91"/>
                <a:gd name="T80" fmla="*/ 2147483647 w 166"/>
                <a:gd name="T81" fmla="*/ 2147483647 h 91"/>
                <a:gd name="T82" fmla="*/ 2147483647 w 166"/>
                <a:gd name="T83" fmla="*/ 2147483647 h 91"/>
                <a:gd name="T84" fmla="*/ 2147483647 w 166"/>
                <a:gd name="T85" fmla="*/ 2147483647 h 91"/>
                <a:gd name="T86" fmla="*/ 2147483647 w 166"/>
                <a:gd name="T87" fmla="*/ 2147483647 h 91"/>
                <a:gd name="T88" fmla="*/ 2147483647 w 166"/>
                <a:gd name="T89" fmla="*/ 2147483647 h 91"/>
                <a:gd name="T90" fmla="*/ 2147483647 w 166"/>
                <a:gd name="T91" fmla="*/ 2147483647 h 91"/>
                <a:gd name="T92" fmla="*/ 2147483647 w 166"/>
                <a:gd name="T93" fmla="*/ 2147483647 h 91"/>
                <a:gd name="T94" fmla="*/ 2147483647 w 166"/>
                <a:gd name="T95" fmla="*/ 2147483647 h 91"/>
                <a:gd name="T96" fmla="*/ 2147483647 w 166"/>
                <a:gd name="T97" fmla="*/ 2147483647 h 91"/>
                <a:gd name="T98" fmla="*/ 2147483647 w 166"/>
                <a:gd name="T99" fmla="*/ 2147483647 h 91"/>
                <a:gd name="T100" fmla="*/ 2147483647 w 166"/>
                <a:gd name="T101" fmla="*/ 2147483647 h 91"/>
                <a:gd name="T102" fmla="*/ 2147483647 w 166"/>
                <a:gd name="T103" fmla="*/ 2147483647 h 91"/>
                <a:gd name="T104" fmla="*/ 2147483647 w 166"/>
                <a:gd name="T105" fmla="*/ 2147483647 h 91"/>
                <a:gd name="T106" fmla="*/ 2147483647 w 166"/>
                <a:gd name="T107" fmla="*/ 2147483647 h 91"/>
                <a:gd name="T108" fmla="*/ 2147483647 w 166"/>
                <a:gd name="T109" fmla="*/ 2147483647 h 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6"/>
                <a:gd name="T166" fmla="*/ 0 h 91"/>
                <a:gd name="T167" fmla="*/ 166 w 166"/>
                <a:gd name="T168" fmla="*/ 91 h 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6" h="91">
                  <a:moveTo>
                    <a:pt x="115" y="2"/>
                  </a:moveTo>
                  <a:lnTo>
                    <a:pt x="118" y="4"/>
                  </a:lnTo>
                  <a:lnTo>
                    <a:pt x="118" y="6"/>
                  </a:lnTo>
                  <a:lnTo>
                    <a:pt x="126" y="10"/>
                  </a:lnTo>
                  <a:lnTo>
                    <a:pt x="126" y="22"/>
                  </a:lnTo>
                  <a:lnTo>
                    <a:pt x="129" y="30"/>
                  </a:lnTo>
                  <a:lnTo>
                    <a:pt x="135" y="36"/>
                  </a:lnTo>
                  <a:lnTo>
                    <a:pt x="133" y="45"/>
                  </a:lnTo>
                  <a:lnTo>
                    <a:pt x="145" y="52"/>
                  </a:lnTo>
                  <a:lnTo>
                    <a:pt x="148" y="51"/>
                  </a:lnTo>
                  <a:lnTo>
                    <a:pt x="153" y="52"/>
                  </a:lnTo>
                  <a:lnTo>
                    <a:pt x="154" y="58"/>
                  </a:lnTo>
                  <a:lnTo>
                    <a:pt x="166" y="65"/>
                  </a:lnTo>
                  <a:lnTo>
                    <a:pt x="166" y="68"/>
                  </a:lnTo>
                  <a:lnTo>
                    <a:pt x="165" y="69"/>
                  </a:lnTo>
                  <a:lnTo>
                    <a:pt x="161" y="69"/>
                  </a:lnTo>
                  <a:lnTo>
                    <a:pt x="158" y="70"/>
                  </a:lnTo>
                  <a:lnTo>
                    <a:pt x="154" y="69"/>
                  </a:lnTo>
                  <a:lnTo>
                    <a:pt x="151" y="72"/>
                  </a:lnTo>
                  <a:lnTo>
                    <a:pt x="145" y="70"/>
                  </a:lnTo>
                  <a:lnTo>
                    <a:pt x="143" y="72"/>
                  </a:lnTo>
                  <a:lnTo>
                    <a:pt x="145" y="77"/>
                  </a:lnTo>
                  <a:lnTo>
                    <a:pt x="151" y="75"/>
                  </a:lnTo>
                  <a:lnTo>
                    <a:pt x="154" y="76"/>
                  </a:lnTo>
                  <a:lnTo>
                    <a:pt x="156" y="82"/>
                  </a:lnTo>
                  <a:lnTo>
                    <a:pt x="150" y="83"/>
                  </a:lnTo>
                  <a:lnTo>
                    <a:pt x="142" y="86"/>
                  </a:lnTo>
                  <a:lnTo>
                    <a:pt x="134" y="85"/>
                  </a:lnTo>
                  <a:lnTo>
                    <a:pt x="129" y="86"/>
                  </a:lnTo>
                  <a:lnTo>
                    <a:pt x="126" y="82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1" y="81"/>
                  </a:lnTo>
                  <a:lnTo>
                    <a:pt x="105" y="84"/>
                  </a:lnTo>
                  <a:lnTo>
                    <a:pt x="94" y="84"/>
                  </a:lnTo>
                  <a:lnTo>
                    <a:pt x="84" y="89"/>
                  </a:lnTo>
                  <a:lnTo>
                    <a:pt x="78" y="89"/>
                  </a:lnTo>
                  <a:lnTo>
                    <a:pt x="54" y="91"/>
                  </a:lnTo>
                  <a:lnTo>
                    <a:pt x="48" y="86"/>
                  </a:lnTo>
                  <a:lnTo>
                    <a:pt x="48" y="80"/>
                  </a:lnTo>
                  <a:lnTo>
                    <a:pt x="45" y="77"/>
                  </a:lnTo>
                  <a:lnTo>
                    <a:pt x="32" y="77"/>
                  </a:lnTo>
                  <a:lnTo>
                    <a:pt x="23" y="76"/>
                  </a:lnTo>
                  <a:lnTo>
                    <a:pt x="12" y="69"/>
                  </a:lnTo>
                  <a:lnTo>
                    <a:pt x="12" y="65"/>
                  </a:lnTo>
                  <a:lnTo>
                    <a:pt x="21" y="62"/>
                  </a:lnTo>
                  <a:lnTo>
                    <a:pt x="42" y="60"/>
                  </a:lnTo>
                  <a:lnTo>
                    <a:pt x="53" y="61"/>
                  </a:lnTo>
                  <a:lnTo>
                    <a:pt x="64" y="60"/>
                  </a:lnTo>
                  <a:lnTo>
                    <a:pt x="65" y="58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42" y="51"/>
                  </a:lnTo>
                  <a:lnTo>
                    <a:pt x="29" y="55"/>
                  </a:lnTo>
                  <a:lnTo>
                    <a:pt x="20" y="55"/>
                  </a:lnTo>
                  <a:lnTo>
                    <a:pt x="10" y="52"/>
                  </a:lnTo>
                  <a:lnTo>
                    <a:pt x="5" y="45"/>
                  </a:lnTo>
                  <a:lnTo>
                    <a:pt x="13" y="42"/>
                  </a:lnTo>
                  <a:lnTo>
                    <a:pt x="24" y="42"/>
                  </a:lnTo>
                  <a:lnTo>
                    <a:pt x="29" y="37"/>
                  </a:lnTo>
                  <a:lnTo>
                    <a:pt x="25" y="36"/>
                  </a:lnTo>
                  <a:lnTo>
                    <a:pt x="12" y="37"/>
                  </a:lnTo>
                  <a:lnTo>
                    <a:pt x="9" y="39"/>
                  </a:lnTo>
                  <a:lnTo>
                    <a:pt x="7" y="38"/>
                  </a:lnTo>
                  <a:lnTo>
                    <a:pt x="7" y="35"/>
                  </a:lnTo>
                  <a:lnTo>
                    <a:pt x="1" y="34"/>
                  </a:lnTo>
                  <a:lnTo>
                    <a:pt x="0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1" y="19"/>
                  </a:lnTo>
                  <a:lnTo>
                    <a:pt x="5" y="13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9" y="3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39" y="11"/>
                  </a:lnTo>
                  <a:lnTo>
                    <a:pt x="40" y="15"/>
                  </a:lnTo>
                  <a:lnTo>
                    <a:pt x="44" y="12"/>
                  </a:lnTo>
                  <a:lnTo>
                    <a:pt x="47" y="14"/>
                  </a:lnTo>
                  <a:lnTo>
                    <a:pt x="50" y="12"/>
                  </a:lnTo>
                  <a:lnTo>
                    <a:pt x="50" y="9"/>
                  </a:lnTo>
                  <a:lnTo>
                    <a:pt x="53" y="7"/>
                  </a:lnTo>
                  <a:lnTo>
                    <a:pt x="68" y="12"/>
                  </a:lnTo>
                  <a:lnTo>
                    <a:pt x="69" y="17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70" y="21"/>
                  </a:lnTo>
                  <a:lnTo>
                    <a:pt x="72" y="18"/>
                  </a:lnTo>
                  <a:lnTo>
                    <a:pt x="75" y="16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79" y="11"/>
                  </a:lnTo>
                  <a:lnTo>
                    <a:pt x="78" y="8"/>
                  </a:lnTo>
                  <a:lnTo>
                    <a:pt x="84" y="8"/>
                  </a:lnTo>
                  <a:lnTo>
                    <a:pt x="92" y="15"/>
                  </a:lnTo>
                  <a:lnTo>
                    <a:pt x="94" y="22"/>
                  </a:lnTo>
                  <a:lnTo>
                    <a:pt x="96" y="32"/>
                  </a:lnTo>
                  <a:lnTo>
                    <a:pt x="100" y="34"/>
                  </a:lnTo>
                  <a:lnTo>
                    <a:pt x="107" y="27"/>
                  </a:lnTo>
                  <a:lnTo>
                    <a:pt x="103" y="24"/>
                  </a:lnTo>
                  <a:lnTo>
                    <a:pt x="101" y="16"/>
                  </a:lnTo>
                  <a:lnTo>
                    <a:pt x="102" y="12"/>
                  </a:lnTo>
                  <a:lnTo>
                    <a:pt x="100" y="6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3"/>
                  </a:lnTo>
                  <a:lnTo>
                    <a:pt x="110" y="3"/>
                  </a:lnTo>
                  <a:lnTo>
                    <a:pt x="11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8" name="Freeform 90"/>
            <p:cNvSpPr>
              <a:spLocks/>
            </p:cNvSpPr>
            <p:nvPr/>
          </p:nvSpPr>
          <p:spPr bwMode="gray">
            <a:xfrm>
              <a:off x="1307" y="1451"/>
              <a:ext cx="149" cy="60"/>
            </a:xfrm>
            <a:custGeom>
              <a:avLst/>
              <a:gdLst>
                <a:gd name="T0" fmla="*/ 2147483647 w 114"/>
                <a:gd name="T1" fmla="*/ 0 h 46"/>
                <a:gd name="T2" fmla="*/ 2147483647 w 114"/>
                <a:gd name="T3" fmla="*/ 2147483647 h 46"/>
                <a:gd name="T4" fmla="*/ 2147483647 w 114"/>
                <a:gd name="T5" fmla="*/ 2147483647 h 46"/>
                <a:gd name="T6" fmla="*/ 2147483647 w 114"/>
                <a:gd name="T7" fmla="*/ 2147483647 h 46"/>
                <a:gd name="T8" fmla="*/ 2147483647 w 114"/>
                <a:gd name="T9" fmla="*/ 2147483647 h 46"/>
                <a:gd name="T10" fmla="*/ 2147483647 w 114"/>
                <a:gd name="T11" fmla="*/ 2147483647 h 46"/>
                <a:gd name="T12" fmla="*/ 2147483647 w 114"/>
                <a:gd name="T13" fmla="*/ 2147483647 h 46"/>
                <a:gd name="T14" fmla="*/ 2147483647 w 114"/>
                <a:gd name="T15" fmla="*/ 2147483647 h 46"/>
                <a:gd name="T16" fmla="*/ 2147483647 w 114"/>
                <a:gd name="T17" fmla="*/ 2147483647 h 46"/>
                <a:gd name="T18" fmla="*/ 2147483647 w 114"/>
                <a:gd name="T19" fmla="*/ 2147483647 h 46"/>
                <a:gd name="T20" fmla="*/ 2147483647 w 114"/>
                <a:gd name="T21" fmla="*/ 2147483647 h 46"/>
                <a:gd name="T22" fmla="*/ 2147483647 w 114"/>
                <a:gd name="T23" fmla="*/ 2147483647 h 46"/>
                <a:gd name="T24" fmla="*/ 2147483647 w 114"/>
                <a:gd name="T25" fmla="*/ 2147483647 h 46"/>
                <a:gd name="T26" fmla="*/ 2147483647 w 114"/>
                <a:gd name="T27" fmla="*/ 2147483647 h 46"/>
                <a:gd name="T28" fmla="*/ 2147483647 w 114"/>
                <a:gd name="T29" fmla="*/ 2147483647 h 46"/>
                <a:gd name="T30" fmla="*/ 2147483647 w 114"/>
                <a:gd name="T31" fmla="*/ 2147483647 h 46"/>
                <a:gd name="T32" fmla="*/ 2147483647 w 114"/>
                <a:gd name="T33" fmla="*/ 2147483647 h 46"/>
                <a:gd name="T34" fmla="*/ 2147483647 w 114"/>
                <a:gd name="T35" fmla="*/ 2147483647 h 46"/>
                <a:gd name="T36" fmla="*/ 2147483647 w 114"/>
                <a:gd name="T37" fmla="*/ 2147483647 h 46"/>
                <a:gd name="T38" fmla="*/ 2147483647 w 114"/>
                <a:gd name="T39" fmla="*/ 2147483647 h 46"/>
                <a:gd name="T40" fmla="*/ 2147483647 w 114"/>
                <a:gd name="T41" fmla="*/ 2147483647 h 46"/>
                <a:gd name="T42" fmla="*/ 2147483647 w 114"/>
                <a:gd name="T43" fmla="*/ 2147483647 h 46"/>
                <a:gd name="T44" fmla="*/ 2147483647 w 114"/>
                <a:gd name="T45" fmla="*/ 2147483647 h 46"/>
                <a:gd name="T46" fmla="*/ 2147483647 w 114"/>
                <a:gd name="T47" fmla="*/ 2147483647 h 46"/>
                <a:gd name="T48" fmla="*/ 2147483647 w 114"/>
                <a:gd name="T49" fmla="*/ 2147483647 h 46"/>
                <a:gd name="T50" fmla="*/ 0 w 114"/>
                <a:gd name="T51" fmla="*/ 2147483647 h 46"/>
                <a:gd name="T52" fmla="*/ 2147483647 w 114"/>
                <a:gd name="T53" fmla="*/ 2147483647 h 46"/>
                <a:gd name="T54" fmla="*/ 2147483647 w 114"/>
                <a:gd name="T55" fmla="*/ 2147483647 h 46"/>
                <a:gd name="T56" fmla="*/ 2147483647 w 114"/>
                <a:gd name="T57" fmla="*/ 2147483647 h 46"/>
                <a:gd name="T58" fmla="*/ 2147483647 w 114"/>
                <a:gd name="T59" fmla="*/ 2147483647 h 46"/>
                <a:gd name="T60" fmla="*/ 2147483647 w 114"/>
                <a:gd name="T61" fmla="*/ 2147483647 h 46"/>
                <a:gd name="T62" fmla="*/ 2147483647 w 114"/>
                <a:gd name="T63" fmla="*/ 2147483647 h 46"/>
                <a:gd name="T64" fmla="*/ 2147483647 w 114"/>
                <a:gd name="T65" fmla="*/ 2147483647 h 46"/>
                <a:gd name="T66" fmla="*/ 2147483647 w 114"/>
                <a:gd name="T67" fmla="*/ 2147483647 h 46"/>
                <a:gd name="T68" fmla="*/ 2147483647 w 114"/>
                <a:gd name="T69" fmla="*/ 2147483647 h 46"/>
                <a:gd name="T70" fmla="*/ 2147483647 w 114"/>
                <a:gd name="T71" fmla="*/ 2147483647 h 46"/>
                <a:gd name="T72" fmla="*/ 2147483647 w 114"/>
                <a:gd name="T73" fmla="*/ 2147483647 h 46"/>
                <a:gd name="T74" fmla="*/ 2147483647 w 114"/>
                <a:gd name="T75" fmla="*/ 2147483647 h 46"/>
                <a:gd name="T76" fmla="*/ 2147483647 w 114"/>
                <a:gd name="T77" fmla="*/ 2147483647 h 46"/>
                <a:gd name="T78" fmla="*/ 2147483647 w 114"/>
                <a:gd name="T79" fmla="*/ 2147483647 h 46"/>
                <a:gd name="T80" fmla="*/ 2147483647 w 114"/>
                <a:gd name="T81" fmla="*/ 2147483647 h 46"/>
                <a:gd name="T82" fmla="*/ 2147483647 w 114"/>
                <a:gd name="T83" fmla="*/ 2147483647 h 46"/>
                <a:gd name="T84" fmla="*/ 2147483647 w 114"/>
                <a:gd name="T85" fmla="*/ 2147483647 h 46"/>
                <a:gd name="T86" fmla="*/ 2147483647 w 114"/>
                <a:gd name="T87" fmla="*/ 2147483647 h 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4"/>
                <a:gd name="T133" fmla="*/ 0 h 46"/>
                <a:gd name="T134" fmla="*/ 114 w 114"/>
                <a:gd name="T135" fmla="*/ 46 h 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4" h="46">
                  <a:moveTo>
                    <a:pt x="76" y="2"/>
                  </a:moveTo>
                  <a:lnTo>
                    <a:pt x="79" y="0"/>
                  </a:lnTo>
                  <a:lnTo>
                    <a:pt x="85" y="0"/>
                  </a:lnTo>
                  <a:lnTo>
                    <a:pt x="85" y="6"/>
                  </a:lnTo>
                  <a:lnTo>
                    <a:pt x="89" y="8"/>
                  </a:lnTo>
                  <a:lnTo>
                    <a:pt x="88" y="13"/>
                  </a:lnTo>
                  <a:lnTo>
                    <a:pt x="92" y="13"/>
                  </a:lnTo>
                  <a:lnTo>
                    <a:pt x="94" y="18"/>
                  </a:lnTo>
                  <a:lnTo>
                    <a:pt x="96" y="17"/>
                  </a:lnTo>
                  <a:lnTo>
                    <a:pt x="100" y="17"/>
                  </a:lnTo>
                  <a:lnTo>
                    <a:pt x="100" y="20"/>
                  </a:lnTo>
                  <a:lnTo>
                    <a:pt x="103" y="20"/>
                  </a:lnTo>
                  <a:lnTo>
                    <a:pt x="102" y="15"/>
                  </a:lnTo>
                  <a:lnTo>
                    <a:pt x="106" y="15"/>
                  </a:lnTo>
                  <a:lnTo>
                    <a:pt x="114" y="18"/>
                  </a:lnTo>
                  <a:lnTo>
                    <a:pt x="113" y="23"/>
                  </a:lnTo>
                  <a:lnTo>
                    <a:pt x="109" y="31"/>
                  </a:lnTo>
                  <a:lnTo>
                    <a:pt x="97" y="34"/>
                  </a:lnTo>
                  <a:lnTo>
                    <a:pt x="94" y="32"/>
                  </a:lnTo>
                  <a:lnTo>
                    <a:pt x="91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1" y="31"/>
                  </a:lnTo>
                  <a:lnTo>
                    <a:pt x="79" y="34"/>
                  </a:lnTo>
                  <a:lnTo>
                    <a:pt x="65" y="39"/>
                  </a:lnTo>
                  <a:lnTo>
                    <a:pt x="62" y="43"/>
                  </a:lnTo>
                  <a:lnTo>
                    <a:pt x="47" y="46"/>
                  </a:lnTo>
                  <a:lnTo>
                    <a:pt x="40" y="46"/>
                  </a:lnTo>
                  <a:lnTo>
                    <a:pt x="32" y="39"/>
                  </a:lnTo>
                  <a:lnTo>
                    <a:pt x="41" y="38"/>
                  </a:lnTo>
                  <a:lnTo>
                    <a:pt x="44" y="35"/>
                  </a:lnTo>
                  <a:lnTo>
                    <a:pt x="48" y="35"/>
                  </a:lnTo>
                  <a:lnTo>
                    <a:pt x="58" y="34"/>
                  </a:lnTo>
                  <a:lnTo>
                    <a:pt x="61" y="30"/>
                  </a:lnTo>
                  <a:lnTo>
                    <a:pt x="61" y="29"/>
                  </a:lnTo>
                  <a:lnTo>
                    <a:pt x="54" y="30"/>
                  </a:lnTo>
                  <a:lnTo>
                    <a:pt x="50" y="31"/>
                  </a:lnTo>
                  <a:lnTo>
                    <a:pt x="45" y="30"/>
                  </a:lnTo>
                  <a:lnTo>
                    <a:pt x="40" y="32"/>
                  </a:lnTo>
                  <a:lnTo>
                    <a:pt x="35" y="31"/>
                  </a:lnTo>
                  <a:lnTo>
                    <a:pt x="35" y="28"/>
                  </a:lnTo>
                  <a:lnTo>
                    <a:pt x="40" y="27"/>
                  </a:lnTo>
                  <a:lnTo>
                    <a:pt x="37" y="26"/>
                  </a:lnTo>
                  <a:lnTo>
                    <a:pt x="28" y="28"/>
                  </a:lnTo>
                  <a:lnTo>
                    <a:pt x="32" y="31"/>
                  </a:lnTo>
                  <a:lnTo>
                    <a:pt x="26" y="33"/>
                  </a:lnTo>
                  <a:lnTo>
                    <a:pt x="22" y="31"/>
                  </a:lnTo>
                  <a:lnTo>
                    <a:pt x="20" y="33"/>
                  </a:lnTo>
                  <a:lnTo>
                    <a:pt x="15" y="32"/>
                  </a:lnTo>
                  <a:lnTo>
                    <a:pt x="12" y="28"/>
                  </a:lnTo>
                  <a:lnTo>
                    <a:pt x="5" y="29"/>
                  </a:lnTo>
                  <a:lnTo>
                    <a:pt x="0" y="27"/>
                  </a:lnTo>
                  <a:lnTo>
                    <a:pt x="3" y="24"/>
                  </a:lnTo>
                  <a:lnTo>
                    <a:pt x="15" y="23"/>
                  </a:lnTo>
                  <a:lnTo>
                    <a:pt x="22" y="21"/>
                  </a:lnTo>
                  <a:lnTo>
                    <a:pt x="20" y="20"/>
                  </a:lnTo>
                  <a:lnTo>
                    <a:pt x="11" y="21"/>
                  </a:lnTo>
                  <a:lnTo>
                    <a:pt x="7" y="19"/>
                  </a:lnTo>
                  <a:lnTo>
                    <a:pt x="12" y="17"/>
                  </a:lnTo>
                  <a:lnTo>
                    <a:pt x="18" y="17"/>
                  </a:lnTo>
                  <a:lnTo>
                    <a:pt x="23" y="16"/>
                  </a:lnTo>
                  <a:lnTo>
                    <a:pt x="20" y="15"/>
                  </a:lnTo>
                  <a:lnTo>
                    <a:pt x="12" y="15"/>
                  </a:lnTo>
                  <a:lnTo>
                    <a:pt x="11" y="13"/>
                  </a:lnTo>
                  <a:lnTo>
                    <a:pt x="14" y="10"/>
                  </a:lnTo>
                  <a:lnTo>
                    <a:pt x="19" y="10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0" y="7"/>
                  </a:lnTo>
                  <a:lnTo>
                    <a:pt x="24" y="6"/>
                  </a:lnTo>
                  <a:lnTo>
                    <a:pt x="32" y="7"/>
                  </a:lnTo>
                  <a:lnTo>
                    <a:pt x="34" y="10"/>
                  </a:lnTo>
                  <a:lnTo>
                    <a:pt x="46" y="10"/>
                  </a:lnTo>
                  <a:lnTo>
                    <a:pt x="57" y="18"/>
                  </a:lnTo>
                  <a:lnTo>
                    <a:pt x="59" y="21"/>
                  </a:lnTo>
                  <a:lnTo>
                    <a:pt x="69" y="22"/>
                  </a:lnTo>
                  <a:lnTo>
                    <a:pt x="77" y="25"/>
                  </a:lnTo>
                  <a:lnTo>
                    <a:pt x="82" y="23"/>
                  </a:lnTo>
                  <a:lnTo>
                    <a:pt x="81" y="19"/>
                  </a:lnTo>
                  <a:lnTo>
                    <a:pt x="73" y="19"/>
                  </a:lnTo>
                  <a:lnTo>
                    <a:pt x="71" y="17"/>
                  </a:lnTo>
                  <a:lnTo>
                    <a:pt x="79" y="14"/>
                  </a:lnTo>
                  <a:lnTo>
                    <a:pt x="77" y="11"/>
                  </a:lnTo>
                  <a:lnTo>
                    <a:pt x="68" y="10"/>
                  </a:lnTo>
                  <a:lnTo>
                    <a:pt x="67" y="8"/>
                  </a:lnTo>
                  <a:lnTo>
                    <a:pt x="69" y="7"/>
                  </a:lnTo>
                  <a:lnTo>
                    <a:pt x="76" y="6"/>
                  </a:lnTo>
                  <a:lnTo>
                    <a:pt x="7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899" name="Freeform 91"/>
            <p:cNvSpPr>
              <a:spLocks/>
            </p:cNvSpPr>
            <p:nvPr/>
          </p:nvSpPr>
          <p:spPr bwMode="gray">
            <a:xfrm>
              <a:off x="1766" y="1981"/>
              <a:ext cx="9" cy="16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2147483647 h 12"/>
                <a:gd name="T6" fmla="*/ 2147483647 w 7"/>
                <a:gd name="T7" fmla="*/ 2147483647 h 12"/>
                <a:gd name="T8" fmla="*/ 2147483647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4" y="1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5" y="9"/>
                  </a:lnTo>
                  <a:lnTo>
                    <a:pt x="2" y="12"/>
                  </a:lnTo>
                  <a:lnTo>
                    <a:pt x="0" y="9"/>
                  </a:lnTo>
                  <a:lnTo>
                    <a:pt x="3" y="6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0" name="Freeform 92"/>
            <p:cNvSpPr>
              <a:spLocks/>
            </p:cNvSpPr>
            <p:nvPr/>
          </p:nvSpPr>
          <p:spPr bwMode="gray">
            <a:xfrm>
              <a:off x="1742" y="2057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0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w 10"/>
                <a:gd name="T15" fmla="*/ 2147483647 h 8"/>
                <a:gd name="T16" fmla="*/ 0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0" y="2"/>
                  </a:moveTo>
                  <a:lnTo>
                    <a:pt x="3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6" y="8"/>
                  </a:lnTo>
                  <a:lnTo>
                    <a:pt x="4" y="5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1" name="Freeform 93"/>
            <p:cNvSpPr>
              <a:spLocks/>
            </p:cNvSpPr>
            <p:nvPr/>
          </p:nvSpPr>
          <p:spPr bwMode="gray">
            <a:xfrm>
              <a:off x="1575" y="1425"/>
              <a:ext cx="34" cy="6"/>
            </a:xfrm>
            <a:custGeom>
              <a:avLst/>
              <a:gdLst>
                <a:gd name="T0" fmla="*/ 0 w 26"/>
                <a:gd name="T1" fmla="*/ 2147483647 h 5"/>
                <a:gd name="T2" fmla="*/ 2147483647 w 26"/>
                <a:gd name="T3" fmla="*/ 0 h 5"/>
                <a:gd name="T4" fmla="*/ 2147483647 w 26"/>
                <a:gd name="T5" fmla="*/ 2147483647 h 5"/>
                <a:gd name="T6" fmla="*/ 2147483647 w 26"/>
                <a:gd name="T7" fmla="*/ 0 h 5"/>
                <a:gd name="T8" fmla="*/ 2147483647 w 26"/>
                <a:gd name="T9" fmla="*/ 0 h 5"/>
                <a:gd name="T10" fmla="*/ 2147483647 w 26"/>
                <a:gd name="T11" fmla="*/ 2147483647 h 5"/>
                <a:gd name="T12" fmla="*/ 2147483647 w 26"/>
                <a:gd name="T13" fmla="*/ 2147483647 h 5"/>
                <a:gd name="T14" fmla="*/ 0 w 26"/>
                <a:gd name="T15" fmla="*/ 2147483647 h 5"/>
                <a:gd name="T16" fmla="*/ 0 w 26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5"/>
                <a:gd name="T29" fmla="*/ 26 w 2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5">
                  <a:moveTo>
                    <a:pt x="0" y="1"/>
                  </a:moveTo>
                  <a:lnTo>
                    <a:pt x="4" y="0"/>
                  </a:lnTo>
                  <a:lnTo>
                    <a:pt x="14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1" y="5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2" name="Freeform 94"/>
            <p:cNvSpPr>
              <a:spLocks/>
            </p:cNvSpPr>
            <p:nvPr/>
          </p:nvSpPr>
          <p:spPr bwMode="gray">
            <a:xfrm>
              <a:off x="1776" y="1633"/>
              <a:ext cx="15" cy="6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1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3" name="Freeform 95"/>
            <p:cNvSpPr>
              <a:spLocks/>
            </p:cNvSpPr>
            <p:nvPr/>
          </p:nvSpPr>
          <p:spPr bwMode="gray">
            <a:xfrm>
              <a:off x="1759" y="1633"/>
              <a:ext cx="12" cy="6"/>
            </a:xfrm>
            <a:custGeom>
              <a:avLst/>
              <a:gdLst>
                <a:gd name="T0" fmla="*/ 2147483647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0 w 9"/>
                <a:gd name="T7" fmla="*/ 2147483647 h 4"/>
                <a:gd name="T8" fmla="*/ 2147483647 w 9"/>
                <a:gd name="T9" fmla="*/ 2147483647 h 4"/>
                <a:gd name="T10" fmla="*/ 2147483647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9" y="0"/>
                  </a:moveTo>
                  <a:lnTo>
                    <a:pt x="9" y="2"/>
                  </a:lnTo>
                  <a:lnTo>
                    <a:pt x="3" y="4"/>
                  </a:lnTo>
                  <a:lnTo>
                    <a:pt x="0" y="3"/>
                  </a:lnTo>
                  <a:lnTo>
                    <a:pt x="2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4" name="Freeform 96"/>
            <p:cNvSpPr>
              <a:spLocks/>
            </p:cNvSpPr>
            <p:nvPr/>
          </p:nvSpPr>
          <p:spPr bwMode="gray">
            <a:xfrm>
              <a:off x="1794" y="1640"/>
              <a:ext cx="7" cy="6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5" y="2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5" name="Freeform 97"/>
            <p:cNvSpPr>
              <a:spLocks/>
            </p:cNvSpPr>
            <p:nvPr/>
          </p:nvSpPr>
          <p:spPr bwMode="gray">
            <a:xfrm>
              <a:off x="1766" y="1642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0 h 8"/>
                <a:gd name="T4" fmla="*/ 2147483647 w 14"/>
                <a:gd name="T5" fmla="*/ 0 h 8"/>
                <a:gd name="T6" fmla="*/ 2147483647 w 14"/>
                <a:gd name="T7" fmla="*/ 2147483647 h 8"/>
                <a:gd name="T8" fmla="*/ 2147483647 w 14"/>
                <a:gd name="T9" fmla="*/ 2147483647 h 8"/>
                <a:gd name="T10" fmla="*/ 0 w 14"/>
                <a:gd name="T11" fmla="*/ 2147483647 h 8"/>
                <a:gd name="T12" fmla="*/ 0 w 14"/>
                <a:gd name="T13" fmla="*/ 2147483647 h 8"/>
                <a:gd name="T14" fmla="*/ 2147483647 w 14"/>
                <a:gd name="T15" fmla="*/ 2147483647 h 8"/>
                <a:gd name="T16" fmla="*/ 2147483647 w 14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8"/>
                <a:gd name="T29" fmla="*/ 14 w 14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8">
                  <a:moveTo>
                    <a:pt x="6" y="1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14" y="4"/>
                  </a:lnTo>
                  <a:lnTo>
                    <a:pt x="7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6" y="4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6" name="Freeform 98"/>
            <p:cNvSpPr>
              <a:spLocks/>
            </p:cNvSpPr>
            <p:nvPr/>
          </p:nvSpPr>
          <p:spPr bwMode="gray">
            <a:xfrm>
              <a:off x="1775" y="1658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0 h 4"/>
                <a:gd name="T4" fmla="*/ 2147483647 w 3"/>
                <a:gd name="T5" fmla="*/ 0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7" name="Freeform 99"/>
            <p:cNvSpPr>
              <a:spLocks/>
            </p:cNvSpPr>
            <p:nvPr/>
          </p:nvSpPr>
          <p:spPr bwMode="gray">
            <a:xfrm>
              <a:off x="1681" y="1670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0"/>
                  </a:moveTo>
                  <a:lnTo>
                    <a:pt x="5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8" name="Freeform 100"/>
            <p:cNvSpPr>
              <a:spLocks/>
            </p:cNvSpPr>
            <p:nvPr/>
          </p:nvSpPr>
          <p:spPr bwMode="gray">
            <a:xfrm>
              <a:off x="1712" y="1717"/>
              <a:ext cx="9" cy="9"/>
            </a:xfrm>
            <a:custGeom>
              <a:avLst/>
              <a:gdLst>
                <a:gd name="T0" fmla="*/ 2147483647 w 7"/>
                <a:gd name="T1" fmla="*/ 0 h 7"/>
                <a:gd name="T2" fmla="*/ 2147483647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1" y="0"/>
                  </a:moveTo>
                  <a:lnTo>
                    <a:pt x="4" y="3"/>
                  </a:lnTo>
                  <a:lnTo>
                    <a:pt x="7" y="4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09" name="Freeform 101"/>
            <p:cNvSpPr>
              <a:spLocks/>
            </p:cNvSpPr>
            <p:nvPr/>
          </p:nvSpPr>
          <p:spPr bwMode="gray">
            <a:xfrm>
              <a:off x="1705" y="1718"/>
              <a:ext cx="6" cy="13"/>
            </a:xfrm>
            <a:custGeom>
              <a:avLst/>
              <a:gdLst>
                <a:gd name="T0" fmla="*/ 0 w 5"/>
                <a:gd name="T1" fmla="*/ 2147483647 h 10"/>
                <a:gd name="T2" fmla="*/ 2147483647 w 5"/>
                <a:gd name="T3" fmla="*/ 0 h 10"/>
                <a:gd name="T4" fmla="*/ 2147483647 w 5"/>
                <a:gd name="T5" fmla="*/ 2147483647 h 10"/>
                <a:gd name="T6" fmla="*/ 2147483647 w 5"/>
                <a:gd name="T7" fmla="*/ 2147483647 h 10"/>
                <a:gd name="T8" fmla="*/ 2147483647 w 5"/>
                <a:gd name="T9" fmla="*/ 2147483647 h 10"/>
                <a:gd name="T10" fmla="*/ 0 w 5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0" name="Freeform 102"/>
            <p:cNvSpPr>
              <a:spLocks/>
            </p:cNvSpPr>
            <p:nvPr/>
          </p:nvSpPr>
          <p:spPr bwMode="gray">
            <a:xfrm>
              <a:off x="1680" y="1726"/>
              <a:ext cx="78" cy="82"/>
            </a:xfrm>
            <a:custGeom>
              <a:avLst/>
              <a:gdLst>
                <a:gd name="T0" fmla="*/ 2147483647 w 60"/>
                <a:gd name="T1" fmla="*/ 2147483647 h 63"/>
                <a:gd name="T2" fmla="*/ 2147483647 w 60"/>
                <a:gd name="T3" fmla="*/ 0 h 63"/>
                <a:gd name="T4" fmla="*/ 2147483647 w 60"/>
                <a:gd name="T5" fmla="*/ 2147483647 h 63"/>
                <a:gd name="T6" fmla="*/ 2147483647 w 60"/>
                <a:gd name="T7" fmla="*/ 2147483647 h 63"/>
                <a:gd name="T8" fmla="*/ 2147483647 w 60"/>
                <a:gd name="T9" fmla="*/ 2147483647 h 63"/>
                <a:gd name="T10" fmla="*/ 2147483647 w 60"/>
                <a:gd name="T11" fmla="*/ 2147483647 h 63"/>
                <a:gd name="T12" fmla="*/ 2147483647 w 60"/>
                <a:gd name="T13" fmla="*/ 2147483647 h 63"/>
                <a:gd name="T14" fmla="*/ 2147483647 w 60"/>
                <a:gd name="T15" fmla="*/ 2147483647 h 63"/>
                <a:gd name="T16" fmla="*/ 2147483647 w 60"/>
                <a:gd name="T17" fmla="*/ 2147483647 h 63"/>
                <a:gd name="T18" fmla="*/ 2147483647 w 60"/>
                <a:gd name="T19" fmla="*/ 2147483647 h 63"/>
                <a:gd name="T20" fmla="*/ 2147483647 w 60"/>
                <a:gd name="T21" fmla="*/ 2147483647 h 63"/>
                <a:gd name="T22" fmla="*/ 2147483647 w 60"/>
                <a:gd name="T23" fmla="*/ 2147483647 h 63"/>
                <a:gd name="T24" fmla="*/ 2147483647 w 60"/>
                <a:gd name="T25" fmla="*/ 2147483647 h 63"/>
                <a:gd name="T26" fmla="*/ 2147483647 w 60"/>
                <a:gd name="T27" fmla="*/ 2147483647 h 63"/>
                <a:gd name="T28" fmla="*/ 2147483647 w 60"/>
                <a:gd name="T29" fmla="*/ 2147483647 h 63"/>
                <a:gd name="T30" fmla="*/ 2147483647 w 60"/>
                <a:gd name="T31" fmla="*/ 2147483647 h 63"/>
                <a:gd name="T32" fmla="*/ 2147483647 w 60"/>
                <a:gd name="T33" fmla="*/ 2147483647 h 63"/>
                <a:gd name="T34" fmla="*/ 2147483647 w 60"/>
                <a:gd name="T35" fmla="*/ 2147483647 h 63"/>
                <a:gd name="T36" fmla="*/ 2147483647 w 60"/>
                <a:gd name="T37" fmla="*/ 2147483647 h 63"/>
                <a:gd name="T38" fmla="*/ 2147483647 w 60"/>
                <a:gd name="T39" fmla="*/ 2147483647 h 63"/>
                <a:gd name="T40" fmla="*/ 2147483647 w 60"/>
                <a:gd name="T41" fmla="*/ 2147483647 h 63"/>
                <a:gd name="T42" fmla="*/ 2147483647 w 60"/>
                <a:gd name="T43" fmla="*/ 2147483647 h 63"/>
                <a:gd name="T44" fmla="*/ 2147483647 w 60"/>
                <a:gd name="T45" fmla="*/ 2147483647 h 63"/>
                <a:gd name="T46" fmla="*/ 2147483647 w 60"/>
                <a:gd name="T47" fmla="*/ 2147483647 h 63"/>
                <a:gd name="T48" fmla="*/ 2147483647 w 60"/>
                <a:gd name="T49" fmla="*/ 2147483647 h 63"/>
                <a:gd name="T50" fmla="*/ 0 w 60"/>
                <a:gd name="T51" fmla="*/ 2147483647 h 63"/>
                <a:gd name="T52" fmla="*/ 2147483647 w 60"/>
                <a:gd name="T53" fmla="*/ 2147483647 h 63"/>
                <a:gd name="T54" fmla="*/ 2147483647 w 60"/>
                <a:gd name="T55" fmla="*/ 2147483647 h 63"/>
                <a:gd name="T56" fmla="*/ 2147483647 w 60"/>
                <a:gd name="T57" fmla="*/ 2147483647 h 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0"/>
                <a:gd name="T88" fmla="*/ 0 h 63"/>
                <a:gd name="T89" fmla="*/ 60 w 60"/>
                <a:gd name="T90" fmla="*/ 63 h 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0" h="63">
                  <a:moveTo>
                    <a:pt x="10" y="4"/>
                  </a:moveTo>
                  <a:lnTo>
                    <a:pt x="12" y="0"/>
                  </a:lnTo>
                  <a:lnTo>
                    <a:pt x="15" y="1"/>
                  </a:lnTo>
                  <a:lnTo>
                    <a:pt x="17" y="9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32" y="16"/>
                  </a:lnTo>
                  <a:lnTo>
                    <a:pt x="36" y="21"/>
                  </a:lnTo>
                  <a:lnTo>
                    <a:pt x="47" y="26"/>
                  </a:lnTo>
                  <a:lnTo>
                    <a:pt x="49" y="34"/>
                  </a:lnTo>
                  <a:lnTo>
                    <a:pt x="47" y="42"/>
                  </a:lnTo>
                  <a:lnTo>
                    <a:pt x="59" y="45"/>
                  </a:lnTo>
                  <a:lnTo>
                    <a:pt x="60" y="47"/>
                  </a:lnTo>
                  <a:lnTo>
                    <a:pt x="59" y="53"/>
                  </a:lnTo>
                  <a:lnTo>
                    <a:pt x="47" y="53"/>
                  </a:lnTo>
                  <a:lnTo>
                    <a:pt x="42" y="50"/>
                  </a:lnTo>
                  <a:lnTo>
                    <a:pt x="41" y="45"/>
                  </a:lnTo>
                  <a:lnTo>
                    <a:pt x="38" y="42"/>
                  </a:lnTo>
                  <a:lnTo>
                    <a:pt x="34" y="43"/>
                  </a:lnTo>
                  <a:lnTo>
                    <a:pt x="30" y="50"/>
                  </a:lnTo>
                  <a:lnTo>
                    <a:pt x="26" y="51"/>
                  </a:lnTo>
                  <a:lnTo>
                    <a:pt x="19" y="60"/>
                  </a:lnTo>
                  <a:lnTo>
                    <a:pt x="14" y="63"/>
                  </a:lnTo>
                  <a:lnTo>
                    <a:pt x="13" y="51"/>
                  </a:lnTo>
                  <a:lnTo>
                    <a:pt x="1" y="50"/>
                  </a:lnTo>
                  <a:lnTo>
                    <a:pt x="0" y="47"/>
                  </a:lnTo>
                  <a:lnTo>
                    <a:pt x="9" y="27"/>
                  </a:lnTo>
                  <a:lnTo>
                    <a:pt x="9" y="9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1" name="Freeform 103"/>
            <p:cNvSpPr>
              <a:spLocks/>
            </p:cNvSpPr>
            <p:nvPr/>
          </p:nvSpPr>
          <p:spPr bwMode="gray">
            <a:xfrm>
              <a:off x="1721" y="1811"/>
              <a:ext cx="20" cy="18"/>
            </a:xfrm>
            <a:custGeom>
              <a:avLst/>
              <a:gdLst>
                <a:gd name="T0" fmla="*/ 2147483647 w 15"/>
                <a:gd name="T1" fmla="*/ 0 h 14"/>
                <a:gd name="T2" fmla="*/ 2147483647 w 15"/>
                <a:gd name="T3" fmla="*/ 2147483647 h 14"/>
                <a:gd name="T4" fmla="*/ 2147483647 w 15"/>
                <a:gd name="T5" fmla="*/ 2147483647 h 14"/>
                <a:gd name="T6" fmla="*/ 0 w 15"/>
                <a:gd name="T7" fmla="*/ 2147483647 h 14"/>
                <a:gd name="T8" fmla="*/ 0 w 15"/>
                <a:gd name="T9" fmla="*/ 2147483647 h 14"/>
                <a:gd name="T10" fmla="*/ 2147483647 w 15"/>
                <a:gd name="T11" fmla="*/ 0 h 14"/>
                <a:gd name="T12" fmla="*/ 2147483647 w 15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4"/>
                <a:gd name="T23" fmla="*/ 15 w 15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4">
                  <a:moveTo>
                    <a:pt x="15" y="0"/>
                  </a:moveTo>
                  <a:lnTo>
                    <a:pt x="14" y="5"/>
                  </a:lnTo>
                  <a:lnTo>
                    <a:pt x="6" y="13"/>
                  </a:lnTo>
                  <a:lnTo>
                    <a:pt x="0" y="14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2" name="Freeform 104"/>
            <p:cNvSpPr>
              <a:spLocks/>
            </p:cNvSpPr>
            <p:nvPr/>
          </p:nvSpPr>
          <p:spPr bwMode="gray">
            <a:xfrm>
              <a:off x="1762" y="1828"/>
              <a:ext cx="12" cy="22"/>
            </a:xfrm>
            <a:custGeom>
              <a:avLst/>
              <a:gdLst>
                <a:gd name="T0" fmla="*/ 2147483647 w 9"/>
                <a:gd name="T1" fmla="*/ 0 h 17"/>
                <a:gd name="T2" fmla="*/ 2147483647 w 9"/>
                <a:gd name="T3" fmla="*/ 2147483647 h 17"/>
                <a:gd name="T4" fmla="*/ 2147483647 w 9"/>
                <a:gd name="T5" fmla="*/ 2147483647 h 17"/>
                <a:gd name="T6" fmla="*/ 2147483647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7"/>
                <a:gd name="T26" fmla="*/ 9 w 9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7">
                  <a:moveTo>
                    <a:pt x="8" y="0"/>
                  </a:moveTo>
                  <a:lnTo>
                    <a:pt x="9" y="7"/>
                  </a:lnTo>
                  <a:lnTo>
                    <a:pt x="6" y="12"/>
                  </a:lnTo>
                  <a:lnTo>
                    <a:pt x="5" y="17"/>
                  </a:lnTo>
                  <a:lnTo>
                    <a:pt x="0" y="13"/>
                  </a:lnTo>
                  <a:lnTo>
                    <a:pt x="1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3" name="Freeform 105"/>
            <p:cNvSpPr>
              <a:spLocks/>
            </p:cNvSpPr>
            <p:nvPr/>
          </p:nvSpPr>
          <p:spPr bwMode="gray">
            <a:xfrm>
              <a:off x="1781" y="1800"/>
              <a:ext cx="11" cy="9"/>
            </a:xfrm>
            <a:custGeom>
              <a:avLst/>
              <a:gdLst>
                <a:gd name="T0" fmla="*/ 0 w 8"/>
                <a:gd name="T1" fmla="*/ 0 h 7"/>
                <a:gd name="T2" fmla="*/ 2147483647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0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0" y="0"/>
                  </a:move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2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4" name="Freeform 106"/>
            <p:cNvSpPr>
              <a:spLocks/>
            </p:cNvSpPr>
            <p:nvPr/>
          </p:nvSpPr>
          <p:spPr bwMode="gray">
            <a:xfrm>
              <a:off x="1793" y="1792"/>
              <a:ext cx="11" cy="9"/>
            </a:xfrm>
            <a:custGeom>
              <a:avLst/>
              <a:gdLst>
                <a:gd name="T0" fmla="*/ 2147483647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8" y="4"/>
                  </a:lnTo>
                  <a:lnTo>
                    <a:pt x="8" y="7"/>
                  </a:lnTo>
                  <a:lnTo>
                    <a:pt x="4" y="7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5" name="Freeform 107"/>
            <p:cNvSpPr>
              <a:spLocks/>
            </p:cNvSpPr>
            <p:nvPr/>
          </p:nvSpPr>
          <p:spPr bwMode="gray">
            <a:xfrm>
              <a:off x="1788" y="1781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4" y="3"/>
                  </a:move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6" name="Rectangle 108"/>
            <p:cNvSpPr>
              <a:spLocks noChangeArrowheads="1"/>
            </p:cNvSpPr>
            <p:nvPr/>
          </p:nvSpPr>
          <p:spPr bwMode="gray">
            <a:xfrm>
              <a:off x="1678" y="1624"/>
              <a:ext cx="8" cy="1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917" name="Freeform 109"/>
            <p:cNvSpPr>
              <a:spLocks/>
            </p:cNvSpPr>
            <p:nvPr/>
          </p:nvSpPr>
          <p:spPr bwMode="gray">
            <a:xfrm>
              <a:off x="1639" y="1448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1" y="0"/>
                  </a:moveTo>
                  <a:lnTo>
                    <a:pt x="5" y="0"/>
                  </a:lnTo>
                  <a:lnTo>
                    <a:pt x="6" y="6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8" name="Freeform 110"/>
            <p:cNvSpPr>
              <a:spLocks/>
            </p:cNvSpPr>
            <p:nvPr/>
          </p:nvSpPr>
          <p:spPr bwMode="gray">
            <a:xfrm>
              <a:off x="1635" y="1429"/>
              <a:ext cx="13" cy="10"/>
            </a:xfrm>
            <a:custGeom>
              <a:avLst/>
              <a:gdLst>
                <a:gd name="T0" fmla="*/ 2147483647 w 10"/>
                <a:gd name="T1" fmla="*/ 0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1" y="0"/>
                  </a:moveTo>
                  <a:lnTo>
                    <a:pt x="7" y="2"/>
                  </a:lnTo>
                  <a:lnTo>
                    <a:pt x="10" y="6"/>
                  </a:lnTo>
                  <a:lnTo>
                    <a:pt x="7" y="8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19" name="Freeform 111"/>
            <p:cNvSpPr>
              <a:spLocks/>
            </p:cNvSpPr>
            <p:nvPr/>
          </p:nvSpPr>
          <p:spPr bwMode="gray">
            <a:xfrm>
              <a:off x="1632" y="1436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1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0" name="Freeform 112"/>
            <p:cNvSpPr>
              <a:spLocks/>
            </p:cNvSpPr>
            <p:nvPr/>
          </p:nvSpPr>
          <p:spPr bwMode="gray">
            <a:xfrm>
              <a:off x="1686" y="1386"/>
              <a:ext cx="19" cy="5"/>
            </a:xfrm>
            <a:custGeom>
              <a:avLst/>
              <a:gdLst>
                <a:gd name="T0" fmla="*/ 0 w 14"/>
                <a:gd name="T1" fmla="*/ 2147483647 h 4"/>
                <a:gd name="T2" fmla="*/ 2147483647 w 14"/>
                <a:gd name="T3" fmla="*/ 2147483647 h 4"/>
                <a:gd name="T4" fmla="*/ 2147483647 w 14"/>
                <a:gd name="T5" fmla="*/ 0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0 w 1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0" y="4"/>
                  </a:moveTo>
                  <a:lnTo>
                    <a:pt x="4" y="2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8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1" name="Freeform 113"/>
            <p:cNvSpPr>
              <a:spLocks/>
            </p:cNvSpPr>
            <p:nvPr/>
          </p:nvSpPr>
          <p:spPr bwMode="gray">
            <a:xfrm>
              <a:off x="1575" y="1519"/>
              <a:ext cx="64" cy="58"/>
            </a:xfrm>
            <a:custGeom>
              <a:avLst/>
              <a:gdLst>
                <a:gd name="T0" fmla="*/ 2147483647 w 49"/>
                <a:gd name="T1" fmla="*/ 2147483647 h 45"/>
                <a:gd name="T2" fmla="*/ 2147483647 w 49"/>
                <a:gd name="T3" fmla="*/ 2147483647 h 45"/>
                <a:gd name="T4" fmla="*/ 0 w 49"/>
                <a:gd name="T5" fmla="*/ 2147483647 h 45"/>
                <a:gd name="T6" fmla="*/ 2147483647 w 49"/>
                <a:gd name="T7" fmla="*/ 2147483647 h 45"/>
                <a:gd name="T8" fmla="*/ 0 w 49"/>
                <a:gd name="T9" fmla="*/ 2147483647 h 45"/>
                <a:gd name="T10" fmla="*/ 2147483647 w 49"/>
                <a:gd name="T11" fmla="*/ 2147483647 h 45"/>
                <a:gd name="T12" fmla="*/ 2147483647 w 49"/>
                <a:gd name="T13" fmla="*/ 2147483647 h 45"/>
                <a:gd name="T14" fmla="*/ 2147483647 w 49"/>
                <a:gd name="T15" fmla="*/ 2147483647 h 45"/>
                <a:gd name="T16" fmla="*/ 2147483647 w 49"/>
                <a:gd name="T17" fmla="*/ 2147483647 h 45"/>
                <a:gd name="T18" fmla="*/ 2147483647 w 49"/>
                <a:gd name="T19" fmla="*/ 2147483647 h 45"/>
                <a:gd name="T20" fmla="*/ 2147483647 w 49"/>
                <a:gd name="T21" fmla="*/ 2147483647 h 45"/>
                <a:gd name="T22" fmla="*/ 2147483647 w 49"/>
                <a:gd name="T23" fmla="*/ 0 h 45"/>
                <a:gd name="T24" fmla="*/ 2147483647 w 49"/>
                <a:gd name="T25" fmla="*/ 2147483647 h 45"/>
                <a:gd name="T26" fmla="*/ 2147483647 w 49"/>
                <a:gd name="T27" fmla="*/ 2147483647 h 45"/>
                <a:gd name="T28" fmla="*/ 2147483647 w 49"/>
                <a:gd name="T29" fmla="*/ 2147483647 h 45"/>
                <a:gd name="T30" fmla="*/ 2147483647 w 49"/>
                <a:gd name="T31" fmla="*/ 2147483647 h 45"/>
                <a:gd name="T32" fmla="*/ 2147483647 w 49"/>
                <a:gd name="T33" fmla="*/ 2147483647 h 45"/>
                <a:gd name="T34" fmla="*/ 2147483647 w 49"/>
                <a:gd name="T35" fmla="*/ 2147483647 h 45"/>
                <a:gd name="T36" fmla="*/ 2147483647 w 49"/>
                <a:gd name="T37" fmla="*/ 2147483647 h 45"/>
                <a:gd name="T38" fmla="*/ 2147483647 w 49"/>
                <a:gd name="T39" fmla="*/ 2147483647 h 45"/>
                <a:gd name="T40" fmla="*/ 2147483647 w 49"/>
                <a:gd name="T41" fmla="*/ 2147483647 h 45"/>
                <a:gd name="T42" fmla="*/ 2147483647 w 49"/>
                <a:gd name="T43" fmla="*/ 2147483647 h 45"/>
                <a:gd name="T44" fmla="*/ 2147483647 w 49"/>
                <a:gd name="T45" fmla="*/ 2147483647 h 45"/>
                <a:gd name="T46" fmla="*/ 2147483647 w 49"/>
                <a:gd name="T47" fmla="*/ 2147483647 h 45"/>
                <a:gd name="T48" fmla="*/ 2147483647 w 49"/>
                <a:gd name="T49" fmla="*/ 2147483647 h 4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5"/>
                <a:gd name="T77" fmla="*/ 49 w 49"/>
                <a:gd name="T78" fmla="*/ 45 h 4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5">
                  <a:moveTo>
                    <a:pt x="5" y="45"/>
                  </a:moveTo>
                  <a:lnTo>
                    <a:pt x="4" y="35"/>
                  </a:lnTo>
                  <a:lnTo>
                    <a:pt x="0" y="28"/>
                  </a:lnTo>
                  <a:lnTo>
                    <a:pt x="1" y="26"/>
                  </a:lnTo>
                  <a:lnTo>
                    <a:pt x="0" y="10"/>
                  </a:lnTo>
                  <a:lnTo>
                    <a:pt x="3" y="9"/>
                  </a:lnTo>
                  <a:lnTo>
                    <a:pt x="7" y="10"/>
                  </a:lnTo>
                  <a:lnTo>
                    <a:pt x="7" y="8"/>
                  </a:lnTo>
                  <a:lnTo>
                    <a:pt x="2" y="5"/>
                  </a:lnTo>
                  <a:lnTo>
                    <a:pt x="10" y="1"/>
                  </a:lnTo>
                  <a:lnTo>
                    <a:pt x="16" y="2"/>
                  </a:lnTo>
                  <a:lnTo>
                    <a:pt x="25" y="0"/>
                  </a:lnTo>
                  <a:lnTo>
                    <a:pt x="32" y="4"/>
                  </a:lnTo>
                  <a:lnTo>
                    <a:pt x="36" y="3"/>
                  </a:lnTo>
                  <a:lnTo>
                    <a:pt x="49" y="4"/>
                  </a:lnTo>
                  <a:lnTo>
                    <a:pt x="49" y="9"/>
                  </a:lnTo>
                  <a:lnTo>
                    <a:pt x="33" y="31"/>
                  </a:lnTo>
                  <a:lnTo>
                    <a:pt x="28" y="30"/>
                  </a:lnTo>
                  <a:lnTo>
                    <a:pt x="22" y="30"/>
                  </a:lnTo>
                  <a:lnTo>
                    <a:pt x="17" y="29"/>
                  </a:lnTo>
                  <a:lnTo>
                    <a:pt x="13" y="30"/>
                  </a:lnTo>
                  <a:lnTo>
                    <a:pt x="19" y="36"/>
                  </a:lnTo>
                  <a:lnTo>
                    <a:pt x="13" y="45"/>
                  </a:lnTo>
                  <a:lnTo>
                    <a:pt x="8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2" name="Freeform 114"/>
            <p:cNvSpPr>
              <a:spLocks/>
            </p:cNvSpPr>
            <p:nvPr/>
          </p:nvSpPr>
          <p:spPr bwMode="gray">
            <a:xfrm>
              <a:off x="1559" y="1443"/>
              <a:ext cx="212" cy="68"/>
            </a:xfrm>
            <a:custGeom>
              <a:avLst/>
              <a:gdLst>
                <a:gd name="T0" fmla="*/ 2147483647 w 163"/>
                <a:gd name="T1" fmla="*/ 2147483647 h 52"/>
                <a:gd name="T2" fmla="*/ 2147483647 w 163"/>
                <a:gd name="T3" fmla="*/ 2147483647 h 52"/>
                <a:gd name="T4" fmla="*/ 2147483647 w 163"/>
                <a:gd name="T5" fmla="*/ 2147483647 h 52"/>
                <a:gd name="T6" fmla="*/ 2147483647 w 163"/>
                <a:gd name="T7" fmla="*/ 2147483647 h 52"/>
                <a:gd name="T8" fmla="*/ 2147483647 w 163"/>
                <a:gd name="T9" fmla="*/ 2147483647 h 52"/>
                <a:gd name="T10" fmla="*/ 2147483647 w 163"/>
                <a:gd name="T11" fmla="*/ 2147483647 h 52"/>
                <a:gd name="T12" fmla="*/ 2147483647 w 163"/>
                <a:gd name="T13" fmla="*/ 2147483647 h 52"/>
                <a:gd name="T14" fmla="*/ 2147483647 w 163"/>
                <a:gd name="T15" fmla="*/ 2147483647 h 52"/>
                <a:gd name="T16" fmla="*/ 2147483647 w 163"/>
                <a:gd name="T17" fmla="*/ 2147483647 h 52"/>
                <a:gd name="T18" fmla="*/ 2147483647 w 163"/>
                <a:gd name="T19" fmla="*/ 2147483647 h 52"/>
                <a:gd name="T20" fmla="*/ 2147483647 w 163"/>
                <a:gd name="T21" fmla="*/ 2147483647 h 52"/>
                <a:gd name="T22" fmla="*/ 2147483647 w 163"/>
                <a:gd name="T23" fmla="*/ 2147483647 h 52"/>
                <a:gd name="T24" fmla="*/ 2147483647 w 163"/>
                <a:gd name="T25" fmla="*/ 2147483647 h 52"/>
                <a:gd name="T26" fmla="*/ 2147483647 w 163"/>
                <a:gd name="T27" fmla="*/ 2147483647 h 52"/>
                <a:gd name="T28" fmla="*/ 2147483647 w 163"/>
                <a:gd name="T29" fmla="*/ 2147483647 h 52"/>
                <a:gd name="T30" fmla="*/ 2147483647 w 163"/>
                <a:gd name="T31" fmla="*/ 2147483647 h 52"/>
                <a:gd name="T32" fmla="*/ 2147483647 w 163"/>
                <a:gd name="T33" fmla="*/ 2147483647 h 52"/>
                <a:gd name="T34" fmla="*/ 2147483647 w 163"/>
                <a:gd name="T35" fmla="*/ 2147483647 h 52"/>
                <a:gd name="T36" fmla="*/ 2147483647 w 163"/>
                <a:gd name="T37" fmla="*/ 2147483647 h 52"/>
                <a:gd name="T38" fmla="*/ 2147483647 w 163"/>
                <a:gd name="T39" fmla="*/ 2147483647 h 52"/>
                <a:gd name="T40" fmla="*/ 2147483647 w 163"/>
                <a:gd name="T41" fmla="*/ 2147483647 h 52"/>
                <a:gd name="T42" fmla="*/ 2147483647 w 163"/>
                <a:gd name="T43" fmla="*/ 2147483647 h 52"/>
                <a:gd name="T44" fmla="*/ 2147483647 w 163"/>
                <a:gd name="T45" fmla="*/ 2147483647 h 52"/>
                <a:gd name="T46" fmla="*/ 2147483647 w 163"/>
                <a:gd name="T47" fmla="*/ 2147483647 h 52"/>
                <a:gd name="T48" fmla="*/ 2147483647 w 163"/>
                <a:gd name="T49" fmla="*/ 2147483647 h 52"/>
                <a:gd name="T50" fmla="*/ 0 w 163"/>
                <a:gd name="T51" fmla="*/ 2147483647 h 52"/>
                <a:gd name="T52" fmla="*/ 2147483647 w 163"/>
                <a:gd name="T53" fmla="*/ 0 h 52"/>
                <a:gd name="T54" fmla="*/ 2147483647 w 163"/>
                <a:gd name="T55" fmla="*/ 2147483647 h 52"/>
                <a:gd name="T56" fmla="*/ 2147483647 w 163"/>
                <a:gd name="T57" fmla="*/ 2147483647 h 52"/>
                <a:gd name="T58" fmla="*/ 2147483647 w 163"/>
                <a:gd name="T59" fmla="*/ 2147483647 h 52"/>
                <a:gd name="T60" fmla="*/ 2147483647 w 163"/>
                <a:gd name="T61" fmla="*/ 2147483647 h 52"/>
                <a:gd name="T62" fmla="*/ 2147483647 w 163"/>
                <a:gd name="T63" fmla="*/ 2147483647 h 52"/>
                <a:gd name="T64" fmla="*/ 2147483647 w 163"/>
                <a:gd name="T65" fmla="*/ 2147483647 h 52"/>
                <a:gd name="T66" fmla="*/ 2147483647 w 163"/>
                <a:gd name="T67" fmla="*/ 2147483647 h 52"/>
                <a:gd name="T68" fmla="*/ 2147483647 w 163"/>
                <a:gd name="T69" fmla="*/ 2147483647 h 52"/>
                <a:gd name="T70" fmla="*/ 2147483647 w 163"/>
                <a:gd name="T71" fmla="*/ 2147483647 h 52"/>
                <a:gd name="T72" fmla="*/ 2147483647 w 163"/>
                <a:gd name="T73" fmla="*/ 2147483647 h 52"/>
                <a:gd name="T74" fmla="*/ 2147483647 w 163"/>
                <a:gd name="T75" fmla="*/ 2147483647 h 52"/>
                <a:gd name="T76" fmla="*/ 2147483647 w 163"/>
                <a:gd name="T77" fmla="*/ 2147483647 h 52"/>
                <a:gd name="T78" fmla="*/ 2147483647 w 163"/>
                <a:gd name="T79" fmla="*/ 2147483647 h 52"/>
                <a:gd name="T80" fmla="*/ 2147483647 w 163"/>
                <a:gd name="T81" fmla="*/ 2147483647 h 52"/>
                <a:gd name="T82" fmla="*/ 2147483647 w 163"/>
                <a:gd name="T83" fmla="*/ 2147483647 h 52"/>
                <a:gd name="T84" fmla="*/ 2147483647 w 163"/>
                <a:gd name="T85" fmla="*/ 2147483647 h 52"/>
                <a:gd name="T86" fmla="*/ 2147483647 w 163"/>
                <a:gd name="T87" fmla="*/ 2147483647 h 52"/>
                <a:gd name="T88" fmla="*/ 2147483647 w 163"/>
                <a:gd name="T89" fmla="*/ 2147483647 h 52"/>
                <a:gd name="T90" fmla="*/ 2147483647 w 163"/>
                <a:gd name="T91" fmla="*/ 2147483647 h 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3"/>
                <a:gd name="T139" fmla="*/ 0 h 52"/>
                <a:gd name="T140" fmla="*/ 163 w 163"/>
                <a:gd name="T141" fmla="*/ 52 h 5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3" h="52">
                  <a:moveTo>
                    <a:pt x="111" y="29"/>
                  </a:moveTo>
                  <a:lnTo>
                    <a:pt x="115" y="27"/>
                  </a:lnTo>
                  <a:lnTo>
                    <a:pt x="126" y="22"/>
                  </a:lnTo>
                  <a:lnTo>
                    <a:pt x="129" y="24"/>
                  </a:lnTo>
                  <a:lnTo>
                    <a:pt x="134" y="23"/>
                  </a:lnTo>
                  <a:lnTo>
                    <a:pt x="143" y="23"/>
                  </a:lnTo>
                  <a:lnTo>
                    <a:pt x="149" y="25"/>
                  </a:lnTo>
                  <a:lnTo>
                    <a:pt x="150" y="27"/>
                  </a:lnTo>
                  <a:lnTo>
                    <a:pt x="157" y="26"/>
                  </a:lnTo>
                  <a:lnTo>
                    <a:pt x="161" y="29"/>
                  </a:lnTo>
                  <a:lnTo>
                    <a:pt x="161" y="33"/>
                  </a:lnTo>
                  <a:lnTo>
                    <a:pt x="156" y="35"/>
                  </a:lnTo>
                  <a:lnTo>
                    <a:pt x="155" y="37"/>
                  </a:lnTo>
                  <a:lnTo>
                    <a:pt x="162" y="38"/>
                  </a:lnTo>
                  <a:lnTo>
                    <a:pt x="163" y="42"/>
                  </a:lnTo>
                  <a:lnTo>
                    <a:pt x="158" y="43"/>
                  </a:lnTo>
                  <a:lnTo>
                    <a:pt x="155" y="40"/>
                  </a:lnTo>
                  <a:lnTo>
                    <a:pt x="152" y="42"/>
                  </a:lnTo>
                  <a:lnTo>
                    <a:pt x="155" y="46"/>
                  </a:lnTo>
                  <a:lnTo>
                    <a:pt x="152" y="49"/>
                  </a:lnTo>
                  <a:lnTo>
                    <a:pt x="145" y="48"/>
                  </a:lnTo>
                  <a:lnTo>
                    <a:pt x="142" y="52"/>
                  </a:lnTo>
                  <a:lnTo>
                    <a:pt x="132" y="49"/>
                  </a:lnTo>
                  <a:lnTo>
                    <a:pt x="130" y="42"/>
                  </a:lnTo>
                  <a:lnTo>
                    <a:pt x="126" y="42"/>
                  </a:lnTo>
                  <a:lnTo>
                    <a:pt x="123" y="50"/>
                  </a:lnTo>
                  <a:lnTo>
                    <a:pt x="115" y="49"/>
                  </a:lnTo>
                  <a:lnTo>
                    <a:pt x="113" y="45"/>
                  </a:lnTo>
                  <a:lnTo>
                    <a:pt x="109" y="44"/>
                  </a:lnTo>
                  <a:lnTo>
                    <a:pt x="108" y="48"/>
                  </a:lnTo>
                  <a:lnTo>
                    <a:pt x="99" y="50"/>
                  </a:lnTo>
                  <a:lnTo>
                    <a:pt x="80" y="50"/>
                  </a:lnTo>
                  <a:lnTo>
                    <a:pt x="82" y="46"/>
                  </a:lnTo>
                  <a:lnTo>
                    <a:pt x="78" y="43"/>
                  </a:lnTo>
                  <a:lnTo>
                    <a:pt x="68" y="48"/>
                  </a:lnTo>
                  <a:lnTo>
                    <a:pt x="59" y="44"/>
                  </a:lnTo>
                  <a:lnTo>
                    <a:pt x="51" y="46"/>
                  </a:lnTo>
                  <a:lnTo>
                    <a:pt x="47" y="44"/>
                  </a:lnTo>
                  <a:lnTo>
                    <a:pt x="46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8" y="26"/>
                  </a:lnTo>
                  <a:lnTo>
                    <a:pt x="42" y="23"/>
                  </a:lnTo>
                  <a:lnTo>
                    <a:pt x="38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18" y="15"/>
                  </a:lnTo>
                  <a:lnTo>
                    <a:pt x="16" y="12"/>
                  </a:lnTo>
                  <a:lnTo>
                    <a:pt x="11" y="11"/>
                  </a:lnTo>
                  <a:lnTo>
                    <a:pt x="8" y="8"/>
                  </a:lnTo>
                  <a:lnTo>
                    <a:pt x="0" y="4"/>
                  </a:lnTo>
                  <a:lnTo>
                    <a:pt x="5" y="0"/>
                  </a:lnTo>
                  <a:lnTo>
                    <a:pt x="13" y="0"/>
                  </a:lnTo>
                  <a:lnTo>
                    <a:pt x="25" y="2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42" y="8"/>
                  </a:lnTo>
                  <a:lnTo>
                    <a:pt x="50" y="9"/>
                  </a:lnTo>
                  <a:lnTo>
                    <a:pt x="55" y="6"/>
                  </a:lnTo>
                  <a:lnTo>
                    <a:pt x="60" y="8"/>
                  </a:lnTo>
                  <a:lnTo>
                    <a:pt x="61" y="10"/>
                  </a:lnTo>
                  <a:lnTo>
                    <a:pt x="55" y="10"/>
                  </a:lnTo>
                  <a:lnTo>
                    <a:pt x="52" y="11"/>
                  </a:lnTo>
                  <a:lnTo>
                    <a:pt x="55" y="13"/>
                  </a:lnTo>
                  <a:lnTo>
                    <a:pt x="60" y="12"/>
                  </a:lnTo>
                  <a:lnTo>
                    <a:pt x="64" y="14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57" y="19"/>
                  </a:lnTo>
                  <a:lnTo>
                    <a:pt x="53" y="23"/>
                  </a:lnTo>
                  <a:lnTo>
                    <a:pt x="56" y="24"/>
                  </a:lnTo>
                  <a:lnTo>
                    <a:pt x="63" y="22"/>
                  </a:lnTo>
                  <a:lnTo>
                    <a:pt x="68" y="22"/>
                  </a:lnTo>
                  <a:lnTo>
                    <a:pt x="69" y="27"/>
                  </a:lnTo>
                  <a:lnTo>
                    <a:pt x="73" y="30"/>
                  </a:lnTo>
                  <a:lnTo>
                    <a:pt x="77" y="31"/>
                  </a:lnTo>
                  <a:lnTo>
                    <a:pt x="76" y="26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90" y="30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95" y="30"/>
                  </a:lnTo>
                  <a:lnTo>
                    <a:pt x="100" y="32"/>
                  </a:lnTo>
                  <a:lnTo>
                    <a:pt x="103" y="31"/>
                  </a:lnTo>
                  <a:lnTo>
                    <a:pt x="101" y="28"/>
                  </a:lnTo>
                  <a:lnTo>
                    <a:pt x="111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3" name="Freeform 115"/>
            <p:cNvSpPr>
              <a:spLocks/>
            </p:cNvSpPr>
            <p:nvPr/>
          </p:nvSpPr>
          <p:spPr bwMode="gray">
            <a:xfrm>
              <a:off x="1569" y="1310"/>
              <a:ext cx="137" cy="104"/>
            </a:xfrm>
            <a:custGeom>
              <a:avLst/>
              <a:gdLst>
                <a:gd name="T0" fmla="*/ 2147483647 w 105"/>
                <a:gd name="T1" fmla="*/ 2147483647 h 80"/>
                <a:gd name="T2" fmla="*/ 2147483647 w 105"/>
                <a:gd name="T3" fmla="*/ 2147483647 h 80"/>
                <a:gd name="T4" fmla="*/ 2147483647 w 105"/>
                <a:gd name="T5" fmla="*/ 2147483647 h 80"/>
                <a:gd name="T6" fmla="*/ 2147483647 w 105"/>
                <a:gd name="T7" fmla="*/ 2147483647 h 80"/>
                <a:gd name="T8" fmla="*/ 2147483647 w 105"/>
                <a:gd name="T9" fmla="*/ 2147483647 h 80"/>
                <a:gd name="T10" fmla="*/ 2147483647 w 105"/>
                <a:gd name="T11" fmla="*/ 2147483647 h 80"/>
                <a:gd name="T12" fmla="*/ 2147483647 w 105"/>
                <a:gd name="T13" fmla="*/ 2147483647 h 80"/>
                <a:gd name="T14" fmla="*/ 2147483647 w 105"/>
                <a:gd name="T15" fmla="*/ 2147483647 h 80"/>
                <a:gd name="T16" fmla="*/ 2147483647 w 105"/>
                <a:gd name="T17" fmla="*/ 2147483647 h 80"/>
                <a:gd name="T18" fmla="*/ 2147483647 w 105"/>
                <a:gd name="T19" fmla="*/ 2147483647 h 80"/>
                <a:gd name="T20" fmla="*/ 2147483647 w 105"/>
                <a:gd name="T21" fmla="*/ 2147483647 h 80"/>
                <a:gd name="T22" fmla="*/ 2147483647 w 105"/>
                <a:gd name="T23" fmla="*/ 2147483647 h 80"/>
                <a:gd name="T24" fmla="*/ 2147483647 w 105"/>
                <a:gd name="T25" fmla="*/ 2147483647 h 80"/>
                <a:gd name="T26" fmla="*/ 2147483647 w 105"/>
                <a:gd name="T27" fmla="*/ 2147483647 h 80"/>
                <a:gd name="T28" fmla="*/ 2147483647 w 105"/>
                <a:gd name="T29" fmla="*/ 2147483647 h 80"/>
                <a:gd name="T30" fmla="*/ 2147483647 w 105"/>
                <a:gd name="T31" fmla="*/ 2147483647 h 80"/>
                <a:gd name="T32" fmla="*/ 2147483647 w 105"/>
                <a:gd name="T33" fmla="*/ 2147483647 h 80"/>
                <a:gd name="T34" fmla="*/ 2147483647 w 105"/>
                <a:gd name="T35" fmla="*/ 2147483647 h 80"/>
                <a:gd name="T36" fmla="*/ 2147483647 w 105"/>
                <a:gd name="T37" fmla="*/ 2147483647 h 80"/>
                <a:gd name="T38" fmla="*/ 2147483647 w 105"/>
                <a:gd name="T39" fmla="*/ 2147483647 h 80"/>
                <a:gd name="T40" fmla="*/ 2147483647 w 105"/>
                <a:gd name="T41" fmla="*/ 2147483647 h 80"/>
                <a:gd name="T42" fmla="*/ 2147483647 w 105"/>
                <a:gd name="T43" fmla="*/ 2147483647 h 80"/>
                <a:gd name="T44" fmla="*/ 2147483647 w 105"/>
                <a:gd name="T45" fmla="*/ 2147483647 h 80"/>
                <a:gd name="T46" fmla="*/ 2147483647 w 105"/>
                <a:gd name="T47" fmla="*/ 2147483647 h 80"/>
                <a:gd name="T48" fmla="*/ 2147483647 w 105"/>
                <a:gd name="T49" fmla="*/ 2147483647 h 80"/>
                <a:gd name="T50" fmla="*/ 2147483647 w 105"/>
                <a:gd name="T51" fmla="*/ 2147483647 h 80"/>
                <a:gd name="T52" fmla="*/ 2147483647 w 105"/>
                <a:gd name="T53" fmla="*/ 2147483647 h 80"/>
                <a:gd name="T54" fmla="*/ 2147483647 w 105"/>
                <a:gd name="T55" fmla="*/ 2147483647 h 80"/>
                <a:gd name="T56" fmla="*/ 2147483647 w 105"/>
                <a:gd name="T57" fmla="*/ 2147483647 h 80"/>
                <a:gd name="T58" fmla="*/ 2147483647 w 105"/>
                <a:gd name="T59" fmla="*/ 2147483647 h 80"/>
                <a:gd name="T60" fmla="*/ 2147483647 w 105"/>
                <a:gd name="T61" fmla="*/ 2147483647 h 80"/>
                <a:gd name="T62" fmla="*/ 2147483647 w 105"/>
                <a:gd name="T63" fmla="*/ 2147483647 h 80"/>
                <a:gd name="T64" fmla="*/ 2147483647 w 105"/>
                <a:gd name="T65" fmla="*/ 2147483647 h 80"/>
                <a:gd name="T66" fmla="*/ 2147483647 w 105"/>
                <a:gd name="T67" fmla="*/ 2147483647 h 80"/>
                <a:gd name="T68" fmla="*/ 2147483647 w 105"/>
                <a:gd name="T69" fmla="*/ 2147483647 h 80"/>
                <a:gd name="T70" fmla="*/ 2147483647 w 105"/>
                <a:gd name="T71" fmla="*/ 2147483647 h 80"/>
                <a:gd name="T72" fmla="*/ 2147483647 w 105"/>
                <a:gd name="T73" fmla="*/ 2147483647 h 80"/>
                <a:gd name="T74" fmla="*/ 2147483647 w 105"/>
                <a:gd name="T75" fmla="*/ 2147483647 h 80"/>
                <a:gd name="T76" fmla="*/ 2147483647 w 105"/>
                <a:gd name="T77" fmla="*/ 2147483647 h 80"/>
                <a:gd name="T78" fmla="*/ 2147483647 w 105"/>
                <a:gd name="T79" fmla="*/ 2147483647 h 80"/>
                <a:gd name="T80" fmla="*/ 2147483647 w 105"/>
                <a:gd name="T81" fmla="*/ 2147483647 h 80"/>
                <a:gd name="T82" fmla="*/ 2147483647 w 105"/>
                <a:gd name="T83" fmla="*/ 2147483647 h 80"/>
                <a:gd name="T84" fmla="*/ 2147483647 w 105"/>
                <a:gd name="T85" fmla="*/ 2147483647 h 80"/>
                <a:gd name="T86" fmla="*/ 2147483647 w 105"/>
                <a:gd name="T87" fmla="*/ 2147483647 h 80"/>
                <a:gd name="T88" fmla="*/ 2147483647 w 105"/>
                <a:gd name="T89" fmla="*/ 0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5"/>
                <a:gd name="T136" fmla="*/ 0 h 80"/>
                <a:gd name="T137" fmla="*/ 105 w 105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5" h="80">
                  <a:moveTo>
                    <a:pt x="31" y="0"/>
                  </a:moveTo>
                  <a:lnTo>
                    <a:pt x="39" y="2"/>
                  </a:lnTo>
                  <a:lnTo>
                    <a:pt x="46" y="6"/>
                  </a:lnTo>
                  <a:lnTo>
                    <a:pt x="47" y="10"/>
                  </a:lnTo>
                  <a:lnTo>
                    <a:pt x="50" y="15"/>
                  </a:lnTo>
                  <a:lnTo>
                    <a:pt x="56" y="21"/>
                  </a:lnTo>
                  <a:lnTo>
                    <a:pt x="67" y="24"/>
                  </a:lnTo>
                  <a:lnTo>
                    <a:pt x="67" y="29"/>
                  </a:lnTo>
                  <a:lnTo>
                    <a:pt x="69" y="33"/>
                  </a:lnTo>
                  <a:lnTo>
                    <a:pt x="75" y="36"/>
                  </a:lnTo>
                  <a:lnTo>
                    <a:pt x="77" y="33"/>
                  </a:lnTo>
                  <a:lnTo>
                    <a:pt x="71" y="30"/>
                  </a:lnTo>
                  <a:lnTo>
                    <a:pt x="74" y="26"/>
                  </a:lnTo>
                  <a:lnTo>
                    <a:pt x="82" y="27"/>
                  </a:lnTo>
                  <a:lnTo>
                    <a:pt x="83" y="32"/>
                  </a:lnTo>
                  <a:lnTo>
                    <a:pt x="81" y="35"/>
                  </a:lnTo>
                  <a:lnTo>
                    <a:pt x="87" y="37"/>
                  </a:lnTo>
                  <a:lnTo>
                    <a:pt x="86" y="47"/>
                  </a:lnTo>
                  <a:lnTo>
                    <a:pt x="98" y="47"/>
                  </a:lnTo>
                  <a:lnTo>
                    <a:pt x="104" y="48"/>
                  </a:lnTo>
                  <a:lnTo>
                    <a:pt x="105" y="55"/>
                  </a:lnTo>
                  <a:lnTo>
                    <a:pt x="98" y="56"/>
                  </a:lnTo>
                  <a:lnTo>
                    <a:pt x="87" y="61"/>
                  </a:lnTo>
                  <a:lnTo>
                    <a:pt x="83" y="66"/>
                  </a:lnTo>
                  <a:lnTo>
                    <a:pt x="80" y="66"/>
                  </a:lnTo>
                  <a:lnTo>
                    <a:pt x="78" y="62"/>
                  </a:lnTo>
                  <a:lnTo>
                    <a:pt x="75" y="63"/>
                  </a:lnTo>
                  <a:lnTo>
                    <a:pt x="79" y="68"/>
                  </a:lnTo>
                  <a:lnTo>
                    <a:pt x="77" y="72"/>
                  </a:lnTo>
                  <a:lnTo>
                    <a:pt x="73" y="70"/>
                  </a:lnTo>
                  <a:lnTo>
                    <a:pt x="71" y="71"/>
                  </a:lnTo>
                  <a:lnTo>
                    <a:pt x="73" y="74"/>
                  </a:lnTo>
                  <a:lnTo>
                    <a:pt x="68" y="79"/>
                  </a:lnTo>
                  <a:lnTo>
                    <a:pt x="62" y="72"/>
                  </a:lnTo>
                  <a:lnTo>
                    <a:pt x="61" y="70"/>
                  </a:lnTo>
                  <a:lnTo>
                    <a:pt x="57" y="69"/>
                  </a:lnTo>
                  <a:lnTo>
                    <a:pt x="56" y="72"/>
                  </a:lnTo>
                  <a:lnTo>
                    <a:pt x="62" y="77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2" y="80"/>
                  </a:lnTo>
                  <a:lnTo>
                    <a:pt x="35" y="77"/>
                  </a:lnTo>
                  <a:lnTo>
                    <a:pt x="35" y="74"/>
                  </a:lnTo>
                  <a:lnTo>
                    <a:pt x="29" y="70"/>
                  </a:lnTo>
                  <a:lnTo>
                    <a:pt x="23" y="64"/>
                  </a:lnTo>
                  <a:lnTo>
                    <a:pt x="29" y="65"/>
                  </a:lnTo>
                  <a:lnTo>
                    <a:pt x="28" y="62"/>
                  </a:lnTo>
                  <a:lnTo>
                    <a:pt x="19" y="60"/>
                  </a:lnTo>
                  <a:lnTo>
                    <a:pt x="29" y="54"/>
                  </a:lnTo>
                  <a:lnTo>
                    <a:pt x="41" y="56"/>
                  </a:lnTo>
                  <a:lnTo>
                    <a:pt x="51" y="55"/>
                  </a:lnTo>
                  <a:lnTo>
                    <a:pt x="37" y="53"/>
                  </a:lnTo>
                  <a:lnTo>
                    <a:pt x="48" y="52"/>
                  </a:lnTo>
                  <a:lnTo>
                    <a:pt x="48" y="51"/>
                  </a:lnTo>
                  <a:lnTo>
                    <a:pt x="39" y="50"/>
                  </a:lnTo>
                  <a:lnTo>
                    <a:pt x="36" y="48"/>
                  </a:lnTo>
                  <a:lnTo>
                    <a:pt x="19" y="50"/>
                  </a:lnTo>
                  <a:lnTo>
                    <a:pt x="9" y="50"/>
                  </a:lnTo>
                  <a:lnTo>
                    <a:pt x="9" y="47"/>
                  </a:lnTo>
                  <a:lnTo>
                    <a:pt x="20" y="46"/>
                  </a:lnTo>
                  <a:lnTo>
                    <a:pt x="22" y="42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2" y="33"/>
                  </a:lnTo>
                  <a:lnTo>
                    <a:pt x="5" y="32"/>
                  </a:lnTo>
                  <a:lnTo>
                    <a:pt x="10" y="35"/>
                  </a:lnTo>
                  <a:lnTo>
                    <a:pt x="21" y="35"/>
                  </a:lnTo>
                  <a:lnTo>
                    <a:pt x="21" y="32"/>
                  </a:lnTo>
                  <a:lnTo>
                    <a:pt x="13" y="32"/>
                  </a:lnTo>
                  <a:lnTo>
                    <a:pt x="0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15" y="20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13" y="15"/>
                  </a:lnTo>
                  <a:lnTo>
                    <a:pt x="15" y="10"/>
                  </a:lnTo>
                  <a:lnTo>
                    <a:pt x="19" y="10"/>
                  </a:lnTo>
                  <a:lnTo>
                    <a:pt x="21" y="13"/>
                  </a:lnTo>
                  <a:lnTo>
                    <a:pt x="26" y="12"/>
                  </a:lnTo>
                  <a:lnTo>
                    <a:pt x="21" y="8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19" y="5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4" name="Freeform 116"/>
            <p:cNvSpPr>
              <a:spLocks/>
            </p:cNvSpPr>
            <p:nvPr/>
          </p:nvSpPr>
          <p:spPr bwMode="gray">
            <a:xfrm>
              <a:off x="1817" y="1657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0 w 3"/>
                <a:gd name="T5" fmla="*/ 2147483647 h 4"/>
                <a:gd name="T6" fmla="*/ 0 w 3"/>
                <a:gd name="T7" fmla="*/ 2147483647 h 4"/>
                <a:gd name="T8" fmla="*/ 2147483647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0"/>
                  </a:moveTo>
                  <a:lnTo>
                    <a:pt x="3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5" name="Freeform 117"/>
            <p:cNvSpPr>
              <a:spLocks/>
            </p:cNvSpPr>
            <p:nvPr/>
          </p:nvSpPr>
          <p:spPr bwMode="gray">
            <a:xfrm>
              <a:off x="1828" y="1670"/>
              <a:ext cx="11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0 h 4"/>
                <a:gd name="T6" fmla="*/ 2147483647 w 8"/>
                <a:gd name="T7" fmla="*/ 0 h 4"/>
                <a:gd name="T8" fmla="*/ 2147483647 w 8"/>
                <a:gd name="T9" fmla="*/ 2147483647 h 4"/>
                <a:gd name="T10" fmla="*/ 2147483647 w 8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3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8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6" name="Freeform 118"/>
            <p:cNvSpPr>
              <a:spLocks/>
            </p:cNvSpPr>
            <p:nvPr/>
          </p:nvSpPr>
          <p:spPr bwMode="gray">
            <a:xfrm>
              <a:off x="1901" y="1878"/>
              <a:ext cx="7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6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5" y="2"/>
                  </a:lnTo>
                  <a:lnTo>
                    <a:pt x="4" y="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7" name="Freeform 119"/>
            <p:cNvSpPr>
              <a:spLocks/>
            </p:cNvSpPr>
            <p:nvPr/>
          </p:nvSpPr>
          <p:spPr bwMode="gray">
            <a:xfrm>
              <a:off x="1852" y="1433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0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8" name="Freeform 120"/>
            <p:cNvSpPr>
              <a:spLocks/>
            </p:cNvSpPr>
            <p:nvPr/>
          </p:nvSpPr>
          <p:spPr bwMode="gray">
            <a:xfrm>
              <a:off x="1984" y="2183"/>
              <a:ext cx="13" cy="25"/>
            </a:xfrm>
            <a:custGeom>
              <a:avLst/>
              <a:gdLst>
                <a:gd name="T0" fmla="*/ 2147483647 w 10"/>
                <a:gd name="T1" fmla="*/ 2147483647 h 19"/>
                <a:gd name="T2" fmla="*/ 0 w 10"/>
                <a:gd name="T3" fmla="*/ 2147483647 h 19"/>
                <a:gd name="T4" fmla="*/ 2147483647 w 10"/>
                <a:gd name="T5" fmla="*/ 2147483647 h 19"/>
                <a:gd name="T6" fmla="*/ 2147483647 w 10"/>
                <a:gd name="T7" fmla="*/ 0 h 19"/>
                <a:gd name="T8" fmla="*/ 2147483647 w 10"/>
                <a:gd name="T9" fmla="*/ 2147483647 h 19"/>
                <a:gd name="T10" fmla="*/ 2147483647 w 10"/>
                <a:gd name="T11" fmla="*/ 2147483647 h 19"/>
                <a:gd name="T12" fmla="*/ 2147483647 w 10"/>
                <a:gd name="T13" fmla="*/ 2147483647 h 19"/>
                <a:gd name="T14" fmla="*/ 2147483647 w 10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9"/>
                <a:gd name="T26" fmla="*/ 10 w 1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9">
                  <a:moveTo>
                    <a:pt x="1" y="19"/>
                  </a:moveTo>
                  <a:lnTo>
                    <a:pt x="0" y="13"/>
                  </a:lnTo>
                  <a:lnTo>
                    <a:pt x="4" y="7"/>
                  </a:lnTo>
                  <a:lnTo>
                    <a:pt x="6" y="0"/>
                  </a:lnTo>
                  <a:lnTo>
                    <a:pt x="10" y="1"/>
                  </a:lnTo>
                  <a:lnTo>
                    <a:pt x="9" y="8"/>
                  </a:lnTo>
                  <a:lnTo>
                    <a:pt x="4" y="15"/>
                  </a:lnTo>
                  <a:lnTo>
                    <a:pt x="1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29" name="Freeform 121"/>
            <p:cNvSpPr>
              <a:spLocks/>
            </p:cNvSpPr>
            <p:nvPr/>
          </p:nvSpPr>
          <p:spPr bwMode="gray">
            <a:xfrm>
              <a:off x="1991" y="2200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0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0" y="8"/>
                  </a:moveTo>
                  <a:lnTo>
                    <a:pt x="1" y="5"/>
                  </a:lnTo>
                  <a:lnTo>
                    <a:pt x="3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0" name="Freeform 122"/>
            <p:cNvSpPr>
              <a:spLocks/>
            </p:cNvSpPr>
            <p:nvPr/>
          </p:nvSpPr>
          <p:spPr bwMode="gray">
            <a:xfrm>
              <a:off x="1948" y="2185"/>
              <a:ext cx="26" cy="18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2147483647 h 14"/>
                <a:gd name="T6" fmla="*/ 0 w 20"/>
                <a:gd name="T7" fmla="*/ 2147483647 h 14"/>
                <a:gd name="T8" fmla="*/ 0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8"/>
                  </a:moveTo>
                  <a:lnTo>
                    <a:pt x="18" y="14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7" y="9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1" name="Freeform 123"/>
            <p:cNvSpPr>
              <a:spLocks/>
            </p:cNvSpPr>
            <p:nvPr/>
          </p:nvSpPr>
          <p:spPr bwMode="gray">
            <a:xfrm>
              <a:off x="1977" y="2170"/>
              <a:ext cx="9" cy="10"/>
            </a:xfrm>
            <a:custGeom>
              <a:avLst/>
              <a:gdLst>
                <a:gd name="T0" fmla="*/ 0 w 7"/>
                <a:gd name="T1" fmla="*/ 2147483647 h 7"/>
                <a:gd name="T2" fmla="*/ 2147483647 w 7"/>
                <a:gd name="T3" fmla="*/ 2147483647 h 7"/>
                <a:gd name="T4" fmla="*/ 2147483647 w 7"/>
                <a:gd name="T5" fmla="*/ 0 h 7"/>
                <a:gd name="T6" fmla="*/ 2147483647 w 7"/>
                <a:gd name="T7" fmla="*/ 0 h 7"/>
                <a:gd name="T8" fmla="*/ 2147483647 w 7"/>
                <a:gd name="T9" fmla="*/ 2147483647 h 7"/>
                <a:gd name="T10" fmla="*/ 2147483647 w 7"/>
                <a:gd name="T11" fmla="*/ 2147483647 h 7"/>
                <a:gd name="T12" fmla="*/ 2147483647 w 7"/>
                <a:gd name="T13" fmla="*/ 2147483647 h 7"/>
                <a:gd name="T14" fmla="*/ 0 w 7"/>
                <a:gd name="T15" fmla="*/ 2147483647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0" y="7"/>
                  </a:moveTo>
                  <a:lnTo>
                    <a:pt x="2" y="3"/>
                  </a:lnTo>
                  <a:lnTo>
                    <a:pt x="4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2" name="Freeform 124"/>
            <p:cNvSpPr>
              <a:spLocks/>
            </p:cNvSpPr>
            <p:nvPr/>
          </p:nvSpPr>
          <p:spPr bwMode="gray">
            <a:xfrm>
              <a:off x="1954" y="2126"/>
              <a:ext cx="28" cy="20"/>
            </a:xfrm>
            <a:custGeom>
              <a:avLst/>
              <a:gdLst>
                <a:gd name="T0" fmla="*/ 0 w 22"/>
                <a:gd name="T1" fmla="*/ 2147483647 h 15"/>
                <a:gd name="T2" fmla="*/ 2147483647 w 22"/>
                <a:gd name="T3" fmla="*/ 0 h 15"/>
                <a:gd name="T4" fmla="*/ 2147483647 w 22"/>
                <a:gd name="T5" fmla="*/ 2147483647 h 15"/>
                <a:gd name="T6" fmla="*/ 2147483647 w 22"/>
                <a:gd name="T7" fmla="*/ 2147483647 h 15"/>
                <a:gd name="T8" fmla="*/ 2147483647 w 22"/>
                <a:gd name="T9" fmla="*/ 2147483647 h 15"/>
                <a:gd name="T10" fmla="*/ 2147483647 w 22"/>
                <a:gd name="T11" fmla="*/ 2147483647 h 15"/>
                <a:gd name="T12" fmla="*/ 2147483647 w 22"/>
                <a:gd name="T13" fmla="*/ 2147483647 h 15"/>
                <a:gd name="T14" fmla="*/ 0 w 22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5"/>
                <a:gd name="T26" fmla="*/ 22 w 22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5">
                  <a:moveTo>
                    <a:pt x="0" y="4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22" y="12"/>
                  </a:lnTo>
                  <a:lnTo>
                    <a:pt x="20" y="15"/>
                  </a:lnTo>
                  <a:lnTo>
                    <a:pt x="10" y="14"/>
                  </a:lnTo>
                  <a:lnTo>
                    <a:pt x="3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3" name="Freeform 125"/>
            <p:cNvSpPr>
              <a:spLocks/>
            </p:cNvSpPr>
            <p:nvPr/>
          </p:nvSpPr>
          <p:spPr bwMode="gray">
            <a:xfrm>
              <a:off x="1645" y="1528"/>
              <a:ext cx="340" cy="315"/>
            </a:xfrm>
            <a:custGeom>
              <a:avLst/>
              <a:gdLst>
                <a:gd name="T0" fmla="*/ 2147483647 w 261"/>
                <a:gd name="T1" fmla="*/ 2147483647 h 242"/>
                <a:gd name="T2" fmla="*/ 2147483647 w 261"/>
                <a:gd name="T3" fmla="*/ 2147483647 h 242"/>
                <a:gd name="T4" fmla="*/ 2147483647 w 261"/>
                <a:gd name="T5" fmla="*/ 2147483647 h 242"/>
                <a:gd name="T6" fmla="*/ 2147483647 w 261"/>
                <a:gd name="T7" fmla="*/ 2147483647 h 242"/>
                <a:gd name="T8" fmla="*/ 2147483647 w 261"/>
                <a:gd name="T9" fmla="*/ 2147483647 h 242"/>
                <a:gd name="T10" fmla="*/ 2147483647 w 261"/>
                <a:gd name="T11" fmla="*/ 2147483647 h 242"/>
                <a:gd name="T12" fmla="*/ 2147483647 w 261"/>
                <a:gd name="T13" fmla="*/ 2147483647 h 242"/>
                <a:gd name="T14" fmla="*/ 2147483647 w 261"/>
                <a:gd name="T15" fmla="*/ 2147483647 h 242"/>
                <a:gd name="T16" fmla="*/ 2147483647 w 261"/>
                <a:gd name="T17" fmla="*/ 2147483647 h 242"/>
                <a:gd name="T18" fmla="*/ 2147483647 w 261"/>
                <a:gd name="T19" fmla="*/ 2147483647 h 242"/>
                <a:gd name="T20" fmla="*/ 2147483647 w 261"/>
                <a:gd name="T21" fmla="*/ 2147483647 h 242"/>
                <a:gd name="T22" fmla="*/ 2147483647 w 261"/>
                <a:gd name="T23" fmla="*/ 2147483647 h 242"/>
                <a:gd name="T24" fmla="*/ 2147483647 w 261"/>
                <a:gd name="T25" fmla="*/ 2147483647 h 242"/>
                <a:gd name="T26" fmla="*/ 2147483647 w 261"/>
                <a:gd name="T27" fmla="*/ 2147483647 h 242"/>
                <a:gd name="T28" fmla="*/ 2147483647 w 261"/>
                <a:gd name="T29" fmla="*/ 2147483647 h 242"/>
                <a:gd name="T30" fmla="*/ 2147483647 w 261"/>
                <a:gd name="T31" fmla="*/ 2147483647 h 242"/>
                <a:gd name="T32" fmla="*/ 2147483647 w 261"/>
                <a:gd name="T33" fmla="*/ 2147483647 h 242"/>
                <a:gd name="T34" fmla="*/ 2147483647 w 261"/>
                <a:gd name="T35" fmla="*/ 2147483647 h 242"/>
                <a:gd name="T36" fmla="*/ 2147483647 w 261"/>
                <a:gd name="T37" fmla="*/ 2147483647 h 242"/>
                <a:gd name="T38" fmla="*/ 2147483647 w 261"/>
                <a:gd name="T39" fmla="*/ 2147483647 h 242"/>
                <a:gd name="T40" fmla="*/ 2147483647 w 261"/>
                <a:gd name="T41" fmla="*/ 2147483647 h 242"/>
                <a:gd name="T42" fmla="*/ 2147483647 w 261"/>
                <a:gd name="T43" fmla="*/ 2147483647 h 242"/>
                <a:gd name="T44" fmla="*/ 2147483647 w 261"/>
                <a:gd name="T45" fmla="*/ 2147483647 h 242"/>
                <a:gd name="T46" fmla="*/ 2147483647 w 261"/>
                <a:gd name="T47" fmla="*/ 2147483647 h 242"/>
                <a:gd name="T48" fmla="*/ 2147483647 w 261"/>
                <a:gd name="T49" fmla="*/ 2147483647 h 242"/>
                <a:gd name="T50" fmla="*/ 2147483647 w 261"/>
                <a:gd name="T51" fmla="*/ 2147483647 h 242"/>
                <a:gd name="T52" fmla="*/ 2147483647 w 261"/>
                <a:gd name="T53" fmla="*/ 2147483647 h 242"/>
                <a:gd name="T54" fmla="*/ 2147483647 w 261"/>
                <a:gd name="T55" fmla="*/ 2147483647 h 242"/>
                <a:gd name="T56" fmla="*/ 2147483647 w 261"/>
                <a:gd name="T57" fmla="*/ 2147483647 h 242"/>
                <a:gd name="T58" fmla="*/ 2147483647 w 261"/>
                <a:gd name="T59" fmla="*/ 2147483647 h 242"/>
                <a:gd name="T60" fmla="*/ 2147483647 w 261"/>
                <a:gd name="T61" fmla="*/ 2147483647 h 242"/>
                <a:gd name="T62" fmla="*/ 2147483647 w 261"/>
                <a:gd name="T63" fmla="*/ 2147483647 h 242"/>
                <a:gd name="T64" fmla="*/ 2147483647 w 261"/>
                <a:gd name="T65" fmla="*/ 2147483647 h 242"/>
                <a:gd name="T66" fmla="*/ 2147483647 w 261"/>
                <a:gd name="T67" fmla="*/ 2147483647 h 242"/>
                <a:gd name="T68" fmla="*/ 2147483647 w 261"/>
                <a:gd name="T69" fmla="*/ 2147483647 h 242"/>
                <a:gd name="T70" fmla="*/ 2147483647 w 261"/>
                <a:gd name="T71" fmla="*/ 2147483647 h 242"/>
                <a:gd name="T72" fmla="*/ 2147483647 w 261"/>
                <a:gd name="T73" fmla="*/ 2147483647 h 242"/>
                <a:gd name="T74" fmla="*/ 2147483647 w 261"/>
                <a:gd name="T75" fmla="*/ 2147483647 h 242"/>
                <a:gd name="T76" fmla="*/ 2147483647 w 261"/>
                <a:gd name="T77" fmla="*/ 2147483647 h 242"/>
                <a:gd name="T78" fmla="*/ 2147483647 w 261"/>
                <a:gd name="T79" fmla="*/ 2147483647 h 242"/>
                <a:gd name="T80" fmla="*/ 2147483647 w 261"/>
                <a:gd name="T81" fmla="*/ 2147483647 h 242"/>
                <a:gd name="T82" fmla="*/ 2147483647 w 261"/>
                <a:gd name="T83" fmla="*/ 2147483647 h 242"/>
                <a:gd name="T84" fmla="*/ 2147483647 w 261"/>
                <a:gd name="T85" fmla="*/ 2147483647 h 242"/>
                <a:gd name="T86" fmla="*/ 2147483647 w 261"/>
                <a:gd name="T87" fmla="*/ 2147483647 h 242"/>
                <a:gd name="T88" fmla="*/ 2147483647 w 261"/>
                <a:gd name="T89" fmla="*/ 2147483647 h 242"/>
                <a:gd name="T90" fmla="*/ 2147483647 w 261"/>
                <a:gd name="T91" fmla="*/ 2147483647 h 242"/>
                <a:gd name="T92" fmla="*/ 2147483647 w 261"/>
                <a:gd name="T93" fmla="*/ 2147483647 h 242"/>
                <a:gd name="T94" fmla="*/ 2147483647 w 261"/>
                <a:gd name="T95" fmla="*/ 2147483647 h 242"/>
                <a:gd name="T96" fmla="*/ 2147483647 w 261"/>
                <a:gd name="T97" fmla="*/ 2147483647 h 242"/>
                <a:gd name="T98" fmla="*/ 2147483647 w 261"/>
                <a:gd name="T99" fmla="*/ 2147483647 h 242"/>
                <a:gd name="T100" fmla="*/ 2147483647 w 261"/>
                <a:gd name="T101" fmla="*/ 2147483647 h 242"/>
                <a:gd name="T102" fmla="*/ 2147483647 w 261"/>
                <a:gd name="T103" fmla="*/ 2147483647 h 242"/>
                <a:gd name="T104" fmla="*/ 2147483647 w 261"/>
                <a:gd name="T105" fmla="*/ 2147483647 h 242"/>
                <a:gd name="T106" fmla="*/ 2147483647 w 261"/>
                <a:gd name="T107" fmla="*/ 2147483647 h 242"/>
                <a:gd name="T108" fmla="*/ 2147483647 w 261"/>
                <a:gd name="T109" fmla="*/ 0 h 2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1"/>
                <a:gd name="T166" fmla="*/ 0 h 242"/>
                <a:gd name="T167" fmla="*/ 261 w 261"/>
                <a:gd name="T168" fmla="*/ 242 h 2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1" h="242">
                  <a:moveTo>
                    <a:pt x="46" y="2"/>
                  </a:moveTo>
                  <a:lnTo>
                    <a:pt x="49" y="3"/>
                  </a:lnTo>
                  <a:lnTo>
                    <a:pt x="44" y="9"/>
                  </a:lnTo>
                  <a:lnTo>
                    <a:pt x="42" y="11"/>
                  </a:lnTo>
                  <a:lnTo>
                    <a:pt x="33" y="22"/>
                  </a:lnTo>
                  <a:lnTo>
                    <a:pt x="34" y="24"/>
                  </a:lnTo>
                  <a:lnTo>
                    <a:pt x="34" y="40"/>
                  </a:lnTo>
                  <a:lnTo>
                    <a:pt x="42" y="44"/>
                  </a:lnTo>
                  <a:lnTo>
                    <a:pt x="42" y="53"/>
                  </a:lnTo>
                  <a:lnTo>
                    <a:pt x="47" y="53"/>
                  </a:lnTo>
                  <a:lnTo>
                    <a:pt x="48" y="47"/>
                  </a:lnTo>
                  <a:lnTo>
                    <a:pt x="43" y="41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53" y="34"/>
                  </a:lnTo>
                  <a:lnTo>
                    <a:pt x="54" y="32"/>
                  </a:lnTo>
                  <a:lnTo>
                    <a:pt x="46" y="28"/>
                  </a:lnTo>
                  <a:lnTo>
                    <a:pt x="44" y="17"/>
                  </a:lnTo>
                  <a:lnTo>
                    <a:pt x="52" y="14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11"/>
                  </a:lnTo>
                  <a:lnTo>
                    <a:pt x="57" y="7"/>
                  </a:lnTo>
                  <a:lnTo>
                    <a:pt x="71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5" y="18"/>
                  </a:lnTo>
                  <a:lnTo>
                    <a:pt x="86" y="21"/>
                  </a:lnTo>
                  <a:lnTo>
                    <a:pt x="88" y="25"/>
                  </a:lnTo>
                  <a:lnTo>
                    <a:pt x="84" y="28"/>
                  </a:lnTo>
                  <a:lnTo>
                    <a:pt x="83" y="37"/>
                  </a:lnTo>
                  <a:lnTo>
                    <a:pt x="86" y="37"/>
                  </a:lnTo>
                  <a:lnTo>
                    <a:pt x="87" y="33"/>
                  </a:lnTo>
                  <a:lnTo>
                    <a:pt x="92" y="31"/>
                  </a:lnTo>
                  <a:lnTo>
                    <a:pt x="98" y="31"/>
                  </a:lnTo>
                  <a:lnTo>
                    <a:pt x="99" y="35"/>
                  </a:lnTo>
                  <a:lnTo>
                    <a:pt x="102" y="39"/>
                  </a:lnTo>
                  <a:lnTo>
                    <a:pt x="107" y="39"/>
                  </a:lnTo>
                  <a:lnTo>
                    <a:pt x="108" y="33"/>
                  </a:lnTo>
                  <a:lnTo>
                    <a:pt x="111" y="33"/>
                  </a:lnTo>
                  <a:lnTo>
                    <a:pt x="112" y="31"/>
                  </a:lnTo>
                  <a:lnTo>
                    <a:pt x="105" y="29"/>
                  </a:lnTo>
                  <a:lnTo>
                    <a:pt x="109" y="25"/>
                  </a:lnTo>
                  <a:lnTo>
                    <a:pt x="120" y="25"/>
                  </a:lnTo>
                  <a:lnTo>
                    <a:pt x="124" y="26"/>
                  </a:lnTo>
                  <a:lnTo>
                    <a:pt x="128" y="26"/>
                  </a:lnTo>
                  <a:lnTo>
                    <a:pt x="137" y="29"/>
                  </a:lnTo>
                  <a:lnTo>
                    <a:pt x="133" y="36"/>
                  </a:lnTo>
                  <a:lnTo>
                    <a:pt x="136" y="40"/>
                  </a:lnTo>
                  <a:lnTo>
                    <a:pt x="141" y="36"/>
                  </a:lnTo>
                  <a:lnTo>
                    <a:pt x="145" y="37"/>
                  </a:lnTo>
                  <a:lnTo>
                    <a:pt x="138" y="43"/>
                  </a:lnTo>
                  <a:lnTo>
                    <a:pt x="137" y="48"/>
                  </a:lnTo>
                  <a:lnTo>
                    <a:pt x="141" y="49"/>
                  </a:lnTo>
                  <a:lnTo>
                    <a:pt x="145" y="44"/>
                  </a:lnTo>
                  <a:lnTo>
                    <a:pt x="149" y="45"/>
                  </a:lnTo>
                  <a:lnTo>
                    <a:pt x="146" y="49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51"/>
                  </a:lnTo>
                  <a:lnTo>
                    <a:pt x="157" y="49"/>
                  </a:lnTo>
                  <a:lnTo>
                    <a:pt x="158" y="44"/>
                  </a:lnTo>
                  <a:lnTo>
                    <a:pt x="166" y="44"/>
                  </a:lnTo>
                  <a:lnTo>
                    <a:pt x="171" y="48"/>
                  </a:lnTo>
                  <a:lnTo>
                    <a:pt x="173" y="56"/>
                  </a:lnTo>
                  <a:lnTo>
                    <a:pt x="162" y="59"/>
                  </a:lnTo>
                  <a:lnTo>
                    <a:pt x="165" y="63"/>
                  </a:lnTo>
                  <a:lnTo>
                    <a:pt x="172" y="59"/>
                  </a:lnTo>
                  <a:lnTo>
                    <a:pt x="173" y="61"/>
                  </a:lnTo>
                  <a:lnTo>
                    <a:pt x="170" y="64"/>
                  </a:lnTo>
                  <a:lnTo>
                    <a:pt x="169" y="69"/>
                  </a:lnTo>
                  <a:lnTo>
                    <a:pt x="173" y="69"/>
                  </a:lnTo>
                  <a:lnTo>
                    <a:pt x="178" y="62"/>
                  </a:lnTo>
                  <a:lnTo>
                    <a:pt x="186" y="61"/>
                  </a:lnTo>
                  <a:lnTo>
                    <a:pt x="196" y="66"/>
                  </a:lnTo>
                  <a:lnTo>
                    <a:pt x="190" y="72"/>
                  </a:lnTo>
                  <a:lnTo>
                    <a:pt x="181" y="74"/>
                  </a:lnTo>
                  <a:lnTo>
                    <a:pt x="190" y="76"/>
                  </a:lnTo>
                  <a:lnTo>
                    <a:pt x="190" y="78"/>
                  </a:lnTo>
                  <a:lnTo>
                    <a:pt x="196" y="76"/>
                  </a:lnTo>
                  <a:lnTo>
                    <a:pt x="200" y="72"/>
                  </a:lnTo>
                  <a:lnTo>
                    <a:pt x="209" y="79"/>
                  </a:lnTo>
                  <a:lnTo>
                    <a:pt x="207" y="82"/>
                  </a:lnTo>
                  <a:lnTo>
                    <a:pt x="203" y="82"/>
                  </a:lnTo>
                  <a:lnTo>
                    <a:pt x="199" y="84"/>
                  </a:lnTo>
                  <a:lnTo>
                    <a:pt x="211" y="87"/>
                  </a:lnTo>
                  <a:lnTo>
                    <a:pt x="213" y="90"/>
                  </a:lnTo>
                  <a:lnTo>
                    <a:pt x="198" y="91"/>
                  </a:lnTo>
                  <a:lnTo>
                    <a:pt x="202" y="93"/>
                  </a:lnTo>
                  <a:lnTo>
                    <a:pt x="201" y="97"/>
                  </a:lnTo>
                  <a:lnTo>
                    <a:pt x="190" y="94"/>
                  </a:lnTo>
                  <a:lnTo>
                    <a:pt x="189" y="97"/>
                  </a:lnTo>
                  <a:lnTo>
                    <a:pt x="201" y="100"/>
                  </a:lnTo>
                  <a:lnTo>
                    <a:pt x="209" y="105"/>
                  </a:lnTo>
                  <a:lnTo>
                    <a:pt x="214" y="113"/>
                  </a:lnTo>
                  <a:lnTo>
                    <a:pt x="220" y="110"/>
                  </a:lnTo>
                  <a:lnTo>
                    <a:pt x="227" y="110"/>
                  </a:lnTo>
                  <a:lnTo>
                    <a:pt x="227" y="113"/>
                  </a:lnTo>
                  <a:lnTo>
                    <a:pt x="231" y="114"/>
                  </a:lnTo>
                  <a:lnTo>
                    <a:pt x="235" y="117"/>
                  </a:lnTo>
                  <a:lnTo>
                    <a:pt x="234" y="122"/>
                  </a:lnTo>
                  <a:lnTo>
                    <a:pt x="243" y="121"/>
                  </a:lnTo>
                  <a:lnTo>
                    <a:pt x="246" y="124"/>
                  </a:lnTo>
                  <a:lnTo>
                    <a:pt x="243" y="126"/>
                  </a:lnTo>
                  <a:lnTo>
                    <a:pt x="244" y="128"/>
                  </a:lnTo>
                  <a:lnTo>
                    <a:pt x="253" y="123"/>
                  </a:lnTo>
                  <a:lnTo>
                    <a:pt x="258" y="125"/>
                  </a:lnTo>
                  <a:lnTo>
                    <a:pt x="257" y="127"/>
                  </a:lnTo>
                  <a:lnTo>
                    <a:pt x="261" y="129"/>
                  </a:lnTo>
                  <a:lnTo>
                    <a:pt x="260" y="138"/>
                  </a:lnTo>
                  <a:lnTo>
                    <a:pt x="252" y="139"/>
                  </a:lnTo>
                  <a:lnTo>
                    <a:pt x="254" y="153"/>
                  </a:lnTo>
                  <a:lnTo>
                    <a:pt x="247" y="158"/>
                  </a:lnTo>
                  <a:lnTo>
                    <a:pt x="242" y="153"/>
                  </a:lnTo>
                  <a:lnTo>
                    <a:pt x="242" y="159"/>
                  </a:lnTo>
                  <a:lnTo>
                    <a:pt x="245" y="168"/>
                  </a:lnTo>
                  <a:lnTo>
                    <a:pt x="242" y="174"/>
                  </a:lnTo>
                  <a:lnTo>
                    <a:pt x="237" y="168"/>
                  </a:lnTo>
                  <a:lnTo>
                    <a:pt x="234" y="167"/>
                  </a:lnTo>
                  <a:lnTo>
                    <a:pt x="230" y="164"/>
                  </a:lnTo>
                  <a:lnTo>
                    <a:pt x="224" y="155"/>
                  </a:lnTo>
                  <a:lnTo>
                    <a:pt x="228" y="147"/>
                  </a:lnTo>
                  <a:lnTo>
                    <a:pt x="227" y="144"/>
                  </a:lnTo>
                  <a:lnTo>
                    <a:pt x="219" y="144"/>
                  </a:lnTo>
                  <a:lnTo>
                    <a:pt x="217" y="140"/>
                  </a:lnTo>
                  <a:lnTo>
                    <a:pt x="211" y="132"/>
                  </a:lnTo>
                  <a:lnTo>
                    <a:pt x="203" y="136"/>
                  </a:lnTo>
                  <a:lnTo>
                    <a:pt x="206" y="144"/>
                  </a:lnTo>
                  <a:lnTo>
                    <a:pt x="208" y="148"/>
                  </a:lnTo>
                  <a:lnTo>
                    <a:pt x="204" y="151"/>
                  </a:lnTo>
                  <a:lnTo>
                    <a:pt x="198" y="145"/>
                  </a:lnTo>
                  <a:lnTo>
                    <a:pt x="196" y="150"/>
                  </a:lnTo>
                  <a:lnTo>
                    <a:pt x="203" y="158"/>
                  </a:lnTo>
                  <a:lnTo>
                    <a:pt x="207" y="161"/>
                  </a:lnTo>
                  <a:lnTo>
                    <a:pt x="209" y="166"/>
                  </a:lnTo>
                  <a:lnTo>
                    <a:pt x="215" y="175"/>
                  </a:lnTo>
                  <a:lnTo>
                    <a:pt x="220" y="176"/>
                  </a:lnTo>
                  <a:lnTo>
                    <a:pt x="227" y="186"/>
                  </a:lnTo>
                  <a:lnTo>
                    <a:pt x="227" y="190"/>
                  </a:lnTo>
                  <a:lnTo>
                    <a:pt x="230" y="193"/>
                  </a:lnTo>
                  <a:lnTo>
                    <a:pt x="230" y="197"/>
                  </a:lnTo>
                  <a:lnTo>
                    <a:pt x="234" y="203"/>
                  </a:lnTo>
                  <a:lnTo>
                    <a:pt x="234" y="209"/>
                  </a:lnTo>
                  <a:lnTo>
                    <a:pt x="228" y="208"/>
                  </a:lnTo>
                  <a:lnTo>
                    <a:pt x="227" y="211"/>
                  </a:lnTo>
                  <a:lnTo>
                    <a:pt x="232" y="215"/>
                  </a:lnTo>
                  <a:lnTo>
                    <a:pt x="229" y="220"/>
                  </a:lnTo>
                  <a:lnTo>
                    <a:pt x="229" y="227"/>
                  </a:lnTo>
                  <a:lnTo>
                    <a:pt x="225" y="227"/>
                  </a:lnTo>
                  <a:lnTo>
                    <a:pt x="219" y="217"/>
                  </a:lnTo>
                  <a:lnTo>
                    <a:pt x="213" y="209"/>
                  </a:lnTo>
                  <a:lnTo>
                    <a:pt x="207" y="210"/>
                  </a:lnTo>
                  <a:lnTo>
                    <a:pt x="203" y="205"/>
                  </a:lnTo>
                  <a:lnTo>
                    <a:pt x="200" y="205"/>
                  </a:lnTo>
                  <a:lnTo>
                    <a:pt x="195" y="198"/>
                  </a:lnTo>
                  <a:lnTo>
                    <a:pt x="192" y="199"/>
                  </a:lnTo>
                  <a:lnTo>
                    <a:pt x="191" y="204"/>
                  </a:lnTo>
                  <a:lnTo>
                    <a:pt x="201" y="217"/>
                  </a:lnTo>
                  <a:lnTo>
                    <a:pt x="206" y="225"/>
                  </a:lnTo>
                  <a:lnTo>
                    <a:pt x="216" y="232"/>
                  </a:lnTo>
                  <a:lnTo>
                    <a:pt x="219" y="240"/>
                  </a:lnTo>
                  <a:lnTo>
                    <a:pt x="214" y="242"/>
                  </a:lnTo>
                  <a:lnTo>
                    <a:pt x="199" y="237"/>
                  </a:lnTo>
                  <a:lnTo>
                    <a:pt x="194" y="237"/>
                  </a:lnTo>
                  <a:lnTo>
                    <a:pt x="186" y="231"/>
                  </a:lnTo>
                  <a:lnTo>
                    <a:pt x="187" y="223"/>
                  </a:lnTo>
                  <a:lnTo>
                    <a:pt x="182" y="222"/>
                  </a:lnTo>
                  <a:lnTo>
                    <a:pt x="177" y="223"/>
                  </a:lnTo>
                  <a:lnTo>
                    <a:pt x="169" y="215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66" y="202"/>
                  </a:lnTo>
                  <a:lnTo>
                    <a:pt x="160" y="201"/>
                  </a:lnTo>
                  <a:lnTo>
                    <a:pt x="153" y="194"/>
                  </a:lnTo>
                  <a:lnTo>
                    <a:pt x="152" y="183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39" y="180"/>
                  </a:lnTo>
                  <a:lnTo>
                    <a:pt x="140" y="185"/>
                  </a:lnTo>
                  <a:lnTo>
                    <a:pt x="138" y="188"/>
                  </a:lnTo>
                  <a:lnTo>
                    <a:pt x="131" y="180"/>
                  </a:lnTo>
                  <a:lnTo>
                    <a:pt x="128" y="181"/>
                  </a:lnTo>
                  <a:lnTo>
                    <a:pt x="123" y="189"/>
                  </a:lnTo>
                  <a:lnTo>
                    <a:pt x="114" y="188"/>
                  </a:lnTo>
                  <a:lnTo>
                    <a:pt x="106" y="182"/>
                  </a:lnTo>
                  <a:lnTo>
                    <a:pt x="107" y="173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6" y="161"/>
                  </a:lnTo>
                  <a:lnTo>
                    <a:pt x="120" y="163"/>
                  </a:lnTo>
                  <a:lnTo>
                    <a:pt x="124" y="166"/>
                  </a:lnTo>
                  <a:lnTo>
                    <a:pt x="135" y="165"/>
                  </a:lnTo>
                  <a:lnTo>
                    <a:pt x="143" y="160"/>
                  </a:lnTo>
                  <a:lnTo>
                    <a:pt x="147" y="162"/>
                  </a:lnTo>
                  <a:lnTo>
                    <a:pt x="147" y="156"/>
                  </a:lnTo>
                  <a:lnTo>
                    <a:pt x="141" y="150"/>
                  </a:lnTo>
                  <a:lnTo>
                    <a:pt x="139" y="143"/>
                  </a:lnTo>
                  <a:lnTo>
                    <a:pt x="152" y="132"/>
                  </a:lnTo>
                  <a:lnTo>
                    <a:pt x="155" y="127"/>
                  </a:lnTo>
                  <a:lnTo>
                    <a:pt x="160" y="126"/>
                  </a:lnTo>
                  <a:lnTo>
                    <a:pt x="160" y="118"/>
                  </a:lnTo>
                  <a:lnTo>
                    <a:pt x="157" y="115"/>
                  </a:lnTo>
                  <a:lnTo>
                    <a:pt x="156" y="112"/>
                  </a:lnTo>
                  <a:lnTo>
                    <a:pt x="155" y="109"/>
                  </a:lnTo>
                  <a:lnTo>
                    <a:pt x="149" y="105"/>
                  </a:lnTo>
                  <a:lnTo>
                    <a:pt x="147" y="100"/>
                  </a:lnTo>
                  <a:lnTo>
                    <a:pt x="141" y="101"/>
                  </a:lnTo>
                  <a:lnTo>
                    <a:pt x="137" y="96"/>
                  </a:lnTo>
                  <a:lnTo>
                    <a:pt x="139" y="93"/>
                  </a:lnTo>
                  <a:lnTo>
                    <a:pt x="135" y="93"/>
                  </a:lnTo>
                  <a:lnTo>
                    <a:pt x="129" y="97"/>
                  </a:lnTo>
                  <a:lnTo>
                    <a:pt x="125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31" y="91"/>
                  </a:lnTo>
                  <a:lnTo>
                    <a:pt x="130" y="89"/>
                  </a:lnTo>
                  <a:lnTo>
                    <a:pt x="120" y="85"/>
                  </a:lnTo>
                  <a:lnTo>
                    <a:pt x="117" y="80"/>
                  </a:lnTo>
                  <a:lnTo>
                    <a:pt x="113" y="78"/>
                  </a:lnTo>
                  <a:lnTo>
                    <a:pt x="114" y="73"/>
                  </a:lnTo>
                  <a:lnTo>
                    <a:pt x="109" y="68"/>
                  </a:lnTo>
                  <a:lnTo>
                    <a:pt x="105" y="68"/>
                  </a:lnTo>
                  <a:lnTo>
                    <a:pt x="101" y="63"/>
                  </a:lnTo>
                  <a:lnTo>
                    <a:pt x="96" y="65"/>
                  </a:lnTo>
                  <a:lnTo>
                    <a:pt x="96" y="68"/>
                  </a:lnTo>
                  <a:lnTo>
                    <a:pt x="104" y="73"/>
                  </a:lnTo>
                  <a:lnTo>
                    <a:pt x="102" y="76"/>
                  </a:lnTo>
                  <a:lnTo>
                    <a:pt x="94" y="77"/>
                  </a:lnTo>
                  <a:lnTo>
                    <a:pt x="87" y="73"/>
                  </a:lnTo>
                  <a:lnTo>
                    <a:pt x="82" y="75"/>
                  </a:lnTo>
                  <a:lnTo>
                    <a:pt x="84" y="76"/>
                  </a:lnTo>
                  <a:lnTo>
                    <a:pt x="82" y="79"/>
                  </a:lnTo>
                  <a:lnTo>
                    <a:pt x="76" y="76"/>
                  </a:lnTo>
                  <a:lnTo>
                    <a:pt x="72" y="73"/>
                  </a:lnTo>
                  <a:lnTo>
                    <a:pt x="69" y="71"/>
                  </a:lnTo>
                  <a:lnTo>
                    <a:pt x="67" y="73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2" y="80"/>
                  </a:lnTo>
                  <a:lnTo>
                    <a:pt x="67" y="78"/>
                  </a:lnTo>
                  <a:lnTo>
                    <a:pt x="63" y="77"/>
                  </a:lnTo>
                  <a:lnTo>
                    <a:pt x="59" y="77"/>
                  </a:lnTo>
                  <a:lnTo>
                    <a:pt x="53" y="74"/>
                  </a:lnTo>
                  <a:lnTo>
                    <a:pt x="47" y="74"/>
                  </a:lnTo>
                  <a:lnTo>
                    <a:pt x="40" y="75"/>
                  </a:lnTo>
                  <a:lnTo>
                    <a:pt x="35" y="73"/>
                  </a:lnTo>
                  <a:lnTo>
                    <a:pt x="34" y="69"/>
                  </a:lnTo>
                  <a:lnTo>
                    <a:pt x="31" y="68"/>
                  </a:lnTo>
                  <a:lnTo>
                    <a:pt x="26" y="72"/>
                  </a:lnTo>
                  <a:lnTo>
                    <a:pt x="21" y="72"/>
                  </a:lnTo>
                  <a:lnTo>
                    <a:pt x="17" y="68"/>
                  </a:lnTo>
                  <a:lnTo>
                    <a:pt x="6" y="60"/>
                  </a:lnTo>
                  <a:lnTo>
                    <a:pt x="5" y="55"/>
                  </a:lnTo>
                  <a:lnTo>
                    <a:pt x="9" y="54"/>
                  </a:lnTo>
                  <a:lnTo>
                    <a:pt x="15" y="56"/>
                  </a:lnTo>
                  <a:lnTo>
                    <a:pt x="20" y="56"/>
                  </a:lnTo>
                  <a:lnTo>
                    <a:pt x="25" y="57"/>
                  </a:lnTo>
                  <a:lnTo>
                    <a:pt x="24" y="54"/>
                  </a:lnTo>
                  <a:lnTo>
                    <a:pt x="15" y="52"/>
                  </a:lnTo>
                  <a:lnTo>
                    <a:pt x="4" y="50"/>
                  </a:lnTo>
                  <a:lnTo>
                    <a:pt x="0" y="45"/>
                  </a:lnTo>
                  <a:lnTo>
                    <a:pt x="2" y="41"/>
                  </a:lnTo>
                  <a:lnTo>
                    <a:pt x="1" y="36"/>
                  </a:lnTo>
                  <a:lnTo>
                    <a:pt x="4" y="33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9" y="1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4" name="Freeform 126"/>
            <p:cNvSpPr>
              <a:spLocks/>
            </p:cNvSpPr>
            <p:nvPr/>
          </p:nvSpPr>
          <p:spPr bwMode="gray">
            <a:xfrm>
              <a:off x="1757" y="1532"/>
              <a:ext cx="57" cy="28"/>
            </a:xfrm>
            <a:custGeom>
              <a:avLst/>
              <a:gdLst>
                <a:gd name="T0" fmla="*/ 0 w 44"/>
                <a:gd name="T1" fmla="*/ 2147483647 h 22"/>
                <a:gd name="T2" fmla="*/ 2147483647 w 44"/>
                <a:gd name="T3" fmla="*/ 0 h 22"/>
                <a:gd name="T4" fmla="*/ 2147483647 w 44"/>
                <a:gd name="T5" fmla="*/ 2147483647 h 22"/>
                <a:gd name="T6" fmla="*/ 2147483647 w 44"/>
                <a:gd name="T7" fmla="*/ 0 h 22"/>
                <a:gd name="T8" fmla="*/ 2147483647 w 44"/>
                <a:gd name="T9" fmla="*/ 2147483647 h 22"/>
                <a:gd name="T10" fmla="*/ 2147483647 w 44"/>
                <a:gd name="T11" fmla="*/ 2147483647 h 22"/>
                <a:gd name="T12" fmla="*/ 2147483647 w 44"/>
                <a:gd name="T13" fmla="*/ 2147483647 h 22"/>
                <a:gd name="T14" fmla="*/ 2147483647 w 44"/>
                <a:gd name="T15" fmla="*/ 2147483647 h 22"/>
                <a:gd name="T16" fmla="*/ 2147483647 w 44"/>
                <a:gd name="T17" fmla="*/ 2147483647 h 22"/>
                <a:gd name="T18" fmla="*/ 2147483647 w 44"/>
                <a:gd name="T19" fmla="*/ 2147483647 h 22"/>
                <a:gd name="T20" fmla="*/ 2147483647 w 44"/>
                <a:gd name="T21" fmla="*/ 2147483647 h 22"/>
                <a:gd name="T22" fmla="*/ 2147483647 w 44"/>
                <a:gd name="T23" fmla="*/ 2147483647 h 22"/>
                <a:gd name="T24" fmla="*/ 2147483647 w 44"/>
                <a:gd name="T25" fmla="*/ 2147483647 h 22"/>
                <a:gd name="T26" fmla="*/ 2147483647 w 44"/>
                <a:gd name="T27" fmla="*/ 2147483647 h 22"/>
                <a:gd name="T28" fmla="*/ 2147483647 w 44"/>
                <a:gd name="T29" fmla="*/ 2147483647 h 22"/>
                <a:gd name="T30" fmla="*/ 2147483647 w 44"/>
                <a:gd name="T31" fmla="*/ 2147483647 h 22"/>
                <a:gd name="T32" fmla="*/ 2147483647 w 44"/>
                <a:gd name="T33" fmla="*/ 2147483647 h 22"/>
                <a:gd name="T34" fmla="*/ 0 w 44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22"/>
                <a:gd name="T56" fmla="*/ 44 w 4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22">
                  <a:moveTo>
                    <a:pt x="0" y="2"/>
                  </a:moveTo>
                  <a:lnTo>
                    <a:pt x="6" y="0"/>
                  </a:lnTo>
                  <a:lnTo>
                    <a:pt x="8" y="2"/>
                  </a:lnTo>
                  <a:lnTo>
                    <a:pt x="21" y="0"/>
                  </a:lnTo>
                  <a:lnTo>
                    <a:pt x="30" y="5"/>
                  </a:lnTo>
                  <a:lnTo>
                    <a:pt x="34" y="6"/>
                  </a:lnTo>
                  <a:lnTo>
                    <a:pt x="38" y="9"/>
                  </a:lnTo>
                  <a:lnTo>
                    <a:pt x="37" y="14"/>
                  </a:lnTo>
                  <a:lnTo>
                    <a:pt x="44" y="17"/>
                  </a:lnTo>
                  <a:lnTo>
                    <a:pt x="42" y="20"/>
                  </a:lnTo>
                  <a:lnTo>
                    <a:pt x="30" y="17"/>
                  </a:lnTo>
                  <a:lnTo>
                    <a:pt x="15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5" name="Freeform 127"/>
            <p:cNvSpPr>
              <a:spLocks/>
            </p:cNvSpPr>
            <p:nvPr/>
          </p:nvSpPr>
          <p:spPr bwMode="gray">
            <a:xfrm>
              <a:off x="1796" y="1666"/>
              <a:ext cx="26" cy="22"/>
            </a:xfrm>
            <a:custGeom>
              <a:avLst/>
              <a:gdLst>
                <a:gd name="T0" fmla="*/ 2147483647 w 20"/>
                <a:gd name="T1" fmla="*/ 0 h 17"/>
                <a:gd name="T2" fmla="*/ 2147483647 w 20"/>
                <a:gd name="T3" fmla="*/ 2147483647 h 17"/>
                <a:gd name="T4" fmla="*/ 2147483647 w 20"/>
                <a:gd name="T5" fmla="*/ 2147483647 h 17"/>
                <a:gd name="T6" fmla="*/ 2147483647 w 20"/>
                <a:gd name="T7" fmla="*/ 2147483647 h 17"/>
                <a:gd name="T8" fmla="*/ 2147483647 w 20"/>
                <a:gd name="T9" fmla="*/ 2147483647 h 17"/>
                <a:gd name="T10" fmla="*/ 2147483647 w 20"/>
                <a:gd name="T11" fmla="*/ 2147483647 h 17"/>
                <a:gd name="T12" fmla="*/ 2147483647 w 20"/>
                <a:gd name="T13" fmla="*/ 2147483647 h 17"/>
                <a:gd name="T14" fmla="*/ 2147483647 w 20"/>
                <a:gd name="T15" fmla="*/ 2147483647 h 17"/>
                <a:gd name="T16" fmla="*/ 0 w 20"/>
                <a:gd name="T17" fmla="*/ 2147483647 h 17"/>
                <a:gd name="T18" fmla="*/ 2147483647 w 20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"/>
                <a:gd name="T32" fmla="*/ 20 w 20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">
                  <a:moveTo>
                    <a:pt x="8" y="0"/>
                  </a:moveTo>
                  <a:lnTo>
                    <a:pt x="18" y="1"/>
                  </a:lnTo>
                  <a:lnTo>
                    <a:pt x="18" y="6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12" y="16"/>
                  </a:lnTo>
                  <a:lnTo>
                    <a:pt x="4" y="17"/>
                  </a:lnTo>
                  <a:lnTo>
                    <a:pt x="1" y="15"/>
                  </a:lnTo>
                  <a:lnTo>
                    <a:pt x="0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6" name="Freeform 128"/>
            <p:cNvSpPr>
              <a:spLocks/>
            </p:cNvSpPr>
            <p:nvPr/>
          </p:nvSpPr>
          <p:spPr bwMode="gray">
            <a:xfrm>
              <a:off x="1621" y="1234"/>
              <a:ext cx="373" cy="231"/>
            </a:xfrm>
            <a:custGeom>
              <a:avLst/>
              <a:gdLst>
                <a:gd name="T0" fmla="*/ 2147483647 w 286"/>
                <a:gd name="T1" fmla="*/ 2147483647 h 177"/>
                <a:gd name="T2" fmla="*/ 2147483647 w 286"/>
                <a:gd name="T3" fmla="*/ 2147483647 h 177"/>
                <a:gd name="T4" fmla="*/ 2147483647 w 286"/>
                <a:gd name="T5" fmla="*/ 2147483647 h 177"/>
                <a:gd name="T6" fmla="*/ 2147483647 w 286"/>
                <a:gd name="T7" fmla="*/ 2147483647 h 177"/>
                <a:gd name="T8" fmla="*/ 2147483647 w 286"/>
                <a:gd name="T9" fmla="*/ 2147483647 h 177"/>
                <a:gd name="T10" fmla="*/ 2147483647 w 286"/>
                <a:gd name="T11" fmla="*/ 2147483647 h 177"/>
                <a:gd name="T12" fmla="*/ 2147483647 w 286"/>
                <a:gd name="T13" fmla="*/ 2147483647 h 177"/>
                <a:gd name="T14" fmla="*/ 2147483647 w 286"/>
                <a:gd name="T15" fmla="*/ 2147483647 h 177"/>
                <a:gd name="T16" fmla="*/ 2147483647 w 286"/>
                <a:gd name="T17" fmla="*/ 2147483647 h 177"/>
                <a:gd name="T18" fmla="*/ 2147483647 w 286"/>
                <a:gd name="T19" fmla="*/ 2147483647 h 177"/>
                <a:gd name="T20" fmla="*/ 2147483647 w 286"/>
                <a:gd name="T21" fmla="*/ 2147483647 h 177"/>
                <a:gd name="T22" fmla="*/ 2147483647 w 286"/>
                <a:gd name="T23" fmla="*/ 2147483647 h 177"/>
                <a:gd name="T24" fmla="*/ 2147483647 w 286"/>
                <a:gd name="T25" fmla="*/ 2147483647 h 177"/>
                <a:gd name="T26" fmla="*/ 2147483647 w 286"/>
                <a:gd name="T27" fmla="*/ 2147483647 h 177"/>
                <a:gd name="T28" fmla="*/ 2147483647 w 286"/>
                <a:gd name="T29" fmla="*/ 2147483647 h 177"/>
                <a:gd name="T30" fmla="*/ 2147483647 w 286"/>
                <a:gd name="T31" fmla="*/ 2147483647 h 177"/>
                <a:gd name="T32" fmla="*/ 2147483647 w 286"/>
                <a:gd name="T33" fmla="*/ 2147483647 h 177"/>
                <a:gd name="T34" fmla="*/ 2147483647 w 286"/>
                <a:gd name="T35" fmla="*/ 2147483647 h 177"/>
                <a:gd name="T36" fmla="*/ 2147483647 w 286"/>
                <a:gd name="T37" fmla="*/ 2147483647 h 177"/>
                <a:gd name="T38" fmla="*/ 2147483647 w 286"/>
                <a:gd name="T39" fmla="*/ 2147483647 h 177"/>
                <a:gd name="T40" fmla="*/ 2147483647 w 286"/>
                <a:gd name="T41" fmla="*/ 2147483647 h 177"/>
                <a:gd name="T42" fmla="*/ 2147483647 w 286"/>
                <a:gd name="T43" fmla="*/ 2147483647 h 177"/>
                <a:gd name="T44" fmla="*/ 2147483647 w 286"/>
                <a:gd name="T45" fmla="*/ 2147483647 h 177"/>
                <a:gd name="T46" fmla="*/ 2147483647 w 286"/>
                <a:gd name="T47" fmla="*/ 2147483647 h 177"/>
                <a:gd name="T48" fmla="*/ 2147483647 w 286"/>
                <a:gd name="T49" fmla="*/ 2147483647 h 177"/>
                <a:gd name="T50" fmla="*/ 2147483647 w 286"/>
                <a:gd name="T51" fmla="*/ 2147483647 h 177"/>
                <a:gd name="T52" fmla="*/ 2147483647 w 286"/>
                <a:gd name="T53" fmla="*/ 2147483647 h 177"/>
                <a:gd name="T54" fmla="*/ 2147483647 w 286"/>
                <a:gd name="T55" fmla="*/ 2147483647 h 177"/>
                <a:gd name="T56" fmla="*/ 2147483647 w 286"/>
                <a:gd name="T57" fmla="*/ 2147483647 h 177"/>
                <a:gd name="T58" fmla="*/ 2147483647 w 286"/>
                <a:gd name="T59" fmla="*/ 2147483647 h 177"/>
                <a:gd name="T60" fmla="*/ 2147483647 w 286"/>
                <a:gd name="T61" fmla="*/ 2147483647 h 177"/>
                <a:gd name="T62" fmla="*/ 2147483647 w 286"/>
                <a:gd name="T63" fmla="*/ 2147483647 h 177"/>
                <a:gd name="T64" fmla="*/ 2147483647 w 286"/>
                <a:gd name="T65" fmla="*/ 2147483647 h 177"/>
                <a:gd name="T66" fmla="*/ 2147483647 w 286"/>
                <a:gd name="T67" fmla="*/ 2147483647 h 177"/>
                <a:gd name="T68" fmla="*/ 2147483647 w 286"/>
                <a:gd name="T69" fmla="*/ 2147483647 h 177"/>
                <a:gd name="T70" fmla="*/ 2147483647 w 286"/>
                <a:gd name="T71" fmla="*/ 2147483647 h 177"/>
                <a:gd name="T72" fmla="*/ 2147483647 w 286"/>
                <a:gd name="T73" fmla="*/ 2147483647 h 177"/>
                <a:gd name="T74" fmla="*/ 2147483647 w 286"/>
                <a:gd name="T75" fmla="*/ 2147483647 h 177"/>
                <a:gd name="T76" fmla="*/ 2147483647 w 286"/>
                <a:gd name="T77" fmla="*/ 2147483647 h 177"/>
                <a:gd name="T78" fmla="*/ 2147483647 w 286"/>
                <a:gd name="T79" fmla="*/ 2147483647 h 177"/>
                <a:gd name="T80" fmla="*/ 2147483647 w 286"/>
                <a:gd name="T81" fmla="*/ 2147483647 h 177"/>
                <a:gd name="T82" fmla="*/ 2147483647 w 286"/>
                <a:gd name="T83" fmla="*/ 2147483647 h 177"/>
                <a:gd name="T84" fmla="*/ 2147483647 w 286"/>
                <a:gd name="T85" fmla="*/ 2147483647 h 177"/>
                <a:gd name="T86" fmla="*/ 2147483647 w 286"/>
                <a:gd name="T87" fmla="*/ 2147483647 h 177"/>
                <a:gd name="T88" fmla="*/ 2147483647 w 286"/>
                <a:gd name="T89" fmla="*/ 2147483647 h 177"/>
                <a:gd name="T90" fmla="*/ 2147483647 w 286"/>
                <a:gd name="T91" fmla="*/ 2147483647 h 177"/>
                <a:gd name="T92" fmla="*/ 2147483647 w 286"/>
                <a:gd name="T93" fmla="*/ 2147483647 h 177"/>
                <a:gd name="T94" fmla="*/ 2147483647 w 286"/>
                <a:gd name="T95" fmla="*/ 2147483647 h 177"/>
                <a:gd name="T96" fmla="*/ 2147483647 w 286"/>
                <a:gd name="T97" fmla="*/ 2147483647 h 177"/>
                <a:gd name="T98" fmla="*/ 2147483647 w 286"/>
                <a:gd name="T99" fmla="*/ 2147483647 h 177"/>
                <a:gd name="T100" fmla="*/ 2147483647 w 286"/>
                <a:gd name="T101" fmla="*/ 2147483647 h 177"/>
                <a:gd name="T102" fmla="*/ 2147483647 w 286"/>
                <a:gd name="T103" fmla="*/ 2147483647 h 177"/>
                <a:gd name="T104" fmla="*/ 2147483647 w 286"/>
                <a:gd name="T105" fmla="*/ 2147483647 h 177"/>
                <a:gd name="T106" fmla="*/ 2147483647 w 286"/>
                <a:gd name="T107" fmla="*/ 2147483647 h 177"/>
                <a:gd name="T108" fmla="*/ 2147483647 w 286"/>
                <a:gd name="T109" fmla="*/ 2147483647 h 177"/>
                <a:gd name="T110" fmla="*/ 2147483647 w 286"/>
                <a:gd name="T111" fmla="*/ 2147483647 h 177"/>
                <a:gd name="T112" fmla="*/ 2147483647 w 286"/>
                <a:gd name="T113" fmla="*/ 2147483647 h 177"/>
                <a:gd name="T114" fmla="*/ 2147483647 w 286"/>
                <a:gd name="T115" fmla="*/ 2147483647 h 177"/>
                <a:gd name="T116" fmla="*/ 2147483647 w 286"/>
                <a:gd name="T117" fmla="*/ 2147483647 h 177"/>
                <a:gd name="T118" fmla="*/ 2147483647 w 286"/>
                <a:gd name="T119" fmla="*/ 2147483647 h 177"/>
                <a:gd name="T120" fmla="*/ 2147483647 w 286"/>
                <a:gd name="T121" fmla="*/ 2147483647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6"/>
                <a:gd name="T184" fmla="*/ 0 h 177"/>
                <a:gd name="T185" fmla="*/ 286 w 286"/>
                <a:gd name="T186" fmla="*/ 177 h 1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6" h="177">
                  <a:moveTo>
                    <a:pt x="47" y="154"/>
                  </a:moveTo>
                  <a:lnTo>
                    <a:pt x="36" y="152"/>
                  </a:lnTo>
                  <a:lnTo>
                    <a:pt x="33" y="145"/>
                  </a:lnTo>
                  <a:lnTo>
                    <a:pt x="39" y="144"/>
                  </a:lnTo>
                  <a:lnTo>
                    <a:pt x="45" y="142"/>
                  </a:lnTo>
                  <a:lnTo>
                    <a:pt x="52" y="145"/>
                  </a:lnTo>
                  <a:lnTo>
                    <a:pt x="55" y="151"/>
                  </a:lnTo>
                  <a:lnTo>
                    <a:pt x="67" y="154"/>
                  </a:lnTo>
                  <a:lnTo>
                    <a:pt x="73" y="153"/>
                  </a:lnTo>
                  <a:lnTo>
                    <a:pt x="77" y="153"/>
                  </a:lnTo>
                  <a:lnTo>
                    <a:pt x="86" y="144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5" y="140"/>
                  </a:lnTo>
                  <a:lnTo>
                    <a:pt x="79" y="148"/>
                  </a:lnTo>
                  <a:lnTo>
                    <a:pt x="70" y="150"/>
                  </a:lnTo>
                  <a:lnTo>
                    <a:pt x="62" y="147"/>
                  </a:lnTo>
                  <a:lnTo>
                    <a:pt x="60" y="142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70" y="136"/>
                  </a:lnTo>
                  <a:lnTo>
                    <a:pt x="68" y="130"/>
                  </a:lnTo>
                  <a:lnTo>
                    <a:pt x="64" y="130"/>
                  </a:lnTo>
                  <a:lnTo>
                    <a:pt x="64" y="133"/>
                  </a:lnTo>
                  <a:lnTo>
                    <a:pt x="60" y="137"/>
                  </a:lnTo>
                  <a:lnTo>
                    <a:pt x="54" y="138"/>
                  </a:lnTo>
                  <a:lnTo>
                    <a:pt x="56" y="134"/>
                  </a:lnTo>
                  <a:lnTo>
                    <a:pt x="54" y="133"/>
                  </a:lnTo>
                  <a:lnTo>
                    <a:pt x="51" y="137"/>
                  </a:lnTo>
                  <a:lnTo>
                    <a:pt x="43" y="137"/>
                  </a:lnTo>
                  <a:lnTo>
                    <a:pt x="43" y="131"/>
                  </a:lnTo>
                  <a:lnTo>
                    <a:pt x="48" y="123"/>
                  </a:lnTo>
                  <a:lnTo>
                    <a:pt x="51" y="122"/>
                  </a:lnTo>
                  <a:lnTo>
                    <a:pt x="55" y="123"/>
                  </a:lnTo>
                  <a:lnTo>
                    <a:pt x="62" y="122"/>
                  </a:lnTo>
                  <a:lnTo>
                    <a:pt x="69" y="123"/>
                  </a:lnTo>
                  <a:lnTo>
                    <a:pt x="79" y="123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8" y="123"/>
                  </a:lnTo>
                  <a:lnTo>
                    <a:pt x="98" y="120"/>
                  </a:lnTo>
                  <a:lnTo>
                    <a:pt x="87" y="121"/>
                  </a:lnTo>
                  <a:lnTo>
                    <a:pt x="75" y="121"/>
                  </a:lnTo>
                  <a:lnTo>
                    <a:pt x="66" y="119"/>
                  </a:lnTo>
                  <a:lnTo>
                    <a:pt x="69" y="117"/>
                  </a:lnTo>
                  <a:lnTo>
                    <a:pt x="76" y="118"/>
                  </a:lnTo>
                  <a:lnTo>
                    <a:pt x="77" y="115"/>
                  </a:lnTo>
                  <a:lnTo>
                    <a:pt x="70" y="111"/>
                  </a:lnTo>
                  <a:lnTo>
                    <a:pt x="69" y="107"/>
                  </a:lnTo>
                  <a:lnTo>
                    <a:pt x="62" y="102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8" y="96"/>
                  </a:lnTo>
                  <a:lnTo>
                    <a:pt x="50" y="91"/>
                  </a:lnTo>
                  <a:lnTo>
                    <a:pt x="52" y="87"/>
                  </a:lnTo>
                  <a:lnTo>
                    <a:pt x="66" y="88"/>
                  </a:lnTo>
                  <a:lnTo>
                    <a:pt x="77" y="89"/>
                  </a:lnTo>
                  <a:lnTo>
                    <a:pt x="89" y="99"/>
                  </a:lnTo>
                  <a:lnTo>
                    <a:pt x="94" y="106"/>
                  </a:lnTo>
                  <a:lnTo>
                    <a:pt x="106" y="106"/>
                  </a:lnTo>
                  <a:lnTo>
                    <a:pt x="111" y="103"/>
                  </a:lnTo>
                  <a:lnTo>
                    <a:pt x="108" y="102"/>
                  </a:lnTo>
                  <a:lnTo>
                    <a:pt x="102" y="103"/>
                  </a:lnTo>
                  <a:lnTo>
                    <a:pt x="97" y="102"/>
                  </a:lnTo>
                  <a:lnTo>
                    <a:pt x="94" y="96"/>
                  </a:lnTo>
                  <a:lnTo>
                    <a:pt x="89" y="91"/>
                  </a:lnTo>
                  <a:lnTo>
                    <a:pt x="82" y="88"/>
                  </a:lnTo>
                  <a:lnTo>
                    <a:pt x="82" y="85"/>
                  </a:lnTo>
                  <a:lnTo>
                    <a:pt x="94" y="85"/>
                  </a:lnTo>
                  <a:lnTo>
                    <a:pt x="102" y="82"/>
                  </a:lnTo>
                  <a:lnTo>
                    <a:pt x="109" y="82"/>
                  </a:lnTo>
                  <a:lnTo>
                    <a:pt x="118" y="80"/>
                  </a:lnTo>
                  <a:lnTo>
                    <a:pt x="119" y="79"/>
                  </a:lnTo>
                  <a:lnTo>
                    <a:pt x="112" y="79"/>
                  </a:lnTo>
                  <a:lnTo>
                    <a:pt x="108" y="78"/>
                  </a:lnTo>
                  <a:lnTo>
                    <a:pt x="121" y="74"/>
                  </a:lnTo>
                  <a:lnTo>
                    <a:pt x="133" y="75"/>
                  </a:lnTo>
                  <a:lnTo>
                    <a:pt x="142" y="72"/>
                  </a:lnTo>
                  <a:lnTo>
                    <a:pt x="140" y="70"/>
                  </a:lnTo>
                  <a:lnTo>
                    <a:pt x="129" y="70"/>
                  </a:lnTo>
                  <a:lnTo>
                    <a:pt x="119" y="72"/>
                  </a:lnTo>
                  <a:lnTo>
                    <a:pt x="122" y="65"/>
                  </a:lnTo>
                  <a:lnTo>
                    <a:pt x="130" y="59"/>
                  </a:lnTo>
                  <a:lnTo>
                    <a:pt x="129" y="57"/>
                  </a:lnTo>
                  <a:lnTo>
                    <a:pt x="125" y="58"/>
                  </a:lnTo>
                  <a:lnTo>
                    <a:pt x="119" y="60"/>
                  </a:lnTo>
                  <a:lnTo>
                    <a:pt x="117" y="64"/>
                  </a:lnTo>
                  <a:lnTo>
                    <a:pt x="109" y="65"/>
                  </a:lnTo>
                  <a:lnTo>
                    <a:pt x="114" y="70"/>
                  </a:lnTo>
                  <a:lnTo>
                    <a:pt x="102" y="77"/>
                  </a:lnTo>
                  <a:lnTo>
                    <a:pt x="95" y="79"/>
                  </a:lnTo>
                  <a:lnTo>
                    <a:pt x="82" y="81"/>
                  </a:lnTo>
                  <a:lnTo>
                    <a:pt x="80" y="79"/>
                  </a:lnTo>
                  <a:lnTo>
                    <a:pt x="88" y="77"/>
                  </a:lnTo>
                  <a:lnTo>
                    <a:pt x="89" y="75"/>
                  </a:lnTo>
                  <a:lnTo>
                    <a:pt x="82" y="75"/>
                  </a:lnTo>
                  <a:lnTo>
                    <a:pt x="76" y="78"/>
                  </a:lnTo>
                  <a:lnTo>
                    <a:pt x="75" y="74"/>
                  </a:lnTo>
                  <a:lnTo>
                    <a:pt x="71" y="75"/>
                  </a:lnTo>
                  <a:lnTo>
                    <a:pt x="71" y="80"/>
                  </a:lnTo>
                  <a:lnTo>
                    <a:pt x="67" y="82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6" y="75"/>
                  </a:lnTo>
                  <a:lnTo>
                    <a:pt x="63" y="71"/>
                  </a:lnTo>
                  <a:lnTo>
                    <a:pt x="85" y="67"/>
                  </a:lnTo>
                  <a:lnTo>
                    <a:pt x="84" y="65"/>
                  </a:lnTo>
                  <a:lnTo>
                    <a:pt x="71" y="66"/>
                  </a:lnTo>
                  <a:lnTo>
                    <a:pt x="59" y="70"/>
                  </a:lnTo>
                  <a:lnTo>
                    <a:pt x="51" y="74"/>
                  </a:lnTo>
                  <a:lnTo>
                    <a:pt x="47" y="78"/>
                  </a:lnTo>
                  <a:lnTo>
                    <a:pt x="44" y="79"/>
                  </a:lnTo>
                  <a:lnTo>
                    <a:pt x="36" y="76"/>
                  </a:lnTo>
                  <a:lnTo>
                    <a:pt x="27" y="75"/>
                  </a:lnTo>
                  <a:lnTo>
                    <a:pt x="24" y="72"/>
                  </a:lnTo>
                  <a:lnTo>
                    <a:pt x="36" y="69"/>
                  </a:lnTo>
                  <a:lnTo>
                    <a:pt x="49" y="69"/>
                  </a:lnTo>
                  <a:lnTo>
                    <a:pt x="57" y="67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61"/>
                  </a:lnTo>
                  <a:lnTo>
                    <a:pt x="49" y="67"/>
                  </a:lnTo>
                  <a:lnTo>
                    <a:pt x="35" y="68"/>
                  </a:lnTo>
                  <a:lnTo>
                    <a:pt x="21" y="67"/>
                  </a:lnTo>
                  <a:lnTo>
                    <a:pt x="19" y="63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30" y="57"/>
                  </a:lnTo>
                  <a:lnTo>
                    <a:pt x="41" y="54"/>
                  </a:lnTo>
                  <a:lnTo>
                    <a:pt x="43" y="53"/>
                  </a:lnTo>
                  <a:lnTo>
                    <a:pt x="35" y="52"/>
                  </a:lnTo>
                  <a:lnTo>
                    <a:pt x="26" y="56"/>
                  </a:lnTo>
                  <a:lnTo>
                    <a:pt x="15" y="57"/>
                  </a:lnTo>
                  <a:lnTo>
                    <a:pt x="14" y="54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13" y="52"/>
                  </a:lnTo>
                  <a:lnTo>
                    <a:pt x="5" y="51"/>
                  </a:lnTo>
                  <a:lnTo>
                    <a:pt x="0" y="49"/>
                  </a:lnTo>
                  <a:lnTo>
                    <a:pt x="8" y="45"/>
                  </a:lnTo>
                  <a:lnTo>
                    <a:pt x="12" y="40"/>
                  </a:lnTo>
                  <a:lnTo>
                    <a:pt x="22" y="43"/>
                  </a:lnTo>
                  <a:lnTo>
                    <a:pt x="24" y="38"/>
                  </a:lnTo>
                  <a:lnTo>
                    <a:pt x="31" y="35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6" y="40"/>
                  </a:lnTo>
                  <a:lnTo>
                    <a:pt x="45" y="38"/>
                  </a:lnTo>
                  <a:lnTo>
                    <a:pt x="47" y="37"/>
                  </a:lnTo>
                  <a:lnTo>
                    <a:pt x="52" y="39"/>
                  </a:lnTo>
                  <a:lnTo>
                    <a:pt x="58" y="40"/>
                  </a:lnTo>
                  <a:lnTo>
                    <a:pt x="64" y="38"/>
                  </a:lnTo>
                  <a:lnTo>
                    <a:pt x="62" y="35"/>
                  </a:lnTo>
                  <a:lnTo>
                    <a:pt x="52" y="34"/>
                  </a:lnTo>
                  <a:lnTo>
                    <a:pt x="46" y="31"/>
                  </a:lnTo>
                  <a:lnTo>
                    <a:pt x="47" y="29"/>
                  </a:lnTo>
                  <a:lnTo>
                    <a:pt x="55" y="29"/>
                  </a:lnTo>
                  <a:lnTo>
                    <a:pt x="52" y="23"/>
                  </a:lnTo>
                  <a:lnTo>
                    <a:pt x="57" y="22"/>
                  </a:lnTo>
                  <a:lnTo>
                    <a:pt x="66" y="26"/>
                  </a:lnTo>
                  <a:lnTo>
                    <a:pt x="76" y="35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7" y="30"/>
                  </a:lnTo>
                  <a:lnTo>
                    <a:pt x="80" y="30"/>
                  </a:lnTo>
                  <a:lnTo>
                    <a:pt x="86" y="33"/>
                  </a:lnTo>
                  <a:lnTo>
                    <a:pt x="99" y="38"/>
                  </a:lnTo>
                  <a:lnTo>
                    <a:pt x="103" y="38"/>
                  </a:lnTo>
                  <a:lnTo>
                    <a:pt x="102" y="36"/>
                  </a:lnTo>
                  <a:lnTo>
                    <a:pt x="98" y="32"/>
                  </a:lnTo>
                  <a:lnTo>
                    <a:pt x="85" y="29"/>
                  </a:lnTo>
                  <a:lnTo>
                    <a:pt x="81" y="25"/>
                  </a:lnTo>
                  <a:lnTo>
                    <a:pt x="83" y="22"/>
                  </a:lnTo>
                  <a:lnTo>
                    <a:pt x="89" y="22"/>
                  </a:lnTo>
                  <a:lnTo>
                    <a:pt x="90" y="21"/>
                  </a:lnTo>
                  <a:lnTo>
                    <a:pt x="88" y="19"/>
                  </a:lnTo>
                  <a:lnTo>
                    <a:pt x="83" y="19"/>
                  </a:lnTo>
                  <a:lnTo>
                    <a:pt x="80" y="18"/>
                  </a:lnTo>
                  <a:lnTo>
                    <a:pt x="81" y="16"/>
                  </a:lnTo>
                  <a:lnTo>
                    <a:pt x="90" y="16"/>
                  </a:lnTo>
                  <a:lnTo>
                    <a:pt x="98" y="20"/>
                  </a:lnTo>
                  <a:lnTo>
                    <a:pt x="102" y="20"/>
                  </a:lnTo>
                  <a:lnTo>
                    <a:pt x="100" y="17"/>
                  </a:lnTo>
                  <a:lnTo>
                    <a:pt x="88" y="11"/>
                  </a:lnTo>
                  <a:lnTo>
                    <a:pt x="91" y="10"/>
                  </a:lnTo>
                  <a:lnTo>
                    <a:pt x="96" y="10"/>
                  </a:lnTo>
                  <a:lnTo>
                    <a:pt x="105" y="16"/>
                  </a:lnTo>
                  <a:lnTo>
                    <a:pt x="112" y="16"/>
                  </a:lnTo>
                  <a:lnTo>
                    <a:pt x="115" y="14"/>
                  </a:lnTo>
                  <a:lnTo>
                    <a:pt x="106" y="12"/>
                  </a:lnTo>
                  <a:lnTo>
                    <a:pt x="102" y="8"/>
                  </a:lnTo>
                  <a:lnTo>
                    <a:pt x="106" y="7"/>
                  </a:lnTo>
                  <a:lnTo>
                    <a:pt x="116" y="7"/>
                  </a:lnTo>
                  <a:lnTo>
                    <a:pt x="119" y="9"/>
                  </a:lnTo>
                  <a:lnTo>
                    <a:pt x="123" y="7"/>
                  </a:lnTo>
                  <a:lnTo>
                    <a:pt x="129" y="11"/>
                  </a:lnTo>
                  <a:lnTo>
                    <a:pt x="138" y="18"/>
                  </a:lnTo>
                  <a:lnTo>
                    <a:pt x="139" y="24"/>
                  </a:lnTo>
                  <a:lnTo>
                    <a:pt x="146" y="21"/>
                  </a:lnTo>
                  <a:lnTo>
                    <a:pt x="148" y="18"/>
                  </a:lnTo>
                  <a:lnTo>
                    <a:pt x="144" y="15"/>
                  </a:lnTo>
                  <a:lnTo>
                    <a:pt x="140" y="11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32" y="3"/>
                  </a:lnTo>
                  <a:lnTo>
                    <a:pt x="151" y="3"/>
                  </a:lnTo>
                  <a:lnTo>
                    <a:pt x="158" y="10"/>
                  </a:lnTo>
                  <a:lnTo>
                    <a:pt x="164" y="13"/>
                  </a:lnTo>
                  <a:lnTo>
                    <a:pt x="170" y="17"/>
                  </a:lnTo>
                  <a:lnTo>
                    <a:pt x="175" y="16"/>
                  </a:lnTo>
                  <a:lnTo>
                    <a:pt x="174" y="13"/>
                  </a:lnTo>
                  <a:lnTo>
                    <a:pt x="163" y="7"/>
                  </a:lnTo>
                  <a:lnTo>
                    <a:pt x="162" y="5"/>
                  </a:lnTo>
                  <a:lnTo>
                    <a:pt x="164" y="2"/>
                  </a:lnTo>
                  <a:lnTo>
                    <a:pt x="168" y="1"/>
                  </a:lnTo>
                  <a:lnTo>
                    <a:pt x="176" y="1"/>
                  </a:lnTo>
                  <a:lnTo>
                    <a:pt x="176" y="3"/>
                  </a:lnTo>
                  <a:lnTo>
                    <a:pt x="186" y="7"/>
                  </a:lnTo>
                  <a:lnTo>
                    <a:pt x="189" y="6"/>
                  </a:lnTo>
                  <a:lnTo>
                    <a:pt x="182" y="3"/>
                  </a:lnTo>
                  <a:lnTo>
                    <a:pt x="182" y="1"/>
                  </a:lnTo>
                  <a:lnTo>
                    <a:pt x="191" y="0"/>
                  </a:lnTo>
                  <a:lnTo>
                    <a:pt x="193" y="2"/>
                  </a:lnTo>
                  <a:lnTo>
                    <a:pt x="200" y="3"/>
                  </a:lnTo>
                  <a:lnTo>
                    <a:pt x="201" y="5"/>
                  </a:lnTo>
                  <a:lnTo>
                    <a:pt x="210" y="4"/>
                  </a:lnTo>
                  <a:lnTo>
                    <a:pt x="216" y="5"/>
                  </a:lnTo>
                  <a:lnTo>
                    <a:pt x="226" y="5"/>
                  </a:lnTo>
                  <a:lnTo>
                    <a:pt x="227" y="10"/>
                  </a:lnTo>
                  <a:lnTo>
                    <a:pt x="212" y="16"/>
                  </a:lnTo>
                  <a:lnTo>
                    <a:pt x="212" y="17"/>
                  </a:lnTo>
                  <a:lnTo>
                    <a:pt x="221" y="16"/>
                  </a:lnTo>
                  <a:lnTo>
                    <a:pt x="233" y="9"/>
                  </a:lnTo>
                  <a:lnTo>
                    <a:pt x="237" y="9"/>
                  </a:lnTo>
                  <a:lnTo>
                    <a:pt x="240" y="12"/>
                  </a:lnTo>
                  <a:lnTo>
                    <a:pt x="243" y="11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10"/>
                  </a:lnTo>
                  <a:lnTo>
                    <a:pt x="250" y="10"/>
                  </a:lnTo>
                  <a:lnTo>
                    <a:pt x="253" y="9"/>
                  </a:lnTo>
                  <a:lnTo>
                    <a:pt x="259" y="8"/>
                  </a:lnTo>
                  <a:lnTo>
                    <a:pt x="263" y="8"/>
                  </a:lnTo>
                  <a:lnTo>
                    <a:pt x="261" y="11"/>
                  </a:lnTo>
                  <a:lnTo>
                    <a:pt x="259" y="12"/>
                  </a:lnTo>
                  <a:lnTo>
                    <a:pt x="263" y="14"/>
                  </a:lnTo>
                  <a:lnTo>
                    <a:pt x="264" y="20"/>
                  </a:lnTo>
                  <a:lnTo>
                    <a:pt x="278" y="20"/>
                  </a:lnTo>
                  <a:lnTo>
                    <a:pt x="286" y="24"/>
                  </a:lnTo>
                  <a:lnTo>
                    <a:pt x="285" y="30"/>
                  </a:lnTo>
                  <a:lnTo>
                    <a:pt x="277" y="34"/>
                  </a:lnTo>
                  <a:lnTo>
                    <a:pt x="278" y="36"/>
                  </a:lnTo>
                  <a:lnTo>
                    <a:pt x="274" y="37"/>
                  </a:lnTo>
                  <a:lnTo>
                    <a:pt x="272" y="40"/>
                  </a:lnTo>
                  <a:lnTo>
                    <a:pt x="265" y="43"/>
                  </a:lnTo>
                  <a:lnTo>
                    <a:pt x="260" y="44"/>
                  </a:lnTo>
                  <a:lnTo>
                    <a:pt x="255" y="46"/>
                  </a:lnTo>
                  <a:lnTo>
                    <a:pt x="247" y="46"/>
                  </a:lnTo>
                  <a:lnTo>
                    <a:pt x="241" y="49"/>
                  </a:lnTo>
                  <a:lnTo>
                    <a:pt x="229" y="50"/>
                  </a:lnTo>
                  <a:lnTo>
                    <a:pt x="225" y="50"/>
                  </a:lnTo>
                  <a:lnTo>
                    <a:pt x="217" y="50"/>
                  </a:lnTo>
                  <a:lnTo>
                    <a:pt x="212" y="49"/>
                  </a:lnTo>
                  <a:lnTo>
                    <a:pt x="211" y="49"/>
                  </a:lnTo>
                  <a:lnTo>
                    <a:pt x="212" y="53"/>
                  </a:lnTo>
                  <a:lnTo>
                    <a:pt x="221" y="54"/>
                  </a:lnTo>
                  <a:lnTo>
                    <a:pt x="224" y="53"/>
                  </a:lnTo>
                  <a:lnTo>
                    <a:pt x="234" y="52"/>
                  </a:lnTo>
                  <a:lnTo>
                    <a:pt x="235" y="55"/>
                  </a:lnTo>
                  <a:lnTo>
                    <a:pt x="225" y="57"/>
                  </a:lnTo>
                  <a:lnTo>
                    <a:pt x="214" y="60"/>
                  </a:lnTo>
                  <a:lnTo>
                    <a:pt x="207" y="62"/>
                  </a:lnTo>
                  <a:lnTo>
                    <a:pt x="197" y="62"/>
                  </a:lnTo>
                  <a:lnTo>
                    <a:pt x="194" y="64"/>
                  </a:lnTo>
                  <a:lnTo>
                    <a:pt x="203" y="65"/>
                  </a:lnTo>
                  <a:lnTo>
                    <a:pt x="205" y="63"/>
                  </a:lnTo>
                  <a:lnTo>
                    <a:pt x="209" y="63"/>
                  </a:lnTo>
                  <a:lnTo>
                    <a:pt x="217" y="61"/>
                  </a:lnTo>
                  <a:lnTo>
                    <a:pt x="231" y="57"/>
                  </a:lnTo>
                  <a:lnTo>
                    <a:pt x="236" y="56"/>
                  </a:lnTo>
                  <a:lnTo>
                    <a:pt x="242" y="54"/>
                  </a:lnTo>
                  <a:lnTo>
                    <a:pt x="248" y="53"/>
                  </a:lnTo>
                  <a:lnTo>
                    <a:pt x="253" y="53"/>
                  </a:lnTo>
                  <a:lnTo>
                    <a:pt x="254" y="54"/>
                  </a:lnTo>
                  <a:lnTo>
                    <a:pt x="251" y="55"/>
                  </a:lnTo>
                  <a:lnTo>
                    <a:pt x="246" y="60"/>
                  </a:lnTo>
                  <a:lnTo>
                    <a:pt x="242" y="60"/>
                  </a:lnTo>
                  <a:lnTo>
                    <a:pt x="235" y="66"/>
                  </a:lnTo>
                  <a:lnTo>
                    <a:pt x="232" y="67"/>
                  </a:lnTo>
                  <a:lnTo>
                    <a:pt x="225" y="72"/>
                  </a:lnTo>
                  <a:lnTo>
                    <a:pt x="222" y="74"/>
                  </a:lnTo>
                  <a:lnTo>
                    <a:pt x="212" y="79"/>
                  </a:lnTo>
                  <a:lnTo>
                    <a:pt x="209" y="84"/>
                  </a:lnTo>
                  <a:lnTo>
                    <a:pt x="201" y="86"/>
                  </a:lnTo>
                  <a:lnTo>
                    <a:pt x="198" y="85"/>
                  </a:lnTo>
                  <a:lnTo>
                    <a:pt x="197" y="83"/>
                  </a:lnTo>
                  <a:lnTo>
                    <a:pt x="192" y="82"/>
                  </a:lnTo>
                  <a:lnTo>
                    <a:pt x="193" y="85"/>
                  </a:lnTo>
                  <a:lnTo>
                    <a:pt x="197" y="87"/>
                  </a:lnTo>
                  <a:lnTo>
                    <a:pt x="200" y="90"/>
                  </a:lnTo>
                  <a:lnTo>
                    <a:pt x="190" y="91"/>
                  </a:lnTo>
                  <a:lnTo>
                    <a:pt x="187" y="92"/>
                  </a:lnTo>
                  <a:lnTo>
                    <a:pt x="182" y="91"/>
                  </a:lnTo>
                  <a:lnTo>
                    <a:pt x="178" y="92"/>
                  </a:lnTo>
                  <a:lnTo>
                    <a:pt x="178" y="95"/>
                  </a:lnTo>
                  <a:lnTo>
                    <a:pt x="180" y="95"/>
                  </a:lnTo>
                  <a:lnTo>
                    <a:pt x="189" y="94"/>
                  </a:lnTo>
                  <a:lnTo>
                    <a:pt x="192" y="95"/>
                  </a:lnTo>
                  <a:lnTo>
                    <a:pt x="189" y="97"/>
                  </a:lnTo>
                  <a:lnTo>
                    <a:pt x="190" y="99"/>
                  </a:lnTo>
                  <a:lnTo>
                    <a:pt x="183" y="102"/>
                  </a:lnTo>
                  <a:lnTo>
                    <a:pt x="175" y="103"/>
                  </a:lnTo>
                  <a:lnTo>
                    <a:pt x="172" y="102"/>
                  </a:lnTo>
                  <a:lnTo>
                    <a:pt x="164" y="99"/>
                  </a:lnTo>
                  <a:lnTo>
                    <a:pt x="158" y="100"/>
                  </a:lnTo>
                  <a:lnTo>
                    <a:pt x="159" y="102"/>
                  </a:lnTo>
                  <a:lnTo>
                    <a:pt x="169" y="103"/>
                  </a:lnTo>
                  <a:lnTo>
                    <a:pt x="170" y="106"/>
                  </a:lnTo>
                  <a:lnTo>
                    <a:pt x="164" y="107"/>
                  </a:lnTo>
                  <a:lnTo>
                    <a:pt x="156" y="107"/>
                  </a:lnTo>
                  <a:lnTo>
                    <a:pt x="156" y="110"/>
                  </a:lnTo>
                  <a:lnTo>
                    <a:pt x="149" y="110"/>
                  </a:lnTo>
                  <a:lnTo>
                    <a:pt x="148" y="109"/>
                  </a:lnTo>
                  <a:lnTo>
                    <a:pt x="145" y="108"/>
                  </a:lnTo>
                  <a:lnTo>
                    <a:pt x="137" y="110"/>
                  </a:lnTo>
                  <a:lnTo>
                    <a:pt x="144" y="111"/>
                  </a:lnTo>
                  <a:lnTo>
                    <a:pt x="135" y="111"/>
                  </a:lnTo>
                  <a:lnTo>
                    <a:pt x="136" y="112"/>
                  </a:lnTo>
                  <a:lnTo>
                    <a:pt x="131" y="112"/>
                  </a:lnTo>
                  <a:lnTo>
                    <a:pt x="130" y="114"/>
                  </a:lnTo>
                  <a:lnTo>
                    <a:pt x="145" y="113"/>
                  </a:lnTo>
                  <a:lnTo>
                    <a:pt x="159" y="114"/>
                  </a:lnTo>
                  <a:lnTo>
                    <a:pt x="158" y="118"/>
                  </a:lnTo>
                  <a:lnTo>
                    <a:pt x="151" y="118"/>
                  </a:lnTo>
                  <a:lnTo>
                    <a:pt x="146" y="116"/>
                  </a:lnTo>
                  <a:lnTo>
                    <a:pt x="138" y="115"/>
                  </a:lnTo>
                  <a:lnTo>
                    <a:pt x="130" y="116"/>
                  </a:lnTo>
                  <a:lnTo>
                    <a:pt x="130" y="117"/>
                  </a:lnTo>
                  <a:lnTo>
                    <a:pt x="141" y="117"/>
                  </a:lnTo>
                  <a:lnTo>
                    <a:pt x="141" y="118"/>
                  </a:lnTo>
                  <a:lnTo>
                    <a:pt x="135" y="118"/>
                  </a:lnTo>
                  <a:lnTo>
                    <a:pt x="129" y="119"/>
                  </a:lnTo>
                  <a:lnTo>
                    <a:pt x="131" y="120"/>
                  </a:lnTo>
                  <a:lnTo>
                    <a:pt x="140" y="119"/>
                  </a:lnTo>
                  <a:lnTo>
                    <a:pt x="146" y="122"/>
                  </a:lnTo>
                  <a:lnTo>
                    <a:pt x="153" y="122"/>
                  </a:lnTo>
                  <a:lnTo>
                    <a:pt x="158" y="128"/>
                  </a:lnTo>
                  <a:lnTo>
                    <a:pt x="153" y="129"/>
                  </a:lnTo>
                  <a:lnTo>
                    <a:pt x="146" y="129"/>
                  </a:lnTo>
                  <a:lnTo>
                    <a:pt x="144" y="129"/>
                  </a:lnTo>
                  <a:lnTo>
                    <a:pt x="153" y="131"/>
                  </a:lnTo>
                  <a:lnTo>
                    <a:pt x="154" y="135"/>
                  </a:lnTo>
                  <a:lnTo>
                    <a:pt x="152" y="136"/>
                  </a:lnTo>
                  <a:lnTo>
                    <a:pt x="143" y="136"/>
                  </a:lnTo>
                  <a:lnTo>
                    <a:pt x="137" y="137"/>
                  </a:lnTo>
                  <a:lnTo>
                    <a:pt x="138" y="138"/>
                  </a:lnTo>
                  <a:lnTo>
                    <a:pt x="145" y="138"/>
                  </a:lnTo>
                  <a:lnTo>
                    <a:pt x="149" y="140"/>
                  </a:lnTo>
                  <a:lnTo>
                    <a:pt x="139" y="143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7" y="145"/>
                  </a:lnTo>
                  <a:lnTo>
                    <a:pt x="130" y="150"/>
                  </a:lnTo>
                  <a:lnTo>
                    <a:pt x="121" y="154"/>
                  </a:lnTo>
                  <a:lnTo>
                    <a:pt x="105" y="154"/>
                  </a:lnTo>
                  <a:lnTo>
                    <a:pt x="98" y="149"/>
                  </a:lnTo>
                  <a:lnTo>
                    <a:pt x="96" y="150"/>
                  </a:lnTo>
                  <a:lnTo>
                    <a:pt x="99" y="153"/>
                  </a:lnTo>
                  <a:lnTo>
                    <a:pt x="93" y="156"/>
                  </a:lnTo>
                  <a:lnTo>
                    <a:pt x="94" y="157"/>
                  </a:lnTo>
                  <a:lnTo>
                    <a:pt x="107" y="157"/>
                  </a:lnTo>
                  <a:lnTo>
                    <a:pt x="110" y="158"/>
                  </a:lnTo>
                  <a:lnTo>
                    <a:pt x="114" y="156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3"/>
                  </a:lnTo>
                  <a:lnTo>
                    <a:pt x="120" y="164"/>
                  </a:lnTo>
                  <a:lnTo>
                    <a:pt x="124" y="160"/>
                  </a:lnTo>
                  <a:lnTo>
                    <a:pt x="128" y="161"/>
                  </a:lnTo>
                  <a:lnTo>
                    <a:pt x="130" y="168"/>
                  </a:lnTo>
                  <a:lnTo>
                    <a:pt x="127" y="171"/>
                  </a:lnTo>
                  <a:lnTo>
                    <a:pt x="120" y="171"/>
                  </a:lnTo>
                  <a:lnTo>
                    <a:pt x="119" y="173"/>
                  </a:lnTo>
                  <a:lnTo>
                    <a:pt x="107" y="177"/>
                  </a:lnTo>
                  <a:lnTo>
                    <a:pt x="103" y="177"/>
                  </a:lnTo>
                  <a:lnTo>
                    <a:pt x="104" y="173"/>
                  </a:lnTo>
                  <a:lnTo>
                    <a:pt x="103" y="172"/>
                  </a:lnTo>
                  <a:lnTo>
                    <a:pt x="99" y="171"/>
                  </a:lnTo>
                  <a:lnTo>
                    <a:pt x="96" y="169"/>
                  </a:lnTo>
                  <a:lnTo>
                    <a:pt x="90" y="169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5" y="173"/>
                  </a:lnTo>
                  <a:lnTo>
                    <a:pt x="84" y="169"/>
                  </a:lnTo>
                  <a:lnTo>
                    <a:pt x="79" y="169"/>
                  </a:lnTo>
                  <a:lnTo>
                    <a:pt x="81" y="171"/>
                  </a:lnTo>
                  <a:lnTo>
                    <a:pt x="78" y="172"/>
                  </a:lnTo>
                  <a:lnTo>
                    <a:pt x="77" y="169"/>
                  </a:lnTo>
                  <a:lnTo>
                    <a:pt x="71" y="170"/>
                  </a:lnTo>
                  <a:lnTo>
                    <a:pt x="71" y="171"/>
                  </a:lnTo>
                  <a:lnTo>
                    <a:pt x="69" y="172"/>
                  </a:lnTo>
                  <a:lnTo>
                    <a:pt x="67" y="171"/>
                  </a:lnTo>
                  <a:lnTo>
                    <a:pt x="63" y="170"/>
                  </a:lnTo>
                  <a:lnTo>
                    <a:pt x="60" y="171"/>
                  </a:lnTo>
                  <a:lnTo>
                    <a:pt x="66" y="175"/>
                  </a:lnTo>
                  <a:lnTo>
                    <a:pt x="58" y="174"/>
                  </a:lnTo>
                  <a:lnTo>
                    <a:pt x="52" y="173"/>
                  </a:lnTo>
                  <a:lnTo>
                    <a:pt x="53" y="170"/>
                  </a:lnTo>
                  <a:lnTo>
                    <a:pt x="49" y="170"/>
                  </a:lnTo>
                  <a:lnTo>
                    <a:pt x="48" y="172"/>
                  </a:lnTo>
                  <a:lnTo>
                    <a:pt x="44" y="173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40" y="172"/>
                  </a:lnTo>
                  <a:lnTo>
                    <a:pt x="38" y="173"/>
                  </a:lnTo>
                  <a:lnTo>
                    <a:pt x="33" y="173"/>
                  </a:lnTo>
                  <a:lnTo>
                    <a:pt x="32" y="170"/>
                  </a:lnTo>
                  <a:lnTo>
                    <a:pt x="30" y="169"/>
                  </a:lnTo>
                  <a:lnTo>
                    <a:pt x="29" y="170"/>
                  </a:lnTo>
                  <a:lnTo>
                    <a:pt x="28" y="172"/>
                  </a:lnTo>
                  <a:lnTo>
                    <a:pt x="23" y="172"/>
                  </a:lnTo>
                  <a:lnTo>
                    <a:pt x="22" y="163"/>
                  </a:lnTo>
                  <a:lnTo>
                    <a:pt x="28" y="163"/>
                  </a:lnTo>
                  <a:lnTo>
                    <a:pt x="33" y="159"/>
                  </a:lnTo>
                  <a:lnTo>
                    <a:pt x="37" y="159"/>
                  </a:lnTo>
                  <a:lnTo>
                    <a:pt x="43" y="159"/>
                  </a:lnTo>
                  <a:lnTo>
                    <a:pt x="47" y="157"/>
                  </a:lnTo>
                  <a:lnTo>
                    <a:pt x="47" y="15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7" name="Freeform 129"/>
            <p:cNvSpPr>
              <a:spLocks/>
            </p:cNvSpPr>
            <p:nvPr/>
          </p:nvSpPr>
          <p:spPr bwMode="gray">
            <a:xfrm>
              <a:off x="2008" y="2092"/>
              <a:ext cx="81" cy="101"/>
            </a:xfrm>
            <a:custGeom>
              <a:avLst/>
              <a:gdLst>
                <a:gd name="T0" fmla="*/ 2147483647 w 62"/>
                <a:gd name="T1" fmla="*/ 0 h 77"/>
                <a:gd name="T2" fmla="*/ 2147483647 w 62"/>
                <a:gd name="T3" fmla="*/ 2147483647 h 77"/>
                <a:gd name="T4" fmla="*/ 2147483647 w 62"/>
                <a:gd name="T5" fmla="*/ 2147483647 h 77"/>
                <a:gd name="T6" fmla="*/ 2147483647 w 62"/>
                <a:gd name="T7" fmla="*/ 2147483647 h 77"/>
                <a:gd name="T8" fmla="*/ 2147483647 w 62"/>
                <a:gd name="T9" fmla="*/ 2147483647 h 77"/>
                <a:gd name="T10" fmla="*/ 2147483647 w 62"/>
                <a:gd name="T11" fmla="*/ 2147483647 h 77"/>
                <a:gd name="T12" fmla="*/ 2147483647 w 62"/>
                <a:gd name="T13" fmla="*/ 2147483647 h 77"/>
                <a:gd name="T14" fmla="*/ 2147483647 w 62"/>
                <a:gd name="T15" fmla="*/ 2147483647 h 77"/>
                <a:gd name="T16" fmla="*/ 2147483647 w 62"/>
                <a:gd name="T17" fmla="*/ 2147483647 h 77"/>
                <a:gd name="T18" fmla="*/ 2147483647 w 62"/>
                <a:gd name="T19" fmla="*/ 2147483647 h 77"/>
                <a:gd name="T20" fmla="*/ 2147483647 w 62"/>
                <a:gd name="T21" fmla="*/ 2147483647 h 77"/>
                <a:gd name="T22" fmla="*/ 2147483647 w 62"/>
                <a:gd name="T23" fmla="*/ 2147483647 h 77"/>
                <a:gd name="T24" fmla="*/ 2147483647 w 62"/>
                <a:gd name="T25" fmla="*/ 2147483647 h 77"/>
                <a:gd name="T26" fmla="*/ 2147483647 w 62"/>
                <a:gd name="T27" fmla="*/ 2147483647 h 77"/>
                <a:gd name="T28" fmla="*/ 2147483647 w 62"/>
                <a:gd name="T29" fmla="*/ 2147483647 h 77"/>
                <a:gd name="T30" fmla="*/ 2147483647 w 62"/>
                <a:gd name="T31" fmla="*/ 2147483647 h 77"/>
                <a:gd name="T32" fmla="*/ 2147483647 w 62"/>
                <a:gd name="T33" fmla="*/ 2147483647 h 77"/>
                <a:gd name="T34" fmla="*/ 2147483647 w 62"/>
                <a:gd name="T35" fmla="*/ 2147483647 h 77"/>
                <a:gd name="T36" fmla="*/ 2147483647 w 62"/>
                <a:gd name="T37" fmla="*/ 2147483647 h 77"/>
                <a:gd name="T38" fmla="*/ 2147483647 w 62"/>
                <a:gd name="T39" fmla="*/ 2147483647 h 77"/>
                <a:gd name="T40" fmla="*/ 2147483647 w 62"/>
                <a:gd name="T41" fmla="*/ 2147483647 h 77"/>
                <a:gd name="T42" fmla="*/ 2147483647 w 62"/>
                <a:gd name="T43" fmla="*/ 2147483647 h 77"/>
                <a:gd name="T44" fmla="*/ 2147483647 w 62"/>
                <a:gd name="T45" fmla="*/ 2147483647 h 77"/>
                <a:gd name="T46" fmla="*/ 2147483647 w 62"/>
                <a:gd name="T47" fmla="*/ 2147483647 h 77"/>
                <a:gd name="T48" fmla="*/ 2147483647 w 62"/>
                <a:gd name="T49" fmla="*/ 2147483647 h 77"/>
                <a:gd name="T50" fmla="*/ 2147483647 w 62"/>
                <a:gd name="T51" fmla="*/ 2147483647 h 77"/>
                <a:gd name="T52" fmla="*/ 2147483647 w 62"/>
                <a:gd name="T53" fmla="*/ 2147483647 h 77"/>
                <a:gd name="T54" fmla="*/ 2147483647 w 62"/>
                <a:gd name="T55" fmla="*/ 2147483647 h 77"/>
                <a:gd name="T56" fmla="*/ 2147483647 w 62"/>
                <a:gd name="T57" fmla="*/ 2147483647 h 77"/>
                <a:gd name="T58" fmla="*/ 0 w 62"/>
                <a:gd name="T59" fmla="*/ 2147483647 h 77"/>
                <a:gd name="T60" fmla="*/ 2147483647 w 62"/>
                <a:gd name="T61" fmla="*/ 2147483647 h 77"/>
                <a:gd name="T62" fmla="*/ 2147483647 w 62"/>
                <a:gd name="T63" fmla="*/ 2147483647 h 77"/>
                <a:gd name="T64" fmla="*/ 0 w 62"/>
                <a:gd name="T65" fmla="*/ 2147483647 h 77"/>
                <a:gd name="T66" fmla="*/ 2147483647 w 62"/>
                <a:gd name="T67" fmla="*/ 2147483647 h 77"/>
                <a:gd name="T68" fmla="*/ 2147483647 w 62"/>
                <a:gd name="T69" fmla="*/ 2147483647 h 77"/>
                <a:gd name="T70" fmla="*/ 2147483647 w 62"/>
                <a:gd name="T71" fmla="*/ 2147483647 h 77"/>
                <a:gd name="T72" fmla="*/ 2147483647 w 62"/>
                <a:gd name="T73" fmla="*/ 2147483647 h 77"/>
                <a:gd name="T74" fmla="*/ 2147483647 w 62"/>
                <a:gd name="T75" fmla="*/ 2147483647 h 77"/>
                <a:gd name="T76" fmla="*/ 2147483647 w 62"/>
                <a:gd name="T77" fmla="*/ 2147483647 h 77"/>
                <a:gd name="T78" fmla="*/ 2147483647 w 62"/>
                <a:gd name="T79" fmla="*/ 0 h 7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"/>
                <a:gd name="T121" fmla="*/ 0 h 77"/>
                <a:gd name="T122" fmla="*/ 62 w 62"/>
                <a:gd name="T123" fmla="*/ 77 h 7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" h="77">
                  <a:moveTo>
                    <a:pt x="37" y="0"/>
                  </a:moveTo>
                  <a:lnTo>
                    <a:pt x="23" y="28"/>
                  </a:lnTo>
                  <a:lnTo>
                    <a:pt x="24" y="32"/>
                  </a:lnTo>
                  <a:lnTo>
                    <a:pt x="29" y="25"/>
                  </a:lnTo>
                  <a:lnTo>
                    <a:pt x="34" y="26"/>
                  </a:lnTo>
                  <a:lnTo>
                    <a:pt x="33" y="33"/>
                  </a:lnTo>
                  <a:lnTo>
                    <a:pt x="38" y="33"/>
                  </a:lnTo>
                  <a:lnTo>
                    <a:pt x="38" y="37"/>
                  </a:lnTo>
                  <a:lnTo>
                    <a:pt x="45" y="34"/>
                  </a:lnTo>
                  <a:lnTo>
                    <a:pt x="53" y="36"/>
                  </a:lnTo>
                  <a:lnTo>
                    <a:pt x="51" y="49"/>
                  </a:lnTo>
                  <a:lnTo>
                    <a:pt x="62" y="47"/>
                  </a:lnTo>
                  <a:lnTo>
                    <a:pt x="60" y="54"/>
                  </a:lnTo>
                  <a:lnTo>
                    <a:pt x="56" y="55"/>
                  </a:lnTo>
                  <a:lnTo>
                    <a:pt x="62" y="59"/>
                  </a:lnTo>
                  <a:lnTo>
                    <a:pt x="61" y="77"/>
                  </a:lnTo>
                  <a:lnTo>
                    <a:pt x="55" y="77"/>
                  </a:lnTo>
                  <a:lnTo>
                    <a:pt x="53" y="73"/>
                  </a:lnTo>
                  <a:lnTo>
                    <a:pt x="49" y="72"/>
                  </a:lnTo>
                  <a:lnTo>
                    <a:pt x="51" y="68"/>
                  </a:lnTo>
                  <a:lnTo>
                    <a:pt x="49" y="62"/>
                  </a:lnTo>
                  <a:lnTo>
                    <a:pt x="44" y="69"/>
                  </a:lnTo>
                  <a:lnTo>
                    <a:pt x="40" y="68"/>
                  </a:lnTo>
                  <a:lnTo>
                    <a:pt x="39" y="61"/>
                  </a:lnTo>
                  <a:lnTo>
                    <a:pt x="33" y="64"/>
                  </a:lnTo>
                  <a:lnTo>
                    <a:pt x="30" y="60"/>
                  </a:lnTo>
                  <a:lnTo>
                    <a:pt x="23" y="63"/>
                  </a:lnTo>
                  <a:lnTo>
                    <a:pt x="17" y="61"/>
                  </a:lnTo>
                  <a:lnTo>
                    <a:pt x="5" y="63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" y="51"/>
                  </a:lnTo>
                  <a:lnTo>
                    <a:pt x="0" y="48"/>
                  </a:lnTo>
                  <a:lnTo>
                    <a:pt x="9" y="44"/>
                  </a:lnTo>
                  <a:lnTo>
                    <a:pt x="9" y="40"/>
                  </a:lnTo>
                  <a:lnTo>
                    <a:pt x="13" y="36"/>
                  </a:lnTo>
                  <a:lnTo>
                    <a:pt x="15" y="26"/>
                  </a:lnTo>
                  <a:lnTo>
                    <a:pt x="21" y="14"/>
                  </a:lnTo>
                  <a:lnTo>
                    <a:pt x="27" y="2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8" name="Freeform 130"/>
            <p:cNvSpPr>
              <a:spLocks/>
            </p:cNvSpPr>
            <p:nvPr/>
          </p:nvSpPr>
          <p:spPr bwMode="gray">
            <a:xfrm>
              <a:off x="2392" y="1601"/>
              <a:ext cx="33" cy="11"/>
            </a:xfrm>
            <a:custGeom>
              <a:avLst/>
              <a:gdLst>
                <a:gd name="T0" fmla="*/ 0 w 26"/>
                <a:gd name="T1" fmla="*/ 2147483647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0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0 w 26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9"/>
                <a:gd name="T29" fmla="*/ 26 w 2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9">
                  <a:moveTo>
                    <a:pt x="0" y="9"/>
                  </a:moveTo>
                  <a:lnTo>
                    <a:pt x="0" y="7"/>
                  </a:lnTo>
                  <a:lnTo>
                    <a:pt x="7" y="3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6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39" name="Freeform 131"/>
            <p:cNvSpPr>
              <a:spLocks/>
            </p:cNvSpPr>
            <p:nvPr/>
          </p:nvSpPr>
          <p:spPr bwMode="gray">
            <a:xfrm>
              <a:off x="2475" y="1277"/>
              <a:ext cx="16" cy="11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w 12"/>
                <a:gd name="T11" fmla="*/ 2147483647 h 8"/>
                <a:gd name="T12" fmla="*/ 2147483647 w 12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3" y="0"/>
                  </a:moveTo>
                  <a:lnTo>
                    <a:pt x="7" y="1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3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0" name="Freeform 132"/>
            <p:cNvSpPr>
              <a:spLocks/>
            </p:cNvSpPr>
            <p:nvPr/>
          </p:nvSpPr>
          <p:spPr bwMode="gray">
            <a:xfrm>
              <a:off x="2489" y="1275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0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0"/>
                  </a:moveTo>
                  <a:lnTo>
                    <a:pt x="4" y="0"/>
                  </a:lnTo>
                  <a:lnTo>
                    <a:pt x="6" y="7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1" name="Freeform 133"/>
            <p:cNvSpPr>
              <a:spLocks/>
            </p:cNvSpPr>
            <p:nvPr/>
          </p:nvSpPr>
          <p:spPr bwMode="gray">
            <a:xfrm>
              <a:off x="2493" y="1293"/>
              <a:ext cx="13" cy="4"/>
            </a:xfrm>
            <a:custGeom>
              <a:avLst/>
              <a:gdLst>
                <a:gd name="T0" fmla="*/ 0 w 10"/>
                <a:gd name="T1" fmla="*/ 0 h 3"/>
                <a:gd name="T2" fmla="*/ 2147483647 w 10"/>
                <a:gd name="T3" fmla="*/ 2147483647 h 3"/>
                <a:gd name="T4" fmla="*/ 2147483647 w 10"/>
                <a:gd name="T5" fmla="*/ 2147483647 h 3"/>
                <a:gd name="T6" fmla="*/ 2147483647 w 10"/>
                <a:gd name="T7" fmla="*/ 2147483647 h 3"/>
                <a:gd name="T8" fmla="*/ 0 w 10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0"/>
                  </a:moveTo>
                  <a:lnTo>
                    <a:pt x="7" y="1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2" name="Freeform 134"/>
            <p:cNvSpPr>
              <a:spLocks/>
            </p:cNvSpPr>
            <p:nvPr/>
          </p:nvSpPr>
          <p:spPr bwMode="gray">
            <a:xfrm>
              <a:off x="2512" y="1384"/>
              <a:ext cx="6" cy="4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2147483647 w 5"/>
                <a:gd name="T5" fmla="*/ 2147483647 h 3"/>
                <a:gd name="T6" fmla="*/ 0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1" y="0"/>
                  </a:moveTo>
                  <a:lnTo>
                    <a:pt x="5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3" name="Freeform 135"/>
            <p:cNvSpPr>
              <a:spLocks/>
            </p:cNvSpPr>
            <p:nvPr/>
          </p:nvSpPr>
          <p:spPr bwMode="gray">
            <a:xfrm>
              <a:off x="2501" y="1393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0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6"/>
                <a:gd name="T23" fmla="*/ 10 w 10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6">
                  <a:moveTo>
                    <a:pt x="6" y="0"/>
                  </a:moveTo>
                  <a:lnTo>
                    <a:pt x="10" y="0"/>
                  </a:lnTo>
                  <a:lnTo>
                    <a:pt x="9" y="3"/>
                  </a:lnTo>
                  <a:lnTo>
                    <a:pt x="4" y="6"/>
                  </a:lnTo>
                  <a:lnTo>
                    <a:pt x="0" y="5"/>
                  </a:lnTo>
                  <a:lnTo>
                    <a:pt x="5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4" name="Freeform 136"/>
            <p:cNvSpPr>
              <a:spLocks/>
            </p:cNvSpPr>
            <p:nvPr/>
          </p:nvSpPr>
          <p:spPr bwMode="gray">
            <a:xfrm>
              <a:off x="2509" y="1421"/>
              <a:ext cx="8" cy="6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0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4" y="0"/>
                  </a:moveTo>
                  <a:lnTo>
                    <a:pt x="6" y="0"/>
                  </a:lnTo>
                  <a:lnTo>
                    <a:pt x="3" y="5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5" name="Freeform 137"/>
            <p:cNvSpPr>
              <a:spLocks/>
            </p:cNvSpPr>
            <p:nvPr/>
          </p:nvSpPr>
          <p:spPr bwMode="gray">
            <a:xfrm>
              <a:off x="2498" y="1451"/>
              <a:ext cx="8" cy="21"/>
            </a:xfrm>
            <a:custGeom>
              <a:avLst/>
              <a:gdLst>
                <a:gd name="T0" fmla="*/ 2147483647 w 6"/>
                <a:gd name="T1" fmla="*/ 0 h 16"/>
                <a:gd name="T2" fmla="*/ 2147483647 w 6"/>
                <a:gd name="T3" fmla="*/ 2147483647 h 16"/>
                <a:gd name="T4" fmla="*/ 2147483647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1" y="0"/>
                  </a:moveTo>
                  <a:lnTo>
                    <a:pt x="6" y="2"/>
                  </a:lnTo>
                  <a:lnTo>
                    <a:pt x="4" y="7"/>
                  </a:lnTo>
                  <a:lnTo>
                    <a:pt x="4" y="16"/>
                  </a:lnTo>
                  <a:lnTo>
                    <a:pt x="0" y="1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6" name="Freeform 138"/>
            <p:cNvSpPr>
              <a:spLocks/>
            </p:cNvSpPr>
            <p:nvPr/>
          </p:nvSpPr>
          <p:spPr bwMode="gray">
            <a:xfrm>
              <a:off x="2500" y="1485"/>
              <a:ext cx="21" cy="9"/>
            </a:xfrm>
            <a:custGeom>
              <a:avLst/>
              <a:gdLst>
                <a:gd name="T0" fmla="*/ 2147483647 w 16"/>
                <a:gd name="T1" fmla="*/ 0 h 7"/>
                <a:gd name="T2" fmla="*/ 2147483647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0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7"/>
                <a:gd name="T29" fmla="*/ 16 w 1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7">
                  <a:moveTo>
                    <a:pt x="8" y="0"/>
                  </a:moveTo>
                  <a:lnTo>
                    <a:pt x="10" y="4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1" y="7"/>
                  </a:lnTo>
                  <a:lnTo>
                    <a:pt x="5" y="7"/>
                  </a:lnTo>
                  <a:lnTo>
                    <a:pt x="0" y="3"/>
                  </a:lnTo>
                  <a:lnTo>
                    <a:pt x="1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7" name="Freeform 139"/>
            <p:cNvSpPr>
              <a:spLocks/>
            </p:cNvSpPr>
            <p:nvPr/>
          </p:nvSpPr>
          <p:spPr bwMode="gray">
            <a:xfrm>
              <a:off x="2484" y="1494"/>
              <a:ext cx="8" cy="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2" y="0"/>
                  </a:move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8" name="Freeform 140"/>
            <p:cNvSpPr>
              <a:spLocks/>
            </p:cNvSpPr>
            <p:nvPr/>
          </p:nvSpPr>
          <p:spPr bwMode="gray">
            <a:xfrm>
              <a:off x="2470" y="1511"/>
              <a:ext cx="14" cy="9"/>
            </a:xfrm>
            <a:custGeom>
              <a:avLst/>
              <a:gdLst>
                <a:gd name="T0" fmla="*/ 0 w 11"/>
                <a:gd name="T1" fmla="*/ 2147483647 h 7"/>
                <a:gd name="T2" fmla="*/ 0 w 11"/>
                <a:gd name="T3" fmla="*/ 2147483647 h 7"/>
                <a:gd name="T4" fmla="*/ 2147483647 w 11"/>
                <a:gd name="T5" fmla="*/ 0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2147483647 w 11"/>
                <a:gd name="T11" fmla="*/ 2147483647 h 7"/>
                <a:gd name="T12" fmla="*/ 0 w 11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7"/>
                <a:gd name="T23" fmla="*/ 11 w 11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7">
                  <a:moveTo>
                    <a:pt x="0" y="4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49" name="Freeform 141"/>
            <p:cNvSpPr>
              <a:spLocks/>
            </p:cNvSpPr>
            <p:nvPr/>
          </p:nvSpPr>
          <p:spPr bwMode="gray">
            <a:xfrm>
              <a:off x="2436" y="1556"/>
              <a:ext cx="31" cy="17"/>
            </a:xfrm>
            <a:custGeom>
              <a:avLst/>
              <a:gdLst>
                <a:gd name="T0" fmla="*/ 0 w 24"/>
                <a:gd name="T1" fmla="*/ 2147483647 h 13"/>
                <a:gd name="T2" fmla="*/ 2147483647 w 24"/>
                <a:gd name="T3" fmla="*/ 0 h 13"/>
                <a:gd name="T4" fmla="*/ 2147483647 w 24"/>
                <a:gd name="T5" fmla="*/ 0 h 13"/>
                <a:gd name="T6" fmla="*/ 2147483647 w 24"/>
                <a:gd name="T7" fmla="*/ 2147483647 h 13"/>
                <a:gd name="T8" fmla="*/ 2147483647 w 24"/>
                <a:gd name="T9" fmla="*/ 2147483647 h 13"/>
                <a:gd name="T10" fmla="*/ 2147483647 w 24"/>
                <a:gd name="T11" fmla="*/ 2147483647 h 13"/>
                <a:gd name="T12" fmla="*/ 2147483647 w 24"/>
                <a:gd name="T13" fmla="*/ 2147483647 h 13"/>
                <a:gd name="T14" fmla="*/ 2147483647 w 24"/>
                <a:gd name="T15" fmla="*/ 2147483647 h 13"/>
                <a:gd name="T16" fmla="*/ 2147483647 w 24"/>
                <a:gd name="T17" fmla="*/ 2147483647 h 13"/>
                <a:gd name="T18" fmla="*/ 2147483647 w 24"/>
                <a:gd name="T19" fmla="*/ 2147483647 h 13"/>
                <a:gd name="T20" fmla="*/ 0 w 24"/>
                <a:gd name="T21" fmla="*/ 2147483647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13"/>
                <a:gd name="T35" fmla="*/ 24 w 24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13">
                  <a:moveTo>
                    <a:pt x="0" y="2"/>
                  </a:moveTo>
                  <a:lnTo>
                    <a:pt x="2" y="0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4" y="5"/>
                  </a:lnTo>
                  <a:lnTo>
                    <a:pt x="24" y="7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0" y="13"/>
                  </a:lnTo>
                  <a:lnTo>
                    <a:pt x="8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0" name="Freeform 142"/>
            <p:cNvSpPr>
              <a:spLocks/>
            </p:cNvSpPr>
            <p:nvPr/>
          </p:nvSpPr>
          <p:spPr bwMode="gray">
            <a:xfrm>
              <a:off x="2425" y="1539"/>
              <a:ext cx="21" cy="10"/>
            </a:xfrm>
            <a:custGeom>
              <a:avLst/>
              <a:gdLst>
                <a:gd name="T0" fmla="*/ 2147483647 w 16"/>
                <a:gd name="T1" fmla="*/ 2147483647 h 7"/>
                <a:gd name="T2" fmla="*/ 0 w 16"/>
                <a:gd name="T3" fmla="*/ 2147483647 h 7"/>
                <a:gd name="T4" fmla="*/ 2147483647 w 16"/>
                <a:gd name="T5" fmla="*/ 2147483647 h 7"/>
                <a:gd name="T6" fmla="*/ 2147483647 w 16"/>
                <a:gd name="T7" fmla="*/ 0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2147483647 h 7"/>
                <a:gd name="T16" fmla="*/ 2147483647 w 16"/>
                <a:gd name="T17" fmla="*/ 2147483647 h 7"/>
                <a:gd name="T18" fmla="*/ 2147483647 w 1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" y="5"/>
                  </a:moveTo>
                  <a:lnTo>
                    <a:pt x="0" y="3"/>
                  </a:lnTo>
                  <a:lnTo>
                    <a:pt x="5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5" y="7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1" name="Freeform 143"/>
            <p:cNvSpPr>
              <a:spLocks/>
            </p:cNvSpPr>
            <p:nvPr/>
          </p:nvSpPr>
          <p:spPr bwMode="gray">
            <a:xfrm>
              <a:off x="2442" y="1549"/>
              <a:ext cx="25" cy="10"/>
            </a:xfrm>
            <a:custGeom>
              <a:avLst/>
              <a:gdLst>
                <a:gd name="T0" fmla="*/ 0 w 19"/>
                <a:gd name="T1" fmla="*/ 2147483647 h 8"/>
                <a:gd name="T2" fmla="*/ 2147483647 w 19"/>
                <a:gd name="T3" fmla="*/ 0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2147483647 h 8"/>
                <a:gd name="T10" fmla="*/ 2147483647 w 19"/>
                <a:gd name="T11" fmla="*/ 2147483647 h 8"/>
                <a:gd name="T12" fmla="*/ 0 w 1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8"/>
                <a:gd name="T23" fmla="*/ 19 w 1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8">
                  <a:moveTo>
                    <a:pt x="0" y="2"/>
                  </a:moveTo>
                  <a:lnTo>
                    <a:pt x="8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17" y="8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2" name="Freeform 144"/>
            <p:cNvSpPr>
              <a:spLocks/>
            </p:cNvSpPr>
            <p:nvPr/>
          </p:nvSpPr>
          <p:spPr bwMode="gray">
            <a:xfrm>
              <a:off x="1223" y="2150"/>
              <a:ext cx="693" cy="397"/>
            </a:xfrm>
            <a:custGeom>
              <a:avLst/>
              <a:gdLst>
                <a:gd name="T0" fmla="*/ 2147483647 w 531"/>
                <a:gd name="T1" fmla="*/ 2147483647 h 305"/>
                <a:gd name="T2" fmla="*/ 2147483647 w 531"/>
                <a:gd name="T3" fmla="*/ 2147483647 h 305"/>
                <a:gd name="T4" fmla="*/ 2147483647 w 531"/>
                <a:gd name="T5" fmla="*/ 2147483647 h 305"/>
                <a:gd name="T6" fmla="*/ 2147483647 w 531"/>
                <a:gd name="T7" fmla="*/ 2147483647 h 305"/>
                <a:gd name="T8" fmla="*/ 2147483647 w 531"/>
                <a:gd name="T9" fmla="*/ 2147483647 h 305"/>
                <a:gd name="T10" fmla="*/ 2147483647 w 531"/>
                <a:gd name="T11" fmla="*/ 2147483647 h 305"/>
                <a:gd name="T12" fmla="*/ 2147483647 w 531"/>
                <a:gd name="T13" fmla="*/ 2147483647 h 305"/>
                <a:gd name="T14" fmla="*/ 2147483647 w 531"/>
                <a:gd name="T15" fmla="*/ 2147483647 h 305"/>
                <a:gd name="T16" fmla="*/ 2147483647 w 531"/>
                <a:gd name="T17" fmla="*/ 2147483647 h 305"/>
                <a:gd name="T18" fmla="*/ 2147483647 w 531"/>
                <a:gd name="T19" fmla="*/ 2147483647 h 305"/>
                <a:gd name="T20" fmla="*/ 2147483647 w 531"/>
                <a:gd name="T21" fmla="*/ 2147483647 h 305"/>
                <a:gd name="T22" fmla="*/ 2147483647 w 531"/>
                <a:gd name="T23" fmla="*/ 2147483647 h 305"/>
                <a:gd name="T24" fmla="*/ 2147483647 w 531"/>
                <a:gd name="T25" fmla="*/ 2147483647 h 305"/>
                <a:gd name="T26" fmla="*/ 2147483647 w 531"/>
                <a:gd name="T27" fmla="*/ 2147483647 h 305"/>
                <a:gd name="T28" fmla="*/ 2147483647 w 531"/>
                <a:gd name="T29" fmla="*/ 2147483647 h 305"/>
                <a:gd name="T30" fmla="*/ 2147483647 w 531"/>
                <a:gd name="T31" fmla="*/ 2147483647 h 305"/>
                <a:gd name="T32" fmla="*/ 2147483647 w 531"/>
                <a:gd name="T33" fmla="*/ 2147483647 h 305"/>
                <a:gd name="T34" fmla="*/ 2147483647 w 531"/>
                <a:gd name="T35" fmla="*/ 2147483647 h 305"/>
                <a:gd name="T36" fmla="*/ 2147483647 w 531"/>
                <a:gd name="T37" fmla="*/ 2147483647 h 305"/>
                <a:gd name="T38" fmla="*/ 2147483647 w 531"/>
                <a:gd name="T39" fmla="*/ 2147483647 h 305"/>
                <a:gd name="T40" fmla="*/ 2147483647 w 531"/>
                <a:gd name="T41" fmla="*/ 2147483647 h 305"/>
                <a:gd name="T42" fmla="*/ 2147483647 w 531"/>
                <a:gd name="T43" fmla="*/ 2147483647 h 305"/>
                <a:gd name="T44" fmla="*/ 2147483647 w 531"/>
                <a:gd name="T45" fmla="*/ 2147483647 h 305"/>
                <a:gd name="T46" fmla="*/ 2147483647 w 531"/>
                <a:gd name="T47" fmla="*/ 2147483647 h 305"/>
                <a:gd name="T48" fmla="*/ 2147483647 w 531"/>
                <a:gd name="T49" fmla="*/ 2147483647 h 305"/>
                <a:gd name="T50" fmla="*/ 2147483647 w 531"/>
                <a:gd name="T51" fmla="*/ 2147483647 h 305"/>
                <a:gd name="T52" fmla="*/ 2147483647 w 531"/>
                <a:gd name="T53" fmla="*/ 2147483647 h 305"/>
                <a:gd name="T54" fmla="*/ 2147483647 w 531"/>
                <a:gd name="T55" fmla="*/ 2147483647 h 305"/>
                <a:gd name="T56" fmla="*/ 2147483647 w 531"/>
                <a:gd name="T57" fmla="*/ 2147483647 h 305"/>
                <a:gd name="T58" fmla="*/ 2147483647 w 531"/>
                <a:gd name="T59" fmla="*/ 2147483647 h 305"/>
                <a:gd name="T60" fmla="*/ 2147483647 w 531"/>
                <a:gd name="T61" fmla="*/ 2147483647 h 305"/>
                <a:gd name="T62" fmla="*/ 2147483647 w 531"/>
                <a:gd name="T63" fmla="*/ 2147483647 h 305"/>
                <a:gd name="T64" fmla="*/ 2147483647 w 531"/>
                <a:gd name="T65" fmla="*/ 2147483647 h 305"/>
                <a:gd name="T66" fmla="*/ 2147483647 w 531"/>
                <a:gd name="T67" fmla="*/ 2147483647 h 305"/>
                <a:gd name="T68" fmla="*/ 2147483647 w 531"/>
                <a:gd name="T69" fmla="*/ 2147483647 h 305"/>
                <a:gd name="T70" fmla="*/ 2147483647 w 531"/>
                <a:gd name="T71" fmla="*/ 2147483647 h 305"/>
                <a:gd name="T72" fmla="*/ 2147483647 w 531"/>
                <a:gd name="T73" fmla="*/ 2147483647 h 305"/>
                <a:gd name="T74" fmla="*/ 2147483647 w 531"/>
                <a:gd name="T75" fmla="*/ 2147483647 h 305"/>
                <a:gd name="T76" fmla="*/ 2147483647 w 531"/>
                <a:gd name="T77" fmla="*/ 2147483647 h 305"/>
                <a:gd name="T78" fmla="*/ 2147483647 w 531"/>
                <a:gd name="T79" fmla="*/ 2147483647 h 305"/>
                <a:gd name="T80" fmla="*/ 2147483647 w 531"/>
                <a:gd name="T81" fmla="*/ 2147483647 h 305"/>
                <a:gd name="T82" fmla="*/ 2147483647 w 531"/>
                <a:gd name="T83" fmla="*/ 2147483647 h 305"/>
                <a:gd name="T84" fmla="*/ 2147483647 w 531"/>
                <a:gd name="T85" fmla="*/ 2147483647 h 305"/>
                <a:gd name="T86" fmla="*/ 2147483647 w 531"/>
                <a:gd name="T87" fmla="*/ 2147483647 h 305"/>
                <a:gd name="T88" fmla="*/ 2147483647 w 531"/>
                <a:gd name="T89" fmla="*/ 2147483647 h 305"/>
                <a:gd name="T90" fmla="*/ 2147483647 w 531"/>
                <a:gd name="T91" fmla="*/ 2147483647 h 305"/>
                <a:gd name="T92" fmla="*/ 2147483647 w 531"/>
                <a:gd name="T93" fmla="*/ 2147483647 h 305"/>
                <a:gd name="T94" fmla="*/ 2147483647 w 531"/>
                <a:gd name="T95" fmla="*/ 2147483647 h 305"/>
                <a:gd name="T96" fmla="*/ 2147483647 w 531"/>
                <a:gd name="T97" fmla="*/ 2147483647 h 305"/>
                <a:gd name="T98" fmla="*/ 2147483647 w 531"/>
                <a:gd name="T99" fmla="*/ 2147483647 h 305"/>
                <a:gd name="T100" fmla="*/ 2147483647 w 531"/>
                <a:gd name="T101" fmla="*/ 2147483647 h 305"/>
                <a:gd name="T102" fmla="*/ 2147483647 w 531"/>
                <a:gd name="T103" fmla="*/ 2147483647 h 305"/>
                <a:gd name="T104" fmla="*/ 2147483647 w 531"/>
                <a:gd name="T105" fmla="*/ 2147483647 h 305"/>
                <a:gd name="T106" fmla="*/ 2147483647 w 531"/>
                <a:gd name="T107" fmla="*/ 2147483647 h 305"/>
                <a:gd name="T108" fmla="*/ 2147483647 w 531"/>
                <a:gd name="T109" fmla="*/ 2147483647 h 305"/>
                <a:gd name="T110" fmla="*/ 2147483647 w 531"/>
                <a:gd name="T111" fmla="*/ 2147483647 h 305"/>
                <a:gd name="T112" fmla="*/ 2147483647 w 531"/>
                <a:gd name="T113" fmla="*/ 2147483647 h 305"/>
                <a:gd name="T114" fmla="*/ 2147483647 w 531"/>
                <a:gd name="T115" fmla="*/ 2147483647 h 305"/>
                <a:gd name="T116" fmla="*/ 2147483647 w 531"/>
                <a:gd name="T117" fmla="*/ 2147483647 h 305"/>
                <a:gd name="T118" fmla="*/ 2147483647 w 531"/>
                <a:gd name="T119" fmla="*/ 2147483647 h 305"/>
                <a:gd name="T120" fmla="*/ 2147483647 w 531"/>
                <a:gd name="T121" fmla="*/ 2147483647 h 305"/>
                <a:gd name="T122" fmla="*/ 2147483647 w 531"/>
                <a:gd name="T123" fmla="*/ 2147483647 h 305"/>
                <a:gd name="T124" fmla="*/ 2147483647 w 531"/>
                <a:gd name="T125" fmla="*/ 2147483647 h 3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31"/>
                <a:gd name="T190" fmla="*/ 0 h 305"/>
                <a:gd name="T191" fmla="*/ 531 w 531"/>
                <a:gd name="T192" fmla="*/ 305 h 30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31" h="305">
                  <a:moveTo>
                    <a:pt x="71" y="220"/>
                  </a:moveTo>
                  <a:lnTo>
                    <a:pt x="69" y="216"/>
                  </a:lnTo>
                  <a:lnTo>
                    <a:pt x="66" y="207"/>
                  </a:lnTo>
                  <a:lnTo>
                    <a:pt x="59" y="202"/>
                  </a:lnTo>
                  <a:lnTo>
                    <a:pt x="56" y="202"/>
                  </a:lnTo>
                  <a:lnTo>
                    <a:pt x="53" y="202"/>
                  </a:lnTo>
                  <a:lnTo>
                    <a:pt x="49" y="197"/>
                  </a:lnTo>
                  <a:lnTo>
                    <a:pt x="44" y="195"/>
                  </a:lnTo>
                  <a:lnTo>
                    <a:pt x="39" y="195"/>
                  </a:lnTo>
                  <a:lnTo>
                    <a:pt x="37" y="185"/>
                  </a:lnTo>
                  <a:lnTo>
                    <a:pt x="31" y="178"/>
                  </a:lnTo>
                  <a:lnTo>
                    <a:pt x="28" y="173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3" y="157"/>
                  </a:lnTo>
                  <a:lnTo>
                    <a:pt x="25" y="153"/>
                  </a:lnTo>
                  <a:lnTo>
                    <a:pt x="23" y="151"/>
                  </a:lnTo>
                  <a:lnTo>
                    <a:pt x="17" y="150"/>
                  </a:lnTo>
                  <a:lnTo>
                    <a:pt x="15" y="141"/>
                  </a:lnTo>
                  <a:lnTo>
                    <a:pt x="8" y="136"/>
                  </a:lnTo>
                  <a:lnTo>
                    <a:pt x="8" y="128"/>
                  </a:lnTo>
                  <a:lnTo>
                    <a:pt x="4" y="122"/>
                  </a:lnTo>
                  <a:lnTo>
                    <a:pt x="6" y="115"/>
                  </a:lnTo>
                  <a:lnTo>
                    <a:pt x="6" y="105"/>
                  </a:lnTo>
                  <a:lnTo>
                    <a:pt x="3" y="92"/>
                  </a:lnTo>
                  <a:lnTo>
                    <a:pt x="2" y="82"/>
                  </a:lnTo>
                  <a:lnTo>
                    <a:pt x="6" y="68"/>
                  </a:lnTo>
                  <a:lnTo>
                    <a:pt x="6" y="49"/>
                  </a:lnTo>
                  <a:lnTo>
                    <a:pt x="8" y="37"/>
                  </a:lnTo>
                  <a:lnTo>
                    <a:pt x="6" y="2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6" y="9"/>
                  </a:lnTo>
                  <a:lnTo>
                    <a:pt x="12" y="11"/>
                  </a:lnTo>
                  <a:lnTo>
                    <a:pt x="21" y="11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5" y="16"/>
                  </a:lnTo>
                  <a:lnTo>
                    <a:pt x="22" y="9"/>
                  </a:lnTo>
                  <a:lnTo>
                    <a:pt x="21" y="0"/>
                  </a:lnTo>
                  <a:lnTo>
                    <a:pt x="278" y="0"/>
                  </a:lnTo>
                  <a:lnTo>
                    <a:pt x="286" y="6"/>
                  </a:lnTo>
                  <a:lnTo>
                    <a:pt x="298" y="8"/>
                  </a:lnTo>
                  <a:lnTo>
                    <a:pt x="306" y="12"/>
                  </a:lnTo>
                  <a:lnTo>
                    <a:pt x="317" y="11"/>
                  </a:lnTo>
                  <a:lnTo>
                    <a:pt x="325" y="14"/>
                  </a:lnTo>
                  <a:lnTo>
                    <a:pt x="342" y="12"/>
                  </a:lnTo>
                  <a:lnTo>
                    <a:pt x="371" y="29"/>
                  </a:lnTo>
                  <a:lnTo>
                    <a:pt x="378" y="43"/>
                  </a:lnTo>
                  <a:lnTo>
                    <a:pt x="395" y="62"/>
                  </a:lnTo>
                  <a:lnTo>
                    <a:pt x="395" y="75"/>
                  </a:lnTo>
                  <a:lnTo>
                    <a:pt x="390" y="93"/>
                  </a:lnTo>
                  <a:lnTo>
                    <a:pt x="393" y="102"/>
                  </a:lnTo>
                  <a:lnTo>
                    <a:pt x="420" y="87"/>
                  </a:lnTo>
                  <a:lnTo>
                    <a:pt x="423" y="79"/>
                  </a:lnTo>
                  <a:lnTo>
                    <a:pt x="447" y="69"/>
                  </a:lnTo>
                  <a:lnTo>
                    <a:pt x="459" y="59"/>
                  </a:lnTo>
                  <a:lnTo>
                    <a:pt x="464" y="54"/>
                  </a:lnTo>
                  <a:lnTo>
                    <a:pt x="473" y="54"/>
                  </a:lnTo>
                  <a:lnTo>
                    <a:pt x="478" y="55"/>
                  </a:lnTo>
                  <a:lnTo>
                    <a:pt x="494" y="52"/>
                  </a:lnTo>
                  <a:lnTo>
                    <a:pt x="508" y="26"/>
                  </a:lnTo>
                  <a:lnTo>
                    <a:pt x="513" y="23"/>
                  </a:lnTo>
                  <a:lnTo>
                    <a:pt x="524" y="28"/>
                  </a:lnTo>
                  <a:lnTo>
                    <a:pt x="524" y="41"/>
                  </a:lnTo>
                  <a:lnTo>
                    <a:pt x="530" y="51"/>
                  </a:lnTo>
                  <a:lnTo>
                    <a:pt x="531" y="61"/>
                  </a:lnTo>
                  <a:lnTo>
                    <a:pt x="523" y="66"/>
                  </a:lnTo>
                  <a:lnTo>
                    <a:pt x="519" y="67"/>
                  </a:lnTo>
                  <a:lnTo>
                    <a:pt x="517" y="65"/>
                  </a:lnTo>
                  <a:lnTo>
                    <a:pt x="516" y="66"/>
                  </a:lnTo>
                  <a:lnTo>
                    <a:pt x="514" y="70"/>
                  </a:lnTo>
                  <a:lnTo>
                    <a:pt x="513" y="73"/>
                  </a:lnTo>
                  <a:lnTo>
                    <a:pt x="504" y="73"/>
                  </a:lnTo>
                  <a:lnTo>
                    <a:pt x="503" y="76"/>
                  </a:lnTo>
                  <a:lnTo>
                    <a:pt x="500" y="82"/>
                  </a:lnTo>
                  <a:lnTo>
                    <a:pt x="499" y="85"/>
                  </a:lnTo>
                  <a:lnTo>
                    <a:pt x="494" y="94"/>
                  </a:lnTo>
                  <a:lnTo>
                    <a:pt x="498" y="97"/>
                  </a:lnTo>
                  <a:lnTo>
                    <a:pt x="498" y="101"/>
                  </a:lnTo>
                  <a:lnTo>
                    <a:pt x="502" y="103"/>
                  </a:lnTo>
                  <a:lnTo>
                    <a:pt x="499" y="107"/>
                  </a:lnTo>
                  <a:lnTo>
                    <a:pt x="494" y="108"/>
                  </a:lnTo>
                  <a:lnTo>
                    <a:pt x="491" y="105"/>
                  </a:lnTo>
                  <a:lnTo>
                    <a:pt x="486" y="108"/>
                  </a:lnTo>
                  <a:lnTo>
                    <a:pt x="481" y="110"/>
                  </a:lnTo>
                  <a:lnTo>
                    <a:pt x="477" y="107"/>
                  </a:lnTo>
                  <a:lnTo>
                    <a:pt x="474" y="108"/>
                  </a:lnTo>
                  <a:lnTo>
                    <a:pt x="472" y="113"/>
                  </a:lnTo>
                  <a:lnTo>
                    <a:pt x="468" y="115"/>
                  </a:lnTo>
                  <a:lnTo>
                    <a:pt x="470" y="116"/>
                  </a:lnTo>
                  <a:lnTo>
                    <a:pt x="471" y="121"/>
                  </a:lnTo>
                  <a:lnTo>
                    <a:pt x="467" y="127"/>
                  </a:lnTo>
                  <a:lnTo>
                    <a:pt x="465" y="133"/>
                  </a:lnTo>
                  <a:lnTo>
                    <a:pt x="460" y="138"/>
                  </a:lnTo>
                  <a:lnTo>
                    <a:pt x="457" y="135"/>
                  </a:lnTo>
                  <a:lnTo>
                    <a:pt x="455" y="136"/>
                  </a:lnTo>
                  <a:lnTo>
                    <a:pt x="458" y="142"/>
                  </a:lnTo>
                  <a:lnTo>
                    <a:pt x="457" y="151"/>
                  </a:lnTo>
                  <a:lnTo>
                    <a:pt x="453" y="159"/>
                  </a:lnTo>
                  <a:lnTo>
                    <a:pt x="451" y="158"/>
                  </a:lnTo>
                  <a:lnTo>
                    <a:pt x="449" y="151"/>
                  </a:lnTo>
                  <a:lnTo>
                    <a:pt x="448" y="141"/>
                  </a:lnTo>
                  <a:lnTo>
                    <a:pt x="449" y="133"/>
                  </a:lnTo>
                  <a:lnTo>
                    <a:pt x="444" y="134"/>
                  </a:lnTo>
                  <a:lnTo>
                    <a:pt x="442" y="140"/>
                  </a:lnTo>
                  <a:lnTo>
                    <a:pt x="445" y="148"/>
                  </a:lnTo>
                  <a:lnTo>
                    <a:pt x="445" y="162"/>
                  </a:lnTo>
                  <a:lnTo>
                    <a:pt x="448" y="168"/>
                  </a:lnTo>
                  <a:lnTo>
                    <a:pt x="449" y="172"/>
                  </a:lnTo>
                  <a:lnTo>
                    <a:pt x="446" y="176"/>
                  </a:lnTo>
                  <a:lnTo>
                    <a:pt x="450" y="180"/>
                  </a:lnTo>
                  <a:lnTo>
                    <a:pt x="449" y="183"/>
                  </a:lnTo>
                  <a:lnTo>
                    <a:pt x="443" y="187"/>
                  </a:lnTo>
                  <a:lnTo>
                    <a:pt x="442" y="193"/>
                  </a:lnTo>
                  <a:lnTo>
                    <a:pt x="438" y="197"/>
                  </a:lnTo>
                  <a:lnTo>
                    <a:pt x="433" y="203"/>
                  </a:lnTo>
                  <a:lnTo>
                    <a:pt x="426" y="205"/>
                  </a:lnTo>
                  <a:lnTo>
                    <a:pt x="413" y="220"/>
                  </a:lnTo>
                  <a:lnTo>
                    <a:pt x="409" y="220"/>
                  </a:lnTo>
                  <a:lnTo>
                    <a:pt x="408" y="225"/>
                  </a:lnTo>
                  <a:lnTo>
                    <a:pt x="402" y="236"/>
                  </a:lnTo>
                  <a:lnTo>
                    <a:pt x="402" y="247"/>
                  </a:lnTo>
                  <a:lnTo>
                    <a:pt x="406" y="255"/>
                  </a:lnTo>
                  <a:lnTo>
                    <a:pt x="410" y="270"/>
                  </a:lnTo>
                  <a:lnTo>
                    <a:pt x="414" y="287"/>
                  </a:lnTo>
                  <a:lnTo>
                    <a:pt x="412" y="303"/>
                  </a:lnTo>
                  <a:lnTo>
                    <a:pt x="407" y="305"/>
                  </a:lnTo>
                  <a:lnTo>
                    <a:pt x="404" y="304"/>
                  </a:lnTo>
                  <a:lnTo>
                    <a:pt x="401" y="296"/>
                  </a:lnTo>
                  <a:lnTo>
                    <a:pt x="395" y="289"/>
                  </a:lnTo>
                  <a:lnTo>
                    <a:pt x="394" y="282"/>
                  </a:lnTo>
                  <a:lnTo>
                    <a:pt x="391" y="277"/>
                  </a:lnTo>
                  <a:lnTo>
                    <a:pt x="391" y="268"/>
                  </a:lnTo>
                  <a:lnTo>
                    <a:pt x="392" y="266"/>
                  </a:lnTo>
                  <a:lnTo>
                    <a:pt x="392" y="262"/>
                  </a:lnTo>
                  <a:lnTo>
                    <a:pt x="389" y="258"/>
                  </a:lnTo>
                  <a:lnTo>
                    <a:pt x="384" y="251"/>
                  </a:lnTo>
                  <a:lnTo>
                    <a:pt x="379" y="248"/>
                  </a:lnTo>
                  <a:lnTo>
                    <a:pt x="375" y="249"/>
                  </a:lnTo>
                  <a:lnTo>
                    <a:pt x="373" y="252"/>
                  </a:lnTo>
                  <a:lnTo>
                    <a:pt x="369" y="251"/>
                  </a:lnTo>
                  <a:lnTo>
                    <a:pt x="367" y="247"/>
                  </a:lnTo>
                  <a:lnTo>
                    <a:pt x="362" y="244"/>
                  </a:lnTo>
                  <a:lnTo>
                    <a:pt x="356" y="244"/>
                  </a:lnTo>
                  <a:lnTo>
                    <a:pt x="347" y="246"/>
                  </a:lnTo>
                  <a:lnTo>
                    <a:pt x="345" y="244"/>
                  </a:lnTo>
                  <a:lnTo>
                    <a:pt x="336" y="247"/>
                  </a:lnTo>
                  <a:lnTo>
                    <a:pt x="330" y="248"/>
                  </a:lnTo>
                  <a:lnTo>
                    <a:pt x="329" y="253"/>
                  </a:lnTo>
                  <a:lnTo>
                    <a:pt x="333" y="258"/>
                  </a:lnTo>
                  <a:lnTo>
                    <a:pt x="333" y="261"/>
                  </a:lnTo>
                  <a:lnTo>
                    <a:pt x="329" y="261"/>
                  </a:lnTo>
                  <a:lnTo>
                    <a:pt x="322" y="257"/>
                  </a:lnTo>
                  <a:lnTo>
                    <a:pt x="317" y="259"/>
                  </a:lnTo>
                  <a:lnTo>
                    <a:pt x="309" y="252"/>
                  </a:lnTo>
                  <a:lnTo>
                    <a:pt x="304" y="253"/>
                  </a:lnTo>
                  <a:lnTo>
                    <a:pt x="295" y="251"/>
                  </a:lnTo>
                  <a:lnTo>
                    <a:pt x="289" y="251"/>
                  </a:lnTo>
                  <a:lnTo>
                    <a:pt x="282" y="255"/>
                  </a:lnTo>
                  <a:lnTo>
                    <a:pt x="278" y="259"/>
                  </a:lnTo>
                  <a:lnTo>
                    <a:pt x="268" y="262"/>
                  </a:lnTo>
                  <a:lnTo>
                    <a:pt x="259" y="274"/>
                  </a:lnTo>
                  <a:lnTo>
                    <a:pt x="258" y="278"/>
                  </a:lnTo>
                  <a:lnTo>
                    <a:pt x="255" y="283"/>
                  </a:lnTo>
                  <a:lnTo>
                    <a:pt x="256" y="290"/>
                  </a:lnTo>
                  <a:lnTo>
                    <a:pt x="256" y="294"/>
                  </a:lnTo>
                  <a:lnTo>
                    <a:pt x="247" y="292"/>
                  </a:lnTo>
                  <a:lnTo>
                    <a:pt x="237" y="283"/>
                  </a:lnTo>
                  <a:lnTo>
                    <a:pt x="235" y="277"/>
                  </a:lnTo>
                  <a:lnTo>
                    <a:pt x="223" y="256"/>
                  </a:lnTo>
                  <a:lnTo>
                    <a:pt x="209" y="248"/>
                  </a:lnTo>
                  <a:lnTo>
                    <a:pt x="204" y="253"/>
                  </a:lnTo>
                  <a:lnTo>
                    <a:pt x="205" y="258"/>
                  </a:lnTo>
                  <a:lnTo>
                    <a:pt x="203" y="260"/>
                  </a:lnTo>
                  <a:lnTo>
                    <a:pt x="196" y="257"/>
                  </a:lnTo>
                  <a:lnTo>
                    <a:pt x="189" y="250"/>
                  </a:lnTo>
                  <a:lnTo>
                    <a:pt x="188" y="241"/>
                  </a:lnTo>
                  <a:lnTo>
                    <a:pt x="185" y="237"/>
                  </a:lnTo>
                  <a:lnTo>
                    <a:pt x="182" y="237"/>
                  </a:lnTo>
                  <a:lnTo>
                    <a:pt x="173" y="228"/>
                  </a:lnTo>
                  <a:lnTo>
                    <a:pt x="164" y="226"/>
                  </a:lnTo>
                  <a:lnTo>
                    <a:pt x="156" y="226"/>
                  </a:lnTo>
                  <a:lnTo>
                    <a:pt x="154" y="232"/>
                  </a:lnTo>
                  <a:lnTo>
                    <a:pt x="145" y="234"/>
                  </a:lnTo>
                  <a:lnTo>
                    <a:pt x="125" y="234"/>
                  </a:lnTo>
                  <a:lnTo>
                    <a:pt x="120" y="233"/>
                  </a:lnTo>
                  <a:lnTo>
                    <a:pt x="107" y="224"/>
                  </a:lnTo>
                  <a:lnTo>
                    <a:pt x="93" y="217"/>
                  </a:lnTo>
                  <a:lnTo>
                    <a:pt x="77" y="218"/>
                  </a:lnTo>
                  <a:lnTo>
                    <a:pt x="71" y="22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3" name="Freeform 145"/>
            <p:cNvSpPr>
              <a:spLocks/>
            </p:cNvSpPr>
            <p:nvPr/>
          </p:nvSpPr>
          <p:spPr bwMode="gray">
            <a:xfrm>
              <a:off x="1836" y="2601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4" name="Freeform 146"/>
            <p:cNvSpPr>
              <a:spLocks/>
            </p:cNvSpPr>
            <p:nvPr/>
          </p:nvSpPr>
          <p:spPr bwMode="gray">
            <a:xfrm>
              <a:off x="1844" y="2584"/>
              <a:ext cx="3" cy="2"/>
            </a:xfrm>
            <a:custGeom>
              <a:avLst/>
              <a:gdLst>
                <a:gd name="T0" fmla="*/ 0 w 2"/>
                <a:gd name="T1" fmla="*/ 0 h 2"/>
                <a:gd name="T2" fmla="*/ 2147483647 w 2"/>
                <a:gd name="T3" fmla="*/ 0 h 2"/>
                <a:gd name="T4" fmla="*/ 2147483647 w 2"/>
                <a:gd name="T5" fmla="*/ 2147483646 h 2"/>
                <a:gd name="T6" fmla="*/ 0 w 2"/>
                <a:gd name="T7" fmla="*/ 2147483646 h 2"/>
                <a:gd name="T8" fmla="*/ 0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5" name="Freeform 147"/>
            <p:cNvSpPr>
              <a:spLocks/>
            </p:cNvSpPr>
            <p:nvPr/>
          </p:nvSpPr>
          <p:spPr bwMode="gray">
            <a:xfrm>
              <a:off x="1858" y="2591"/>
              <a:ext cx="6" cy="6"/>
            </a:xfrm>
            <a:custGeom>
              <a:avLst/>
              <a:gdLst>
                <a:gd name="T0" fmla="*/ 0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2147483647 h 4"/>
                <a:gd name="T8" fmla="*/ 0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0"/>
                  </a:moveTo>
                  <a:lnTo>
                    <a:pt x="4" y="2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6" name="Freeform 148"/>
            <p:cNvSpPr>
              <a:spLocks/>
            </p:cNvSpPr>
            <p:nvPr/>
          </p:nvSpPr>
          <p:spPr bwMode="gray">
            <a:xfrm>
              <a:off x="1916" y="2637"/>
              <a:ext cx="15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2"/>
                  </a:moveTo>
                  <a:lnTo>
                    <a:pt x="1" y="0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7" name="Freeform 149"/>
            <p:cNvSpPr>
              <a:spLocks/>
            </p:cNvSpPr>
            <p:nvPr/>
          </p:nvSpPr>
          <p:spPr bwMode="gray">
            <a:xfrm>
              <a:off x="1985" y="2658"/>
              <a:ext cx="5" cy="8"/>
            </a:xfrm>
            <a:custGeom>
              <a:avLst/>
              <a:gdLst>
                <a:gd name="T0" fmla="*/ 0 w 4"/>
                <a:gd name="T1" fmla="*/ 2147483647 h 6"/>
                <a:gd name="T2" fmla="*/ 0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2147483647 h 6"/>
                <a:gd name="T10" fmla="*/ 2147483647 w 4"/>
                <a:gd name="T11" fmla="*/ 0 h 6"/>
                <a:gd name="T12" fmla="*/ 2147483647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2147483647 w 4"/>
                <a:gd name="T21" fmla="*/ 2147483647 h 6"/>
                <a:gd name="T22" fmla="*/ 2147483647 w 4"/>
                <a:gd name="T23" fmla="*/ 2147483647 h 6"/>
                <a:gd name="T24" fmla="*/ 2147483647 w 4"/>
                <a:gd name="T25" fmla="*/ 2147483647 h 6"/>
                <a:gd name="T26" fmla="*/ 2147483647 w 4"/>
                <a:gd name="T27" fmla="*/ 2147483647 h 6"/>
                <a:gd name="T28" fmla="*/ 2147483647 w 4"/>
                <a:gd name="T29" fmla="*/ 2147483647 h 6"/>
                <a:gd name="T30" fmla="*/ 0 w 4"/>
                <a:gd name="T31" fmla="*/ 2147483647 h 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6"/>
                <a:gd name="T50" fmla="*/ 4 w 4"/>
                <a:gd name="T51" fmla="*/ 6 h 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6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8" name="Freeform 150"/>
            <p:cNvSpPr>
              <a:spLocks/>
            </p:cNvSpPr>
            <p:nvPr/>
          </p:nvSpPr>
          <p:spPr bwMode="gray">
            <a:xfrm>
              <a:off x="1987" y="2671"/>
              <a:ext cx="8" cy="9"/>
            </a:xfrm>
            <a:custGeom>
              <a:avLst/>
              <a:gdLst>
                <a:gd name="T0" fmla="*/ 0 w 6"/>
                <a:gd name="T1" fmla="*/ 0 h 7"/>
                <a:gd name="T2" fmla="*/ 2147483647 w 6"/>
                <a:gd name="T3" fmla="*/ 0 h 7"/>
                <a:gd name="T4" fmla="*/ 2147483647 w 6"/>
                <a:gd name="T5" fmla="*/ 0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2147483647 w 6"/>
                <a:gd name="T21" fmla="*/ 2147483647 h 7"/>
                <a:gd name="T22" fmla="*/ 2147483647 w 6"/>
                <a:gd name="T23" fmla="*/ 2147483647 h 7"/>
                <a:gd name="T24" fmla="*/ 2147483647 w 6"/>
                <a:gd name="T25" fmla="*/ 2147483647 h 7"/>
                <a:gd name="T26" fmla="*/ 2147483647 w 6"/>
                <a:gd name="T27" fmla="*/ 2147483647 h 7"/>
                <a:gd name="T28" fmla="*/ 2147483647 w 6"/>
                <a:gd name="T29" fmla="*/ 2147483647 h 7"/>
                <a:gd name="T30" fmla="*/ 2147483647 w 6"/>
                <a:gd name="T31" fmla="*/ 2147483647 h 7"/>
                <a:gd name="T32" fmla="*/ 2147483647 w 6"/>
                <a:gd name="T33" fmla="*/ 2147483647 h 7"/>
                <a:gd name="T34" fmla="*/ 2147483647 w 6"/>
                <a:gd name="T35" fmla="*/ 2147483647 h 7"/>
                <a:gd name="T36" fmla="*/ 2147483647 w 6"/>
                <a:gd name="T37" fmla="*/ 2147483647 h 7"/>
                <a:gd name="T38" fmla="*/ 2147483647 w 6"/>
                <a:gd name="T39" fmla="*/ 2147483647 h 7"/>
                <a:gd name="T40" fmla="*/ 2147483647 w 6"/>
                <a:gd name="T41" fmla="*/ 2147483647 h 7"/>
                <a:gd name="T42" fmla="*/ 2147483647 w 6"/>
                <a:gd name="T43" fmla="*/ 2147483647 h 7"/>
                <a:gd name="T44" fmla="*/ 2147483647 w 6"/>
                <a:gd name="T45" fmla="*/ 2147483647 h 7"/>
                <a:gd name="T46" fmla="*/ 2147483647 w 6"/>
                <a:gd name="T47" fmla="*/ 2147483647 h 7"/>
                <a:gd name="T48" fmla="*/ 2147483647 w 6"/>
                <a:gd name="T49" fmla="*/ 2147483647 h 7"/>
                <a:gd name="T50" fmla="*/ 2147483647 w 6"/>
                <a:gd name="T51" fmla="*/ 2147483647 h 7"/>
                <a:gd name="T52" fmla="*/ 2147483647 w 6"/>
                <a:gd name="T53" fmla="*/ 2147483647 h 7"/>
                <a:gd name="T54" fmla="*/ 0 w 6"/>
                <a:gd name="T55" fmla="*/ 2147483647 h 7"/>
                <a:gd name="T56" fmla="*/ 0 w 6"/>
                <a:gd name="T57" fmla="*/ 2147483647 h 7"/>
                <a:gd name="T58" fmla="*/ 0 w 6"/>
                <a:gd name="T59" fmla="*/ 0 h 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"/>
                <a:gd name="T91" fmla="*/ 0 h 7"/>
                <a:gd name="T92" fmla="*/ 6 w 6"/>
                <a:gd name="T93" fmla="*/ 7 h 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" h="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5" y="7"/>
                  </a:lnTo>
                  <a:lnTo>
                    <a:pt x="5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59" name="Freeform 151"/>
            <p:cNvSpPr>
              <a:spLocks/>
            </p:cNvSpPr>
            <p:nvPr/>
          </p:nvSpPr>
          <p:spPr bwMode="gray">
            <a:xfrm>
              <a:off x="1964" y="262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0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2147483647 h 3"/>
                <a:gd name="T14" fmla="*/ 2147483647 w 2"/>
                <a:gd name="T15" fmla="*/ 2147483647 h 3"/>
                <a:gd name="T16" fmla="*/ 2147483647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0" name="Freeform 152"/>
            <p:cNvSpPr>
              <a:spLocks/>
            </p:cNvSpPr>
            <p:nvPr/>
          </p:nvSpPr>
          <p:spPr bwMode="gray">
            <a:xfrm>
              <a:off x="1967" y="2632"/>
              <a:ext cx="2" cy="4"/>
            </a:xfrm>
            <a:custGeom>
              <a:avLst/>
              <a:gdLst>
                <a:gd name="T0" fmla="*/ 2147483646 w 2"/>
                <a:gd name="T1" fmla="*/ 2147483647 h 3"/>
                <a:gd name="T2" fmla="*/ 2147483646 w 2"/>
                <a:gd name="T3" fmla="*/ 2147483647 h 3"/>
                <a:gd name="T4" fmla="*/ 2147483646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w 2"/>
                <a:gd name="T11" fmla="*/ 2147483647 h 3"/>
                <a:gd name="T12" fmla="*/ 2147483646 w 2"/>
                <a:gd name="T13" fmla="*/ 2147483647 h 3"/>
                <a:gd name="T14" fmla="*/ 2147483646 w 2"/>
                <a:gd name="T15" fmla="*/ 0 h 3"/>
                <a:gd name="T16" fmla="*/ 2147483646 w 2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2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1" name="Freeform 153"/>
            <p:cNvSpPr>
              <a:spLocks/>
            </p:cNvSpPr>
            <p:nvPr/>
          </p:nvSpPr>
          <p:spPr bwMode="gray">
            <a:xfrm>
              <a:off x="1978" y="2623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0 h 4"/>
                <a:gd name="T10" fmla="*/ 2147483647 w 3"/>
                <a:gd name="T11" fmla="*/ 2147483647 h 4"/>
                <a:gd name="T12" fmla="*/ 2147483647 w 3"/>
                <a:gd name="T13" fmla="*/ 2147483647 h 4"/>
                <a:gd name="T14" fmla="*/ 2147483647 w 3"/>
                <a:gd name="T15" fmla="*/ 2147483647 h 4"/>
                <a:gd name="T16" fmla="*/ 2147483647 w 3"/>
                <a:gd name="T17" fmla="*/ 2147483647 h 4"/>
                <a:gd name="T18" fmla="*/ 2147483647 w 3"/>
                <a:gd name="T19" fmla="*/ 2147483647 h 4"/>
                <a:gd name="T20" fmla="*/ 2147483647 w 3"/>
                <a:gd name="T21" fmla="*/ 2147483647 h 4"/>
                <a:gd name="T22" fmla="*/ 0 w 3"/>
                <a:gd name="T23" fmla="*/ 2147483647 h 4"/>
                <a:gd name="T24" fmla="*/ 0 w 3"/>
                <a:gd name="T25" fmla="*/ 2147483647 h 4"/>
                <a:gd name="T26" fmla="*/ 0 w 3"/>
                <a:gd name="T27" fmla="*/ 2147483647 h 4"/>
                <a:gd name="T28" fmla="*/ 0 w 3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4"/>
                <a:gd name="T47" fmla="*/ 3 w 3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4">
                  <a:moveTo>
                    <a:pt x="0" y="1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2" name="Freeform 154"/>
            <p:cNvSpPr>
              <a:spLocks/>
            </p:cNvSpPr>
            <p:nvPr/>
          </p:nvSpPr>
          <p:spPr bwMode="gray">
            <a:xfrm>
              <a:off x="1978" y="2632"/>
              <a:ext cx="6" cy="5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0 w 4"/>
                <a:gd name="T23" fmla="*/ 2147483647 h 4"/>
                <a:gd name="T24" fmla="*/ 0 w 4"/>
                <a:gd name="T25" fmla="*/ 2147483647 h 4"/>
                <a:gd name="T26" fmla="*/ 2147483647 w 4"/>
                <a:gd name="T27" fmla="*/ 2147483647 h 4"/>
                <a:gd name="T28" fmla="*/ 0 w 4"/>
                <a:gd name="T29" fmla="*/ 2147483647 h 4"/>
                <a:gd name="T30" fmla="*/ 0 w 4"/>
                <a:gd name="T31" fmla="*/ 2147483647 h 4"/>
                <a:gd name="T32" fmla="*/ 0 w 4"/>
                <a:gd name="T33" fmla="*/ 2147483647 h 4"/>
                <a:gd name="T34" fmla="*/ 2147483647 w 4"/>
                <a:gd name="T35" fmla="*/ 2147483647 h 4"/>
                <a:gd name="T36" fmla="*/ 2147483647 w 4"/>
                <a:gd name="T37" fmla="*/ 2147483647 h 4"/>
                <a:gd name="T38" fmla="*/ 2147483647 w 4"/>
                <a:gd name="T39" fmla="*/ 0 h 4"/>
                <a:gd name="T40" fmla="*/ 2147483647 w 4"/>
                <a:gd name="T41" fmla="*/ 0 h 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"/>
                <a:gd name="T64" fmla="*/ 0 h 4"/>
                <a:gd name="T65" fmla="*/ 4 w 4"/>
                <a:gd name="T66" fmla="*/ 4 h 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" h="4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3" name="Freeform 155"/>
            <p:cNvSpPr>
              <a:spLocks/>
            </p:cNvSpPr>
            <p:nvPr/>
          </p:nvSpPr>
          <p:spPr bwMode="gray">
            <a:xfrm>
              <a:off x="1973" y="2638"/>
              <a:ext cx="3" cy="4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2147483647 w 2"/>
                <a:gd name="T9" fmla="*/ 2147483647 h 3"/>
                <a:gd name="T10" fmla="*/ 0 w 2"/>
                <a:gd name="T11" fmla="*/ 2147483647 h 3"/>
                <a:gd name="T12" fmla="*/ 0 w 2"/>
                <a:gd name="T13" fmla="*/ 0 h 3"/>
                <a:gd name="T14" fmla="*/ 2147483647 w 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4" name="Freeform 156"/>
            <p:cNvSpPr>
              <a:spLocks/>
            </p:cNvSpPr>
            <p:nvPr/>
          </p:nvSpPr>
          <p:spPr bwMode="gray">
            <a:xfrm>
              <a:off x="1978" y="2644"/>
              <a:ext cx="11" cy="1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0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2147483647 w 8"/>
                <a:gd name="T21" fmla="*/ 2147483647 h 8"/>
                <a:gd name="T22" fmla="*/ 2147483647 w 8"/>
                <a:gd name="T23" fmla="*/ 2147483647 h 8"/>
                <a:gd name="T24" fmla="*/ 2147483647 w 8"/>
                <a:gd name="T25" fmla="*/ 2147483647 h 8"/>
                <a:gd name="T26" fmla="*/ 2147483647 w 8"/>
                <a:gd name="T27" fmla="*/ 2147483647 h 8"/>
                <a:gd name="T28" fmla="*/ 2147483647 w 8"/>
                <a:gd name="T29" fmla="*/ 2147483647 h 8"/>
                <a:gd name="T30" fmla="*/ 2147483647 w 8"/>
                <a:gd name="T31" fmla="*/ 2147483647 h 8"/>
                <a:gd name="T32" fmla="*/ 2147483647 w 8"/>
                <a:gd name="T33" fmla="*/ 2147483647 h 8"/>
                <a:gd name="T34" fmla="*/ 2147483647 w 8"/>
                <a:gd name="T35" fmla="*/ 2147483647 h 8"/>
                <a:gd name="T36" fmla="*/ 2147483647 w 8"/>
                <a:gd name="T37" fmla="*/ 2147483647 h 8"/>
                <a:gd name="T38" fmla="*/ 2147483647 w 8"/>
                <a:gd name="T39" fmla="*/ 2147483647 h 8"/>
                <a:gd name="T40" fmla="*/ 2147483647 w 8"/>
                <a:gd name="T41" fmla="*/ 2147483647 h 8"/>
                <a:gd name="T42" fmla="*/ 2147483647 w 8"/>
                <a:gd name="T43" fmla="*/ 2147483647 h 8"/>
                <a:gd name="T44" fmla="*/ 0 w 8"/>
                <a:gd name="T45" fmla="*/ 2147483647 h 8"/>
                <a:gd name="T46" fmla="*/ 0 w 8"/>
                <a:gd name="T47" fmla="*/ 2147483647 h 8"/>
                <a:gd name="T48" fmla="*/ 2147483647 w 8"/>
                <a:gd name="T49" fmla="*/ 2147483647 h 8"/>
                <a:gd name="T50" fmla="*/ 2147483647 w 8"/>
                <a:gd name="T51" fmla="*/ 2147483647 h 8"/>
                <a:gd name="T52" fmla="*/ 2147483647 w 8"/>
                <a:gd name="T53" fmla="*/ 2147483647 h 8"/>
                <a:gd name="T54" fmla="*/ 2147483647 w 8"/>
                <a:gd name="T55" fmla="*/ 2147483647 h 8"/>
                <a:gd name="T56" fmla="*/ 2147483647 w 8"/>
                <a:gd name="T57" fmla="*/ 2147483647 h 8"/>
                <a:gd name="T58" fmla="*/ 2147483647 w 8"/>
                <a:gd name="T59" fmla="*/ 2147483647 h 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"/>
                <a:gd name="T91" fmla="*/ 0 h 8"/>
                <a:gd name="T92" fmla="*/ 8 w 8"/>
                <a:gd name="T93" fmla="*/ 8 h 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" h="8">
                  <a:moveTo>
                    <a:pt x="4" y="4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5" name="Freeform 157"/>
            <p:cNvSpPr>
              <a:spLocks/>
            </p:cNvSpPr>
            <p:nvPr/>
          </p:nvSpPr>
          <p:spPr bwMode="gray">
            <a:xfrm>
              <a:off x="1986" y="2653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2147483647 w 3"/>
                <a:gd name="T13" fmla="*/ 2147483646 h 2"/>
                <a:gd name="T14" fmla="*/ 0 w 3"/>
                <a:gd name="T15" fmla="*/ 0 h 2"/>
                <a:gd name="T16" fmla="*/ 2147483647 w 3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2"/>
                <a:gd name="T29" fmla="*/ 3 w 3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6" name="Freeform 158"/>
            <p:cNvSpPr>
              <a:spLocks/>
            </p:cNvSpPr>
            <p:nvPr/>
          </p:nvSpPr>
          <p:spPr bwMode="gray">
            <a:xfrm>
              <a:off x="1990" y="2684"/>
              <a:ext cx="5" cy="10"/>
            </a:xfrm>
            <a:custGeom>
              <a:avLst/>
              <a:gdLst>
                <a:gd name="T0" fmla="*/ 2147483647 w 4"/>
                <a:gd name="T1" fmla="*/ 0 h 8"/>
                <a:gd name="T2" fmla="*/ 2147483647 w 4"/>
                <a:gd name="T3" fmla="*/ 2147483647 h 8"/>
                <a:gd name="T4" fmla="*/ 2147483647 w 4"/>
                <a:gd name="T5" fmla="*/ 2147483647 h 8"/>
                <a:gd name="T6" fmla="*/ 2147483647 w 4"/>
                <a:gd name="T7" fmla="*/ 2147483647 h 8"/>
                <a:gd name="T8" fmla="*/ 2147483647 w 4"/>
                <a:gd name="T9" fmla="*/ 2147483647 h 8"/>
                <a:gd name="T10" fmla="*/ 2147483647 w 4"/>
                <a:gd name="T11" fmla="*/ 2147483647 h 8"/>
                <a:gd name="T12" fmla="*/ 2147483647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2147483647 w 4"/>
                <a:gd name="T21" fmla="*/ 2147483647 h 8"/>
                <a:gd name="T22" fmla="*/ 2147483647 w 4"/>
                <a:gd name="T23" fmla="*/ 2147483647 h 8"/>
                <a:gd name="T24" fmla="*/ 2147483647 w 4"/>
                <a:gd name="T25" fmla="*/ 2147483647 h 8"/>
                <a:gd name="T26" fmla="*/ 0 w 4"/>
                <a:gd name="T27" fmla="*/ 2147483647 h 8"/>
                <a:gd name="T28" fmla="*/ 0 w 4"/>
                <a:gd name="T29" fmla="*/ 2147483647 h 8"/>
                <a:gd name="T30" fmla="*/ 2147483647 w 4"/>
                <a:gd name="T31" fmla="*/ 2147483647 h 8"/>
                <a:gd name="T32" fmla="*/ 2147483647 w 4"/>
                <a:gd name="T33" fmla="*/ 2147483647 h 8"/>
                <a:gd name="T34" fmla="*/ 2147483647 w 4"/>
                <a:gd name="T35" fmla="*/ 2147483647 h 8"/>
                <a:gd name="T36" fmla="*/ 2147483647 w 4"/>
                <a:gd name="T37" fmla="*/ 2147483647 h 8"/>
                <a:gd name="T38" fmla="*/ 2147483647 w 4"/>
                <a:gd name="T39" fmla="*/ 0 h 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"/>
                <a:gd name="T61" fmla="*/ 0 h 8"/>
                <a:gd name="T62" fmla="*/ 4 w 4"/>
                <a:gd name="T63" fmla="*/ 8 h 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" h="8">
                  <a:moveTo>
                    <a:pt x="2" y="0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2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7" name="Freeform 159"/>
            <p:cNvSpPr>
              <a:spLocks/>
            </p:cNvSpPr>
            <p:nvPr/>
          </p:nvSpPr>
          <p:spPr bwMode="gray">
            <a:xfrm>
              <a:off x="1989" y="269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0 w 3"/>
                <a:gd name="T15" fmla="*/ 2147483647 h 5"/>
                <a:gd name="T16" fmla="*/ 0 w 3"/>
                <a:gd name="T17" fmla="*/ 2147483647 h 5"/>
                <a:gd name="T18" fmla="*/ 0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2147483647 w 3"/>
                <a:gd name="T25" fmla="*/ 0 h 5"/>
                <a:gd name="T26" fmla="*/ 2147483647 w 3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"/>
                <a:gd name="T43" fmla="*/ 0 h 5"/>
                <a:gd name="T44" fmla="*/ 3 w 3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" h="5">
                  <a:moveTo>
                    <a:pt x="2" y="0"/>
                  </a:moveTo>
                  <a:lnTo>
                    <a:pt x="2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8" name="Freeform 160"/>
            <p:cNvSpPr>
              <a:spLocks/>
            </p:cNvSpPr>
            <p:nvPr/>
          </p:nvSpPr>
          <p:spPr bwMode="gray">
            <a:xfrm>
              <a:off x="1990" y="270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69" name="Freeform 161"/>
            <p:cNvSpPr>
              <a:spLocks/>
            </p:cNvSpPr>
            <p:nvPr/>
          </p:nvSpPr>
          <p:spPr bwMode="gray">
            <a:xfrm>
              <a:off x="2010" y="2696"/>
              <a:ext cx="5" cy="6"/>
            </a:xfrm>
            <a:custGeom>
              <a:avLst/>
              <a:gdLst>
                <a:gd name="T0" fmla="*/ 0 w 4"/>
                <a:gd name="T1" fmla="*/ 0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2147483647 w 4"/>
                <a:gd name="T13" fmla="*/ 2147483647 h 5"/>
                <a:gd name="T14" fmla="*/ 2147483647 w 4"/>
                <a:gd name="T15" fmla="*/ 2147483647 h 5"/>
                <a:gd name="T16" fmla="*/ 2147483647 w 4"/>
                <a:gd name="T17" fmla="*/ 2147483647 h 5"/>
                <a:gd name="T18" fmla="*/ 2147483647 w 4"/>
                <a:gd name="T19" fmla="*/ 2147483647 h 5"/>
                <a:gd name="T20" fmla="*/ 2147483647 w 4"/>
                <a:gd name="T21" fmla="*/ 2147483647 h 5"/>
                <a:gd name="T22" fmla="*/ 0 w 4"/>
                <a:gd name="T23" fmla="*/ 2147483647 h 5"/>
                <a:gd name="T24" fmla="*/ 0 w 4"/>
                <a:gd name="T25" fmla="*/ 2147483647 h 5"/>
                <a:gd name="T26" fmla="*/ 0 w 4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"/>
                <a:gd name="T43" fmla="*/ 0 h 5"/>
                <a:gd name="T44" fmla="*/ 4 w 4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" h="5">
                  <a:moveTo>
                    <a:pt x="0" y="0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0" name="Freeform 162"/>
            <p:cNvSpPr>
              <a:spLocks/>
            </p:cNvSpPr>
            <p:nvPr/>
          </p:nvSpPr>
          <p:spPr bwMode="gray">
            <a:xfrm>
              <a:off x="1654" y="2637"/>
              <a:ext cx="18" cy="33"/>
            </a:xfrm>
            <a:custGeom>
              <a:avLst/>
              <a:gdLst>
                <a:gd name="T0" fmla="*/ 2147483647 w 14"/>
                <a:gd name="T1" fmla="*/ 2147483647 h 25"/>
                <a:gd name="T2" fmla="*/ 0 w 14"/>
                <a:gd name="T3" fmla="*/ 2147483647 h 25"/>
                <a:gd name="T4" fmla="*/ 2147483647 w 14"/>
                <a:gd name="T5" fmla="*/ 2147483647 h 25"/>
                <a:gd name="T6" fmla="*/ 2147483647 w 14"/>
                <a:gd name="T7" fmla="*/ 0 h 25"/>
                <a:gd name="T8" fmla="*/ 2147483647 w 14"/>
                <a:gd name="T9" fmla="*/ 2147483647 h 25"/>
                <a:gd name="T10" fmla="*/ 2147483647 w 14"/>
                <a:gd name="T11" fmla="*/ 2147483647 h 25"/>
                <a:gd name="T12" fmla="*/ 2147483647 w 14"/>
                <a:gd name="T13" fmla="*/ 2147483647 h 25"/>
                <a:gd name="T14" fmla="*/ 2147483647 w 14"/>
                <a:gd name="T15" fmla="*/ 2147483647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5"/>
                <a:gd name="T26" fmla="*/ 14 w 1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5">
                  <a:moveTo>
                    <a:pt x="4" y="25"/>
                  </a:moveTo>
                  <a:lnTo>
                    <a:pt x="0" y="22"/>
                  </a:lnTo>
                  <a:lnTo>
                    <a:pt x="1" y="6"/>
                  </a:lnTo>
                  <a:lnTo>
                    <a:pt x="5" y="0"/>
                  </a:lnTo>
                  <a:lnTo>
                    <a:pt x="14" y="2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1" name="Freeform 163"/>
            <p:cNvSpPr>
              <a:spLocks/>
            </p:cNvSpPr>
            <p:nvPr/>
          </p:nvSpPr>
          <p:spPr bwMode="gray">
            <a:xfrm>
              <a:off x="1648" y="2672"/>
              <a:ext cx="77" cy="4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0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0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2147483647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31"/>
                <a:gd name="T62" fmla="*/ 59 w 59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31">
                  <a:moveTo>
                    <a:pt x="20" y="28"/>
                  </a:moveTo>
                  <a:lnTo>
                    <a:pt x="17" y="26"/>
                  </a:lnTo>
                  <a:lnTo>
                    <a:pt x="12" y="19"/>
                  </a:lnTo>
                  <a:lnTo>
                    <a:pt x="0" y="16"/>
                  </a:lnTo>
                  <a:lnTo>
                    <a:pt x="13" y="6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33" y="1"/>
                  </a:lnTo>
                  <a:lnTo>
                    <a:pt x="49" y="0"/>
                  </a:lnTo>
                  <a:lnTo>
                    <a:pt x="56" y="7"/>
                  </a:lnTo>
                  <a:lnTo>
                    <a:pt x="59" y="9"/>
                  </a:lnTo>
                  <a:lnTo>
                    <a:pt x="52" y="11"/>
                  </a:lnTo>
                  <a:lnTo>
                    <a:pt x="44" y="11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24" y="31"/>
                  </a:lnTo>
                  <a:lnTo>
                    <a:pt x="20" y="29"/>
                  </a:lnTo>
                  <a:lnTo>
                    <a:pt x="20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2" name="Freeform 164"/>
            <p:cNvSpPr>
              <a:spLocks/>
            </p:cNvSpPr>
            <p:nvPr/>
          </p:nvSpPr>
          <p:spPr bwMode="gray">
            <a:xfrm>
              <a:off x="1643" y="2693"/>
              <a:ext cx="28" cy="17"/>
            </a:xfrm>
            <a:custGeom>
              <a:avLst/>
              <a:gdLst>
                <a:gd name="T0" fmla="*/ 2147483647 w 21"/>
                <a:gd name="T1" fmla="*/ 0 h 13"/>
                <a:gd name="T2" fmla="*/ 2147483647 w 21"/>
                <a:gd name="T3" fmla="*/ 2147483647 h 13"/>
                <a:gd name="T4" fmla="*/ 2147483647 w 21"/>
                <a:gd name="T5" fmla="*/ 2147483647 h 13"/>
                <a:gd name="T6" fmla="*/ 2147483647 w 21"/>
                <a:gd name="T7" fmla="*/ 2147483647 h 13"/>
                <a:gd name="T8" fmla="*/ 2147483647 w 21"/>
                <a:gd name="T9" fmla="*/ 2147483647 h 13"/>
                <a:gd name="T10" fmla="*/ 0 w 21"/>
                <a:gd name="T11" fmla="*/ 2147483647 h 13"/>
                <a:gd name="T12" fmla="*/ 2147483647 w 2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3"/>
                <a:gd name="T23" fmla="*/ 21 w 2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3">
                  <a:moveTo>
                    <a:pt x="4" y="0"/>
                  </a:moveTo>
                  <a:lnTo>
                    <a:pt x="16" y="3"/>
                  </a:lnTo>
                  <a:lnTo>
                    <a:pt x="21" y="10"/>
                  </a:lnTo>
                  <a:lnTo>
                    <a:pt x="18" y="12"/>
                  </a:lnTo>
                  <a:lnTo>
                    <a:pt x="14" y="13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3" name="Freeform 165"/>
            <p:cNvSpPr>
              <a:spLocks/>
            </p:cNvSpPr>
            <p:nvPr/>
          </p:nvSpPr>
          <p:spPr bwMode="gray">
            <a:xfrm>
              <a:off x="1715" y="2572"/>
              <a:ext cx="113" cy="47"/>
            </a:xfrm>
            <a:custGeom>
              <a:avLst/>
              <a:gdLst>
                <a:gd name="T0" fmla="*/ 2147483647 w 87"/>
                <a:gd name="T1" fmla="*/ 2147483647 h 36"/>
                <a:gd name="T2" fmla="*/ 2147483647 w 87"/>
                <a:gd name="T3" fmla="*/ 0 h 36"/>
                <a:gd name="T4" fmla="*/ 2147483647 w 87"/>
                <a:gd name="T5" fmla="*/ 0 h 36"/>
                <a:gd name="T6" fmla="*/ 2147483647 w 87"/>
                <a:gd name="T7" fmla="*/ 0 h 36"/>
                <a:gd name="T8" fmla="*/ 2147483647 w 87"/>
                <a:gd name="T9" fmla="*/ 2147483647 h 36"/>
                <a:gd name="T10" fmla="*/ 2147483647 w 87"/>
                <a:gd name="T11" fmla="*/ 2147483647 h 36"/>
                <a:gd name="T12" fmla="*/ 2147483647 w 87"/>
                <a:gd name="T13" fmla="*/ 2147483647 h 36"/>
                <a:gd name="T14" fmla="*/ 2147483647 w 87"/>
                <a:gd name="T15" fmla="*/ 2147483647 h 36"/>
                <a:gd name="T16" fmla="*/ 2147483647 w 87"/>
                <a:gd name="T17" fmla="*/ 2147483647 h 36"/>
                <a:gd name="T18" fmla="*/ 2147483647 w 87"/>
                <a:gd name="T19" fmla="*/ 2147483647 h 36"/>
                <a:gd name="T20" fmla="*/ 2147483647 w 87"/>
                <a:gd name="T21" fmla="*/ 2147483647 h 36"/>
                <a:gd name="T22" fmla="*/ 2147483647 w 87"/>
                <a:gd name="T23" fmla="*/ 2147483647 h 36"/>
                <a:gd name="T24" fmla="*/ 2147483647 w 87"/>
                <a:gd name="T25" fmla="*/ 2147483647 h 36"/>
                <a:gd name="T26" fmla="*/ 2147483647 w 87"/>
                <a:gd name="T27" fmla="*/ 2147483647 h 36"/>
                <a:gd name="T28" fmla="*/ 2147483647 w 87"/>
                <a:gd name="T29" fmla="*/ 2147483647 h 36"/>
                <a:gd name="T30" fmla="*/ 2147483647 w 87"/>
                <a:gd name="T31" fmla="*/ 2147483647 h 36"/>
                <a:gd name="T32" fmla="*/ 2147483647 w 87"/>
                <a:gd name="T33" fmla="*/ 2147483647 h 36"/>
                <a:gd name="T34" fmla="*/ 2147483647 w 87"/>
                <a:gd name="T35" fmla="*/ 2147483647 h 36"/>
                <a:gd name="T36" fmla="*/ 2147483647 w 87"/>
                <a:gd name="T37" fmla="*/ 2147483647 h 36"/>
                <a:gd name="T38" fmla="*/ 2147483647 w 87"/>
                <a:gd name="T39" fmla="*/ 2147483647 h 36"/>
                <a:gd name="T40" fmla="*/ 2147483647 w 87"/>
                <a:gd name="T41" fmla="*/ 2147483647 h 36"/>
                <a:gd name="T42" fmla="*/ 2147483647 w 87"/>
                <a:gd name="T43" fmla="*/ 2147483647 h 36"/>
                <a:gd name="T44" fmla="*/ 2147483647 w 87"/>
                <a:gd name="T45" fmla="*/ 2147483647 h 36"/>
                <a:gd name="T46" fmla="*/ 2147483647 w 87"/>
                <a:gd name="T47" fmla="*/ 2147483647 h 36"/>
                <a:gd name="T48" fmla="*/ 2147483647 w 87"/>
                <a:gd name="T49" fmla="*/ 2147483647 h 36"/>
                <a:gd name="T50" fmla="*/ 2147483647 w 87"/>
                <a:gd name="T51" fmla="*/ 2147483647 h 36"/>
                <a:gd name="T52" fmla="*/ 2147483647 w 87"/>
                <a:gd name="T53" fmla="*/ 2147483647 h 36"/>
                <a:gd name="T54" fmla="*/ 2147483647 w 87"/>
                <a:gd name="T55" fmla="*/ 2147483647 h 36"/>
                <a:gd name="T56" fmla="*/ 2147483647 w 87"/>
                <a:gd name="T57" fmla="*/ 2147483647 h 36"/>
                <a:gd name="T58" fmla="*/ 2147483647 w 87"/>
                <a:gd name="T59" fmla="*/ 2147483647 h 36"/>
                <a:gd name="T60" fmla="*/ 0 w 87"/>
                <a:gd name="T61" fmla="*/ 2147483647 h 36"/>
                <a:gd name="T62" fmla="*/ 2147483647 w 87"/>
                <a:gd name="T63" fmla="*/ 2147483647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7"/>
                <a:gd name="T97" fmla="*/ 0 h 36"/>
                <a:gd name="T98" fmla="*/ 87 w 87"/>
                <a:gd name="T99" fmla="*/ 36 h 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7" h="36">
                  <a:moveTo>
                    <a:pt x="1" y="5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21" y="0"/>
                  </a:lnTo>
                  <a:lnTo>
                    <a:pt x="34" y="1"/>
                  </a:lnTo>
                  <a:lnTo>
                    <a:pt x="40" y="4"/>
                  </a:lnTo>
                  <a:lnTo>
                    <a:pt x="42" y="8"/>
                  </a:lnTo>
                  <a:lnTo>
                    <a:pt x="49" y="8"/>
                  </a:lnTo>
                  <a:lnTo>
                    <a:pt x="64" y="18"/>
                  </a:lnTo>
                  <a:lnTo>
                    <a:pt x="67" y="22"/>
                  </a:lnTo>
                  <a:lnTo>
                    <a:pt x="70" y="22"/>
                  </a:lnTo>
                  <a:lnTo>
                    <a:pt x="76" y="27"/>
                  </a:lnTo>
                  <a:lnTo>
                    <a:pt x="85" y="28"/>
                  </a:lnTo>
                  <a:lnTo>
                    <a:pt x="87" y="32"/>
                  </a:lnTo>
                  <a:lnTo>
                    <a:pt x="74" y="34"/>
                  </a:lnTo>
                  <a:lnTo>
                    <a:pt x="70" y="33"/>
                  </a:lnTo>
                  <a:lnTo>
                    <a:pt x="59" y="36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60" y="27"/>
                  </a:lnTo>
                  <a:lnTo>
                    <a:pt x="58" y="25"/>
                  </a:lnTo>
                  <a:lnTo>
                    <a:pt x="52" y="24"/>
                  </a:lnTo>
                  <a:lnTo>
                    <a:pt x="45" y="18"/>
                  </a:lnTo>
                  <a:lnTo>
                    <a:pt x="37" y="15"/>
                  </a:lnTo>
                  <a:lnTo>
                    <a:pt x="34" y="11"/>
                  </a:lnTo>
                  <a:lnTo>
                    <a:pt x="27" y="11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4"/>
                  </a:lnTo>
                  <a:lnTo>
                    <a:pt x="6" y="10"/>
                  </a:lnTo>
                  <a:lnTo>
                    <a:pt x="0" y="9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4" name="Freeform 166"/>
            <p:cNvSpPr>
              <a:spLocks/>
            </p:cNvSpPr>
            <p:nvPr/>
          </p:nvSpPr>
          <p:spPr bwMode="gray">
            <a:xfrm>
              <a:off x="1732" y="258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5" name="Freeform 167"/>
            <p:cNvSpPr>
              <a:spLocks/>
            </p:cNvSpPr>
            <p:nvPr/>
          </p:nvSpPr>
          <p:spPr bwMode="gray">
            <a:xfrm>
              <a:off x="1783" y="2637"/>
              <a:ext cx="22" cy="12"/>
            </a:xfrm>
            <a:custGeom>
              <a:avLst/>
              <a:gdLst>
                <a:gd name="T0" fmla="*/ 0 w 17"/>
                <a:gd name="T1" fmla="*/ 2147483647 h 9"/>
                <a:gd name="T2" fmla="*/ 2147483647 w 17"/>
                <a:gd name="T3" fmla="*/ 0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0 w 17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9"/>
                <a:gd name="T23" fmla="*/ 17 w 17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9">
                  <a:moveTo>
                    <a:pt x="0" y="3"/>
                  </a:moveTo>
                  <a:lnTo>
                    <a:pt x="5" y="0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6" name="Freeform 168"/>
            <p:cNvSpPr>
              <a:spLocks/>
            </p:cNvSpPr>
            <p:nvPr/>
          </p:nvSpPr>
          <p:spPr bwMode="gray">
            <a:xfrm>
              <a:off x="1788" y="2520"/>
              <a:ext cx="6" cy="17"/>
            </a:xfrm>
            <a:custGeom>
              <a:avLst/>
              <a:gdLst>
                <a:gd name="T0" fmla="*/ 0 w 5"/>
                <a:gd name="T1" fmla="*/ 2147483647 h 13"/>
                <a:gd name="T2" fmla="*/ 2147483647 w 5"/>
                <a:gd name="T3" fmla="*/ 0 h 13"/>
                <a:gd name="T4" fmla="*/ 2147483647 w 5"/>
                <a:gd name="T5" fmla="*/ 2147483647 h 13"/>
                <a:gd name="T6" fmla="*/ 2147483647 w 5"/>
                <a:gd name="T7" fmla="*/ 2147483647 h 13"/>
                <a:gd name="T8" fmla="*/ 2147483647 w 5"/>
                <a:gd name="T9" fmla="*/ 2147483647 h 13"/>
                <a:gd name="T10" fmla="*/ 2147483647 w 5"/>
                <a:gd name="T11" fmla="*/ 2147483647 h 13"/>
                <a:gd name="T12" fmla="*/ 0 w 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3"/>
                <a:gd name="T23" fmla="*/ 5 w 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3">
                  <a:moveTo>
                    <a:pt x="0" y="1"/>
                  </a:moveTo>
                  <a:lnTo>
                    <a:pt x="3" y="0"/>
                  </a:lnTo>
                  <a:lnTo>
                    <a:pt x="5" y="4"/>
                  </a:lnTo>
                  <a:lnTo>
                    <a:pt x="5" y="13"/>
                  </a:lnTo>
                  <a:lnTo>
                    <a:pt x="3" y="12"/>
                  </a:lnTo>
                  <a:lnTo>
                    <a:pt x="4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7" name="Freeform 169"/>
            <p:cNvSpPr>
              <a:spLocks/>
            </p:cNvSpPr>
            <p:nvPr/>
          </p:nvSpPr>
          <p:spPr bwMode="gray">
            <a:xfrm>
              <a:off x="1801" y="2539"/>
              <a:ext cx="8" cy="15"/>
            </a:xfrm>
            <a:custGeom>
              <a:avLst/>
              <a:gdLst>
                <a:gd name="T0" fmla="*/ 0 w 6"/>
                <a:gd name="T1" fmla="*/ 2147483647 h 11"/>
                <a:gd name="T2" fmla="*/ 2147483647 w 6"/>
                <a:gd name="T3" fmla="*/ 0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2147483647 h 11"/>
                <a:gd name="T10" fmla="*/ 2147483647 w 6"/>
                <a:gd name="T11" fmla="*/ 2147483647 h 11"/>
                <a:gd name="T12" fmla="*/ 0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0" y="1"/>
                  </a:moveTo>
                  <a:lnTo>
                    <a:pt x="2" y="0"/>
                  </a:lnTo>
                  <a:lnTo>
                    <a:pt x="5" y="4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4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8" name="Freeform 170"/>
            <p:cNvSpPr>
              <a:spLocks/>
            </p:cNvSpPr>
            <p:nvPr/>
          </p:nvSpPr>
          <p:spPr bwMode="gray">
            <a:xfrm>
              <a:off x="1811" y="2552"/>
              <a:ext cx="7" cy="9"/>
            </a:xfrm>
            <a:custGeom>
              <a:avLst/>
              <a:gdLst>
                <a:gd name="T0" fmla="*/ 0 w 5"/>
                <a:gd name="T1" fmla="*/ 0 h 7"/>
                <a:gd name="T2" fmla="*/ 2147483647 w 5"/>
                <a:gd name="T3" fmla="*/ 2147483647 h 7"/>
                <a:gd name="T4" fmla="*/ 2147483647 w 5"/>
                <a:gd name="T5" fmla="*/ 2147483647 h 7"/>
                <a:gd name="T6" fmla="*/ 2147483647 w 5"/>
                <a:gd name="T7" fmla="*/ 2147483647 h 7"/>
                <a:gd name="T8" fmla="*/ 0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0" y="0"/>
                  </a:moveTo>
                  <a:lnTo>
                    <a:pt x="2" y="1"/>
                  </a:lnTo>
                  <a:lnTo>
                    <a:pt x="5" y="7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79" name="Freeform 171"/>
            <p:cNvSpPr>
              <a:spLocks/>
            </p:cNvSpPr>
            <p:nvPr/>
          </p:nvSpPr>
          <p:spPr bwMode="gray">
            <a:xfrm>
              <a:off x="1817" y="2568"/>
              <a:ext cx="5" cy="12"/>
            </a:xfrm>
            <a:custGeom>
              <a:avLst/>
              <a:gdLst>
                <a:gd name="T0" fmla="*/ 0 w 4"/>
                <a:gd name="T1" fmla="*/ 0 h 9"/>
                <a:gd name="T2" fmla="*/ 2147483647 w 4"/>
                <a:gd name="T3" fmla="*/ 0 h 9"/>
                <a:gd name="T4" fmla="*/ 2147483647 w 4"/>
                <a:gd name="T5" fmla="*/ 2147483647 h 9"/>
                <a:gd name="T6" fmla="*/ 2147483647 w 4"/>
                <a:gd name="T7" fmla="*/ 2147483647 h 9"/>
                <a:gd name="T8" fmla="*/ 2147483647 w 4"/>
                <a:gd name="T9" fmla="*/ 2147483647 h 9"/>
                <a:gd name="T10" fmla="*/ 0 w 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0" y="0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4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0" name="Freeform 172"/>
            <p:cNvSpPr>
              <a:spLocks/>
            </p:cNvSpPr>
            <p:nvPr/>
          </p:nvSpPr>
          <p:spPr bwMode="gray">
            <a:xfrm>
              <a:off x="1828" y="2578"/>
              <a:ext cx="6" cy="13"/>
            </a:xfrm>
            <a:custGeom>
              <a:avLst/>
              <a:gdLst>
                <a:gd name="T0" fmla="*/ 0 w 4"/>
                <a:gd name="T1" fmla="*/ 2147483647 h 10"/>
                <a:gd name="T2" fmla="*/ 2147483647 w 4"/>
                <a:gd name="T3" fmla="*/ 0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2147483647 w 4"/>
                <a:gd name="T15" fmla="*/ 2147483647 h 10"/>
                <a:gd name="T16" fmla="*/ 0 w 4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10"/>
                <a:gd name="T29" fmla="*/ 4 w 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10">
                  <a:moveTo>
                    <a:pt x="0" y="1"/>
                  </a:moveTo>
                  <a:lnTo>
                    <a:pt x="1" y="0"/>
                  </a:lnTo>
                  <a:lnTo>
                    <a:pt x="4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1" name="Freeform 173"/>
            <p:cNvSpPr>
              <a:spLocks/>
            </p:cNvSpPr>
            <p:nvPr/>
          </p:nvSpPr>
          <p:spPr bwMode="gray">
            <a:xfrm>
              <a:off x="1783" y="2547"/>
              <a:ext cx="6" cy="11"/>
            </a:xfrm>
            <a:custGeom>
              <a:avLst/>
              <a:gdLst>
                <a:gd name="T0" fmla="*/ 2147483647 w 5"/>
                <a:gd name="T1" fmla="*/ 0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0 w 5"/>
                <a:gd name="T9" fmla="*/ 2147483647 h 8"/>
                <a:gd name="T10" fmla="*/ 2147483647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0"/>
                  </a:moveTo>
                  <a:lnTo>
                    <a:pt x="4" y="3"/>
                  </a:lnTo>
                  <a:lnTo>
                    <a:pt x="5" y="7"/>
                  </a:lnTo>
                  <a:lnTo>
                    <a:pt x="1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2" name="Freeform 174"/>
            <p:cNvSpPr>
              <a:spLocks/>
            </p:cNvSpPr>
            <p:nvPr/>
          </p:nvSpPr>
          <p:spPr bwMode="gray">
            <a:xfrm>
              <a:off x="1778" y="2522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3" name="Freeform 175"/>
            <p:cNvSpPr>
              <a:spLocks/>
            </p:cNvSpPr>
            <p:nvPr/>
          </p:nvSpPr>
          <p:spPr bwMode="gray">
            <a:xfrm>
              <a:off x="1788" y="2560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2147483647 w 2"/>
                <a:gd name="T5" fmla="*/ 2147483647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2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4" name="Freeform 176"/>
            <p:cNvSpPr>
              <a:spLocks/>
            </p:cNvSpPr>
            <p:nvPr/>
          </p:nvSpPr>
          <p:spPr bwMode="gray">
            <a:xfrm>
              <a:off x="1828" y="2618"/>
              <a:ext cx="32" cy="26"/>
            </a:xfrm>
            <a:custGeom>
              <a:avLst/>
              <a:gdLst>
                <a:gd name="T0" fmla="*/ 2147483647 w 24"/>
                <a:gd name="T1" fmla="*/ 2147483647 h 20"/>
                <a:gd name="T2" fmla="*/ 2147483647 w 24"/>
                <a:gd name="T3" fmla="*/ 2147483647 h 20"/>
                <a:gd name="T4" fmla="*/ 2147483647 w 24"/>
                <a:gd name="T5" fmla="*/ 2147483647 h 20"/>
                <a:gd name="T6" fmla="*/ 2147483647 w 24"/>
                <a:gd name="T7" fmla="*/ 2147483647 h 20"/>
                <a:gd name="T8" fmla="*/ 2147483647 w 24"/>
                <a:gd name="T9" fmla="*/ 2147483647 h 20"/>
                <a:gd name="T10" fmla="*/ 2147483647 w 24"/>
                <a:gd name="T11" fmla="*/ 2147483647 h 20"/>
                <a:gd name="T12" fmla="*/ 0 w 24"/>
                <a:gd name="T13" fmla="*/ 2147483647 h 20"/>
                <a:gd name="T14" fmla="*/ 0 w 24"/>
                <a:gd name="T15" fmla="*/ 2147483647 h 20"/>
                <a:gd name="T16" fmla="*/ 2147483647 w 24"/>
                <a:gd name="T17" fmla="*/ 2147483647 h 20"/>
                <a:gd name="T18" fmla="*/ 2147483647 w 24"/>
                <a:gd name="T19" fmla="*/ 2147483647 h 20"/>
                <a:gd name="T20" fmla="*/ 2147483647 w 24"/>
                <a:gd name="T21" fmla="*/ 2147483647 h 20"/>
                <a:gd name="T22" fmla="*/ 2147483647 w 24"/>
                <a:gd name="T23" fmla="*/ 2147483647 h 20"/>
                <a:gd name="T24" fmla="*/ 2147483647 w 24"/>
                <a:gd name="T25" fmla="*/ 2147483647 h 20"/>
                <a:gd name="T26" fmla="*/ 2147483647 w 24"/>
                <a:gd name="T27" fmla="*/ 2147483647 h 20"/>
                <a:gd name="T28" fmla="*/ 2147483647 w 24"/>
                <a:gd name="T29" fmla="*/ 2147483647 h 20"/>
                <a:gd name="T30" fmla="*/ 2147483647 w 24"/>
                <a:gd name="T31" fmla="*/ 0 h 20"/>
                <a:gd name="T32" fmla="*/ 2147483647 w 24"/>
                <a:gd name="T33" fmla="*/ 2147483647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0"/>
                <a:gd name="T53" fmla="*/ 24 w 24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0">
                  <a:moveTo>
                    <a:pt x="17" y="1"/>
                  </a:moveTo>
                  <a:lnTo>
                    <a:pt x="24" y="2"/>
                  </a:lnTo>
                  <a:lnTo>
                    <a:pt x="24" y="12"/>
                  </a:lnTo>
                  <a:lnTo>
                    <a:pt x="22" y="19"/>
                  </a:lnTo>
                  <a:lnTo>
                    <a:pt x="12" y="20"/>
                  </a:lnTo>
                  <a:lnTo>
                    <a:pt x="6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8" y="13"/>
                  </a:lnTo>
                  <a:lnTo>
                    <a:pt x="15" y="14"/>
                  </a:lnTo>
                  <a:lnTo>
                    <a:pt x="17" y="11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9" y="5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5" name="Freeform 177"/>
            <p:cNvSpPr>
              <a:spLocks/>
            </p:cNvSpPr>
            <p:nvPr/>
          </p:nvSpPr>
          <p:spPr bwMode="gray">
            <a:xfrm>
              <a:off x="1857" y="2618"/>
              <a:ext cx="42" cy="30"/>
            </a:xfrm>
            <a:custGeom>
              <a:avLst/>
              <a:gdLst>
                <a:gd name="T0" fmla="*/ 2147483647 w 32"/>
                <a:gd name="T1" fmla="*/ 2147483647 h 23"/>
                <a:gd name="T2" fmla="*/ 0 w 32"/>
                <a:gd name="T3" fmla="*/ 2147483647 h 23"/>
                <a:gd name="T4" fmla="*/ 2147483647 w 32"/>
                <a:gd name="T5" fmla="*/ 2147483647 h 23"/>
                <a:gd name="T6" fmla="*/ 2147483647 w 32"/>
                <a:gd name="T7" fmla="*/ 2147483647 h 23"/>
                <a:gd name="T8" fmla="*/ 2147483647 w 32"/>
                <a:gd name="T9" fmla="*/ 0 h 23"/>
                <a:gd name="T10" fmla="*/ 2147483647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2147483647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2147483647 w 32"/>
                <a:gd name="T25" fmla="*/ 2147483647 h 23"/>
                <a:gd name="T26" fmla="*/ 2147483647 w 32"/>
                <a:gd name="T27" fmla="*/ 2147483647 h 23"/>
                <a:gd name="T28" fmla="*/ 2147483647 w 32"/>
                <a:gd name="T29" fmla="*/ 2147483647 h 23"/>
                <a:gd name="T30" fmla="*/ 2147483647 w 32"/>
                <a:gd name="T31" fmla="*/ 2147483647 h 23"/>
                <a:gd name="T32" fmla="*/ 2147483647 w 32"/>
                <a:gd name="T33" fmla="*/ 2147483647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23"/>
                <a:gd name="T53" fmla="*/ 32 w 32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23">
                  <a:moveTo>
                    <a:pt x="1" y="22"/>
                  </a:moveTo>
                  <a:lnTo>
                    <a:pt x="0" y="19"/>
                  </a:lnTo>
                  <a:lnTo>
                    <a:pt x="2" y="12"/>
                  </a:lnTo>
                  <a:lnTo>
                    <a:pt x="2" y="2"/>
                  </a:lnTo>
                  <a:lnTo>
                    <a:pt x="3" y="0"/>
                  </a:lnTo>
                  <a:lnTo>
                    <a:pt x="12" y="1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31" y="13"/>
                  </a:lnTo>
                  <a:lnTo>
                    <a:pt x="32" y="16"/>
                  </a:lnTo>
                  <a:lnTo>
                    <a:pt x="29" y="19"/>
                  </a:lnTo>
                  <a:lnTo>
                    <a:pt x="25" y="17"/>
                  </a:lnTo>
                  <a:lnTo>
                    <a:pt x="18" y="17"/>
                  </a:lnTo>
                  <a:lnTo>
                    <a:pt x="10" y="16"/>
                  </a:lnTo>
                  <a:lnTo>
                    <a:pt x="9" y="19"/>
                  </a:lnTo>
                  <a:lnTo>
                    <a:pt x="3" y="23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6" name="Freeform 178"/>
            <p:cNvSpPr>
              <a:spLocks/>
            </p:cNvSpPr>
            <p:nvPr/>
          </p:nvSpPr>
          <p:spPr bwMode="gray">
            <a:xfrm>
              <a:off x="1616" y="2642"/>
              <a:ext cx="53" cy="58"/>
            </a:xfrm>
            <a:custGeom>
              <a:avLst/>
              <a:gdLst>
                <a:gd name="T0" fmla="*/ 2147483647 w 41"/>
                <a:gd name="T1" fmla="*/ 2147483647 h 44"/>
                <a:gd name="T2" fmla="*/ 2147483647 w 41"/>
                <a:gd name="T3" fmla="*/ 2147483647 h 44"/>
                <a:gd name="T4" fmla="*/ 0 w 41"/>
                <a:gd name="T5" fmla="*/ 2147483647 h 44"/>
                <a:gd name="T6" fmla="*/ 2147483647 w 41"/>
                <a:gd name="T7" fmla="*/ 2147483647 h 44"/>
                <a:gd name="T8" fmla="*/ 2147483647 w 41"/>
                <a:gd name="T9" fmla="*/ 2147483647 h 44"/>
                <a:gd name="T10" fmla="*/ 2147483647 w 41"/>
                <a:gd name="T11" fmla="*/ 2147483647 h 44"/>
                <a:gd name="T12" fmla="*/ 2147483647 w 41"/>
                <a:gd name="T13" fmla="*/ 2147483647 h 44"/>
                <a:gd name="T14" fmla="*/ 2147483647 w 41"/>
                <a:gd name="T15" fmla="*/ 2147483647 h 44"/>
                <a:gd name="T16" fmla="*/ 2147483647 w 41"/>
                <a:gd name="T17" fmla="*/ 2147483647 h 44"/>
                <a:gd name="T18" fmla="*/ 2147483647 w 41"/>
                <a:gd name="T19" fmla="*/ 0 h 44"/>
                <a:gd name="T20" fmla="*/ 2147483647 w 41"/>
                <a:gd name="T21" fmla="*/ 0 h 44"/>
                <a:gd name="T22" fmla="*/ 2147483647 w 41"/>
                <a:gd name="T23" fmla="*/ 2147483647 h 44"/>
                <a:gd name="T24" fmla="*/ 2147483647 w 41"/>
                <a:gd name="T25" fmla="*/ 2147483647 h 44"/>
                <a:gd name="T26" fmla="*/ 2147483647 w 41"/>
                <a:gd name="T27" fmla="*/ 2147483647 h 44"/>
                <a:gd name="T28" fmla="*/ 2147483647 w 41"/>
                <a:gd name="T29" fmla="*/ 2147483647 h 44"/>
                <a:gd name="T30" fmla="*/ 2147483647 w 41"/>
                <a:gd name="T31" fmla="*/ 2147483647 h 44"/>
                <a:gd name="T32" fmla="*/ 2147483647 w 41"/>
                <a:gd name="T33" fmla="*/ 2147483647 h 44"/>
                <a:gd name="T34" fmla="*/ 2147483647 w 41"/>
                <a:gd name="T35" fmla="*/ 2147483647 h 44"/>
                <a:gd name="T36" fmla="*/ 2147483647 w 41"/>
                <a:gd name="T37" fmla="*/ 2147483647 h 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4"/>
                <a:gd name="T59" fmla="*/ 41 w 41"/>
                <a:gd name="T60" fmla="*/ 44 h 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4">
                  <a:moveTo>
                    <a:pt x="21" y="44"/>
                  </a:moveTo>
                  <a:lnTo>
                    <a:pt x="4" y="41"/>
                  </a:lnTo>
                  <a:lnTo>
                    <a:pt x="0" y="36"/>
                  </a:lnTo>
                  <a:lnTo>
                    <a:pt x="3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1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29" y="18"/>
                  </a:lnTo>
                  <a:lnTo>
                    <a:pt x="33" y="21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38" y="29"/>
                  </a:lnTo>
                  <a:lnTo>
                    <a:pt x="25" y="39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7" name="Freeform 179"/>
            <p:cNvSpPr>
              <a:spLocks/>
            </p:cNvSpPr>
            <p:nvPr/>
          </p:nvSpPr>
          <p:spPr bwMode="gray">
            <a:xfrm>
              <a:off x="1316" y="2432"/>
              <a:ext cx="369" cy="257"/>
            </a:xfrm>
            <a:custGeom>
              <a:avLst/>
              <a:gdLst>
                <a:gd name="T0" fmla="*/ 2147483647 w 283"/>
                <a:gd name="T1" fmla="*/ 2147483647 h 197"/>
                <a:gd name="T2" fmla="*/ 2147483647 w 283"/>
                <a:gd name="T3" fmla="*/ 2147483647 h 197"/>
                <a:gd name="T4" fmla="*/ 2147483647 w 283"/>
                <a:gd name="T5" fmla="*/ 2147483647 h 197"/>
                <a:gd name="T6" fmla="*/ 2147483647 w 283"/>
                <a:gd name="T7" fmla="*/ 2147483647 h 197"/>
                <a:gd name="T8" fmla="*/ 2147483647 w 283"/>
                <a:gd name="T9" fmla="*/ 2147483647 h 197"/>
                <a:gd name="T10" fmla="*/ 2147483647 w 283"/>
                <a:gd name="T11" fmla="*/ 2147483647 h 197"/>
                <a:gd name="T12" fmla="*/ 2147483647 w 283"/>
                <a:gd name="T13" fmla="*/ 2147483647 h 197"/>
                <a:gd name="T14" fmla="*/ 2147483647 w 283"/>
                <a:gd name="T15" fmla="*/ 2147483647 h 197"/>
                <a:gd name="T16" fmla="*/ 2147483647 w 283"/>
                <a:gd name="T17" fmla="*/ 2147483647 h 197"/>
                <a:gd name="T18" fmla="*/ 2147483647 w 283"/>
                <a:gd name="T19" fmla="*/ 2147483647 h 197"/>
                <a:gd name="T20" fmla="*/ 2147483647 w 283"/>
                <a:gd name="T21" fmla="*/ 2147483647 h 197"/>
                <a:gd name="T22" fmla="*/ 2147483647 w 283"/>
                <a:gd name="T23" fmla="*/ 2147483647 h 197"/>
                <a:gd name="T24" fmla="*/ 2147483647 w 283"/>
                <a:gd name="T25" fmla="*/ 2147483647 h 197"/>
                <a:gd name="T26" fmla="*/ 2147483647 w 283"/>
                <a:gd name="T27" fmla="*/ 2147483647 h 197"/>
                <a:gd name="T28" fmla="*/ 2147483647 w 283"/>
                <a:gd name="T29" fmla="*/ 2147483647 h 197"/>
                <a:gd name="T30" fmla="*/ 2147483647 w 283"/>
                <a:gd name="T31" fmla="*/ 2147483647 h 197"/>
                <a:gd name="T32" fmla="*/ 2147483647 w 283"/>
                <a:gd name="T33" fmla="*/ 2147483647 h 197"/>
                <a:gd name="T34" fmla="*/ 2147483647 w 283"/>
                <a:gd name="T35" fmla="*/ 2147483647 h 197"/>
                <a:gd name="T36" fmla="*/ 2147483647 w 283"/>
                <a:gd name="T37" fmla="*/ 2147483647 h 197"/>
                <a:gd name="T38" fmla="*/ 2147483647 w 283"/>
                <a:gd name="T39" fmla="*/ 2147483647 h 197"/>
                <a:gd name="T40" fmla="*/ 2147483647 w 283"/>
                <a:gd name="T41" fmla="*/ 2147483647 h 197"/>
                <a:gd name="T42" fmla="*/ 2147483647 w 283"/>
                <a:gd name="T43" fmla="*/ 2147483647 h 197"/>
                <a:gd name="T44" fmla="*/ 2147483647 w 283"/>
                <a:gd name="T45" fmla="*/ 2147483647 h 197"/>
                <a:gd name="T46" fmla="*/ 2147483647 w 283"/>
                <a:gd name="T47" fmla="*/ 2147483647 h 197"/>
                <a:gd name="T48" fmla="*/ 2147483647 w 283"/>
                <a:gd name="T49" fmla="*/ 2147483647 h 197"/>
                <a:gd name="T50" fmla="*/ 2147483647 w 283"/>
                <a:gd name="T51" fmla="*/ 2147483647 h 197"/>
                <a:gd name="T52" fmla="*/ 2147483647 w 283"/>
                <a:gd name="T53" fmla="*/ 2147483647 h 197"/>
                <a:gd name="T54" fmla="*/ 2147483647 w 283"/>
                <a:gd name="T55" fmla="*/ 2147483647 h 197"/>
                <a:gd name="T56" fmla="*/ 2147483647 w 283"/>
                <a:gd name="T57" fmla="*/ 2147483647 h 197"/>
                <a:gd name="T58" fmla="*/ 2147483647 w 283"/>
                <a:gd name="T59" fmla="*/ 2147483647 h 197"/>
                <a:gd name="T60" fmla="*/ 2147483647 w 283"/>
                <a:gd name="T61" fmla="*/ 2147483647 h 197"/>
                <a:gd name="T62" fmla="*/ 2147483647 w 283"/>
                <a:gd name="T63" fmla="*/ 2147483647 h 197"/>
                <a:gd name="T64" fmla="*/ 2147483647 w 283"/>
                <a:gd name="T65" fmla="*/ 2147483647 h 197"/>
                <a:gd name="T66" fmla="*/ 2147483647 w 283"/>
                <a:gd name="T67" fmla="*/ 2147483647 h 197"/>
                <a:gd name="T68" fmla="*/ 2147483647 w 283"/>
                <a:gd name="T69" fmla="*/ 2147483647 h 197"/>
                <a:gd name="T70" fmla="*/ 2147483647 w 283"/>
                <a:gd name="T71" fmla="*/ 2147483647 h 197"/>
                <a:gd name="T72" fmla="*/ 2147483647 w 283"/>
                <a:gd name="T73" fmla="*/ 2147483647 h 197"/>
                <a:gd name="T74" fmla="*/ 2147483647 w 283"/>
                <a:gd name="T75" fmla="*/ 2147483647 h 197"/>
                <a:gd name="T76" fmla="*/ 2147483647 w 283"/>
                <a:gd name="T77" fmla="*/ 2147483647 h 197"/>
                <a:gd name="T78" fmla="*/ 2147483647 w 283"/>
                <a:gd name="T79" fmla="*/ 2147483647 h 197"/>
                <a:gd name="T80" fmla="*/ 2147483647 w 283"/>
                <a:gd name="T81" fmla="*/ 2147483647 h 197"/>
                <a:gd name="T82" fmla="*/ 2147483647 w 283"/>
                <a:gd name="T83" fmla="*/ 2147483647 h 197"/>
                <a:gd name="T84" fmla="*/ 2147483647 w 283"/>
                <a:gd name="T85" fmla="*/ 2147483647 h 197"/>
                <a:gd name="T86" fmla="*/ 2147483647 w 283"/>
                <a:gd name="T87" fmla="*/ 2147483647 h 197"/>
                <a:gd name="T88" fmla="*/ 2147483647 w 283"/>
                <a:gd name="T89" fmla="*/ 2147483647 h 197"/>
                <a:gd name="T90" fmla="*/ 2147483647 w 283"/>
                <a:gd name="T91" fmla="*/ 2147483647 h 197"/>
                <a:gd name="T92" fmla="*/ 2147483647 w 283"/>
                <a:gd name="T93" fmla="*/ 2147483647 h 197"/>
                <a:gd name="T94" fmla="*/ 2147483647 w 283"/>
                <a:gd name="T95" fmla="*/ 2147483647 h 197"/>
                <a:gd name="T96" fmla="*/ 2147483647 w 283"/>
                <a:gd name="T97" fmla="*/ 2147483647 h 197"/>
                <a:gd name="T98" fmla="*/ 2147483647 w 283"/>
                <a:gd name="T99" fmla="*/ 2147483647 h 197"/>
                <a:gd name="T100" fmla="*/ 2147483647 w 283"/>
                <a:gd name="T101" fmla="*/ 2147483647 h 197"/>
                <a:gd name="T102" fmla="*/ 2147483647 w 283"/>
                <a:gd name="T103" fmla="*/ 2147483647 h 197"/>
                <a:gd name="T104" fmla="*/ 2147483647 w 283"/>
                <a:gd name="T105" fmla="*/ 2147483647 h 197"/>
                <a:gd name="T106" fmla="*/ 2147483647 w 283"/>
                <a:gd name="T107" fmla="*/ 2147483647 h 19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3"/>
                <a:gd name="T163" fmla="*/ 0 h 197"/>
                <a:gd name="T164" fmla="*/ 283 w 283"/>
                <a:gd name="T165" fmla="*/ 197 h 19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3" h="197">
                  <a:moveTo>
                    <a:pt x="261" y="164"/>
                  </a:moveTo>
                  <a:lnTo>
                    <a:pt x="256" y="161"/>
                  </a:lnTo>
                  <a:lnTo>
                    <a:pt x="246" y="161"/>
                  </a:lnTo>
                  <a:lnTo>
                    <a:pt x="246" y="168"/>
                  </a:lnTo>
                  <a:lnTo>
                    <a:pt x="243" y="170"/>
                  </a:lnTo>
                  <a:lnTo>
                    <a:pt x="250" y="177"/>
                  </a:lnTo>
                  <a:lnTo>
                    <a:pt x="250" y="181"/>
                  </a:lnTo>
                  <a:lnTo>
                    <a:pt x="246" y="183"/>
                  </a:lnTo>
                  <a:lnTo>
                    <a:pt x="233" y="183"/>
                  </a:lnTo>
                  <a:lnTo>
                    <a:pt x="230" y="197"/>
                  </a:lnTo>
                  <a:lnTo>
                    <a:pt x="221" y="188"/>
                  </a:lnTo>
                  <a:lnTo>
                    <a:pt x="220" y="184"/>
                  </a:lnTo>
                  <a:lnTo>
                    <a:pt x="212" y="182"/>
                  </a:lnTo>
                  <a:lnTo>
                    <a:pt x="210" y="179"/>
                  </a:lnTo>
                  <a:lnTo>
                    <a:pt x="207" y="179"/>
                  </a:lnTo>
                  <a:lnTo>
                    <a:pt x="197" y="185"/>
                  </a:lnTo>
                  <a:lnTo>
                    <a:pt x="188" y="187"/>
                  </a:lnTo>
                  <a:lnTo>
                    <a:pt x="185" y="184"/>
                  </a:lnTo>
                  <a:lnTo>
                    <a:pt x="180" y="184"/>
                  </a:lnTo>
                  <a:lnTo>
                    <a:pt x="176" y="181"/>
                  </a:lnTo>
                  <a:lnTo>
                    <a:pt x="173" y="181"/>
                  </a:lnTo>
                  <a:lnTo>
                    <a:pt x="167" y="177"/>
                  </a:lnTo>
                  <a:lnTo>
                    <a:pt x="160" y="176"/>
                  </a:lnTo>
                  <a:lnTo>
                    <a:pt x="158" y="174"/>
                  </a:lnTo>
                  <a:lnTo>
                    <a:pt x="154" y="173"/>
                  </a:lnTo>
                  <a:lnTo>
                    <a:pt x="151" y="170"/>
                  </a:lnTo>
                  <a:lnTo>
                    <a:pt x="146" y="166"/>
                  </a:lnTo>
                  <a:lnTo>
                    <a:pt x="141" y="163"/>
                  </a:lnTo>
                  <a:lnTo>
                    <a:pt x="136" y="162"/>
                  </a:lnTo>
                  <a:lnTo>
                    <a:pt x="130" y="159"/>
                  </a:lnTo>
                  <a:lnTo>
                    <a:pt x="125" y="158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5" y="148"/>
                  </a:lnTo>
                  <a:lnTo>
                    <a:pt x="109" y="145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9" y="135"/>
                  </a:lnTo>
                  <a:lnTo>
                    <a:pt x="110" y="126"/>
                  </a:lnTo>
                  <a:lnTo>
                    <a:pt x="106" y="118"/>
                  </a:lnTo>
                  <a:lnTo>
                    <a:pt x="106" y="114"/>
                  </a:lnTo>
                  <a:lnTo>
                    <a:pt x="96" y="104"/>
                  </a:lnTo>
                  <a:lnTo>
                    <a:pt x="93" y="98"/>
                  </a:lnTo>
                  <a:lnTo>
                    <a:pt x="91" y="97"/>
                  </a:lnTo>
                  <a:lnTo>
                    <a:pt x="86" y="92"/>
                  </a:lnTo>
                  <a:lnTo>
                    <a:pt x="85" y="87"/>
                  </a:lnTo>
                  <a:lnTo>
                    <a:pt x="82" y="84"/>
                  </a:lnTo>
                  <a:lnTo>
                    <a:pt x="78" y="82"/>
                  </a:lnTo>
                  <a:lnTo>
                    <a:pt x="72" y="79"/>
                  </a:lnTo>
                  <a:lnTo>
                    <a:pt x="73" y="75"/>
                  </a:lnTo>
                  <a:lnTo>
                    <a:pt x="75" y="72"/>
                  </a:lnTo>
                  <a:lnTo>
                    <a:pt x="71" y="68"/>
                  </a:lnTo>
                  <a:lnTo>
                    <a:pt x="68" y="68"/>
                  </a:lnTo>
                  <a:lnTo>
                    <a:pt x="62" y="60"/>
                  </a:lnTo>
                  <a:lnTo>
                    <a:pt x="61" y="55"/>
                  </a:lnTo>
                  <a:lnTo>
                    <a:pt x="55" y="53"/>
                  </a:lnTo>
                  <a:lnTo>
                    <a:pt x="50" y="46"/>
                  </a:lnTo>
                  <a:lnTo>
                    <a:pt x="47" y="44"/>
                  </a:lnTo>
                  <a:lnTo>
                    <a:pt x="43" y="37"/>
                  </a:lnTo>
                  <a:lnTo>
                    <a:pt x="41" y="31"/>
                  </a:lnTo>
                  <a:lnTo>
                    <a:pt x="37" y="27"/>
                  </a:lnTo>
                  <a:lnTo>
                    <a:pt x="39" y="22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7" y="13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4" y="28"/>
                  </a:lnTo>
                  <a:lnTo>
                    <a:pt x="25" y="31"/>
                  </a:lnTo>
                  <a:lnTo>
                    <a:pt x="39" y="47"/>
                  </a:lnTo>
                  <a:lnTo>
                    <a:pt x="39" y="50"/>
                  </a:lnTo>
                  <a:lnTo>
                    <a:pt x="43" y="55"/>
                  </a:lnTo>
                  <a:lnTo>
                    <a:pt x="43" y="58"/>
                  </a:lnTo>
                  <a:lnTo>
                    <a:pt x="53" y="70"/>
                  </a:lnTo>
                  <a:lnTo>
                    <a:pt x="56" y="79"/>
                  </a:lnTo>
                  <a:lnTo>
                    <a:pt x="57" y="82"/>
                  </a:lnTo>
                  <a:lnTo>
                    <a:pt x="60" y="87"/>
                  </a:lnTo>
                  <a:lnTo>
                    <a:pt x="62" y="93"/>
                  </a:lnTo>
                  <a:lnTo>
                    <a:pt x="65" y="96"/>
                  </a:lnTo>
                  <a:lnTo>
                    <a:pt x="69" y="100"/>
                  </a:lnTo>
                  <a:lnTo>
                    <a:pt x="71" y="105"/>
                  </a:lnTo>
                  <a:lnTo>
                    <a:pt x="71" y="110"/>
                  </a:lnTo>
                  <a:lnTo>
                    <a:pt x="66" y="111"/>
                  </a:lnTo>
                  <a:lnTo>
                    <a:pt x="65" y="104"/>
                  </a:lnTo>
                  <a:lnTo>
                    <a:pt x="57" y="97"/>
                  </a:lnTo>
                  <a:lnTo>
                    <a:pt x="54" y="95"/>
                  </a:lnTo>
                  <a:lnTo>
                    <a:pt x="49" y="89"/>
                  </a:lnTo>
                  <a:lnTo>
                    <a:pt x="47" y="79"/>
                  </a:lnTo>
                  <a:lnTo>
                    <a:pt x="43" y="74"/>
                  </a:lnTo>
                  <a:lnTo>
                    <a:pt x="37" y="69"/>
                  </a:lnTo>
                  <a:lnTo>
                    <a:pt x="31" y="67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9" y="58"/>
                  </a:lnTo>
                  <a:lnTo>
                    <a:pt x="29" y="50"/>
                  </a:lnTo>
                  <a:lnTo>
                    <a:pt x="29" y="46"/>
                  </a:lnTo>
                  <a:lnTo>
                    <a:pt x="21" y="37"/>
                  </a:lnTo>
                  <a:lnTo>
                    <a:pt x="19" y="36"/>
                  </a:lnTo>
                  <a:lnTo>
                    <a:pt x="15" y="31"/>
                  </a:lnTo>
                  <a:lnTo>
                    <a:pt x="14" y="26"/>
                  </a:lnTo>
                  <a:lnTo>
                    <a:pt x="4" y="15"/>
                  </a:lnTo>
                  <a:lnTo>
                    <a:pt x="1" y="7"/>
                  </a:lnTo>
                  <a:lnTo>
                    <a:pt x="0" y="3"/>
                  </a:lnTo>
                  <a:lnTo>
                    <a:pt x="6" y="1"/>
                  </a:lnTo>
                  <a:lnTo>
                    <a:pt x="22" y="0"/>
                  </a:lnTo>
                  <a:lnTo>
                    <a:pt x="37" y="7"/>
                  </a:lnTo>
                  <a:lnTo>
                    <a:pt x="49" y="16"/>
                  </a:lnTo>
                  <a:lnTo>
                    <a:pt x="55" y="17"/>
                  </a:lnTo>
                  <a:lnTo>
                    <a:pt x="74" y="17"/>
                  </a:lnTo>
                  <a:lnTo>
                    <a:pt x="83" y="15"/>
                  </a:lnTo>
                  <a:lnTo>
                    <a:pt x="85" y="9"/>
                  </a:lnTo>
                  <a:lnTo>
                    <a:pt x="93" y="9"/>
                  </a:lnTo>
                  <a:lnTo>
                    <a:pt x="102" y="11"/>
                  </a:lnTo>
                  <a:lnTo>
                    <a:pt x="111" y="20"/>
                  </a:lnTo>
                  <a:lnTo>
                    <a:pt x="114" y="20"/>
                  </a:lnTo>
                  <a:lnTo>
                    <a:pt x="118" y="24"/>
                  </a:lnTo>
                  <a:lnTo>
                    <a:pt x="118" y="33"/>
                  </a:lnTo>
                  <a:lnTo>
                    <a:pt x="125" y="40"/>
                  </a:lnTo>
                  <a:lnTo>
                    <a:pt x="132" y="43"/>
                  </a:lnTo>
                  <a:lnTo>
                    <a:pt x="134" y="41"/>
                  </a:lnTo>
                  <a:lnTo>
                    <a:pt x="133" y="36"/>
                  </a:lnTo>
                  <a:lnTo>
                    <a:pt x="139" y="31"/>
                  </a:lnTo>
                  <a:lnTo>
                    <a:pt x="152" y="39"/>
                  </a:lnTo>
                  <a:lnTo>
                    <a:pt x="164" y="60"/>
                  </a:lnTo>
                  <a:lnTo>
                    <a:pt x="166" y="66"/>
                  </a:lnTo>
                  <a:lnTo>
                    <a:pt x="176" y="75"/>
                  </a:lnTo>
                  <a:lnTo>
                    <a:pt x="185" y="77"/>
                  </a:lnTo>
                  <a:lnTo>
                    <a:pt x="185" y="81"/>
                  </a:lnTo>
                  <a:lnTo>
                    <a:pt x="180" y="91"/>
                  </a:lnTo>
                  <a:lnTo>
                    <a:pt x="179" y="104"/>
                  </a:lnTo>
                  <a:lnTo>
                    <a:pt x="179" y="114"/>
                  </a:lnTo>
                  <a:lnTo>
                    <a:pt x="183" y="125"/>
                  </a:lnTo>
                  <a:lnTo>
                    <a:pt x="187" y="134"/>
                  </a:lnTo>
                  <a:lnTo>
                    <a:pt x="191" y="142"/>
                  </a:lnTo>
                  <a:lnTo>
                    <a:pt x="195" y="147"/>
                  </a:lnTo>
                  <a:lnTo>
                    <a:pt x="196" y="152"/>
                  </a:lnTo>
                  <a:lnTo>
                    <a:pt x="201" y="154"/>
                  </a:lnTo>
                  <a:lnTo>
                    <a:pt x="204" y="156"/>
                  </a:lnTo>
                  <a:lnTo>
                    <a:pt x="206" y="156"/>
                  </a:lnTo>
                  <a:lnTo>
                    <a:pt x="213" y="160"/>
                  </a:lnTo>
                  <a:lnTo>
                    <a:pt x="220" y="159"/>
                  </a:lnTo>
                  <a:lnTo>
                    <a:pt x="224" y="160"/>
                  </a:lnTo>
                  <a:lnTo>
                    <a:pt x="241" y="156"/>
                  </a:lnTo>
                  <a:lnTo>
                    <a:pt x="242" y="152"/>
                  </a:lnTo>
                  <a:lnTo>
                    <a:pt x="248" y="145"/>
                  </a:lnTo>
                  <a:lnTo>
                    <a:pt x="249" y="134"/>
                  </a:lnTo>
                  <a:lnTo>
                    <a:pt x="253" y="127"/>
                  </a:lnTo>
                  <a:lnTo>
                    <a:pt x="258" y="129"/>
                  </a:lnTo>
                  <a:lnTo>
                    <a:pt x="264" y="124"/>
                  </a:lnTo>
                  <a:lnTo>
                    <a:pt x="272" y="124"/>
                  </a:lnTo>
                  <a:lnTo>
                    <a:pt x="275" y="125"/>
                  </a:lnTo>
                  <a:lnTo>
                    <a:pt x="279" y="125"/>
                  </a:lnTo>
                  <a:lnTo>
                    <a:pt x="283" y="129"/>
                  </a:lnTo>
                  <a:lnTo>
                    <a:pt x="279" y="134"/>
                  </a:lnTo>
                  <a:lnTo>
                    <a:pt x="275" y="142"/>
                  </a:lnTo>
                  <a:lnTo>
                    <a:pt x="276" y="153"/>
                  </a:lnTo>
                  <a:lnTo>
                    <a:pt x="275" y="155"/>
                  </a:lnTo>
                  <a:lnTo>
                    <a:pt x="273" y="159"/>
                  </a:lnTo>
                  <a:lnTo>
                    <a:pt x="264" y="158"/>
                  </a:lnTo>
                  <a:lnTo>
                    <a:pt x="261" y="1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8" name="Freeform 180"/>
            <p:cNvSpPr>
              <a:spLocks/>
            </p:cNvSpPr>
            <p:nvPr/>
          </p:nvSpPr>
          <p:spPr bwMode="gray">
            <a:xfrm>
              <a:off x="1980" y="2714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2147483647 w 3"/>
                <a:gd name="T7" fmla="*/ 0 h 5"/>
                <a:gd name="T8" fmla="*/ 2147483647 w 3"/>
                <a:gd name="T9" fmla="*/ 0 h 5"/>
                <a:gd name="T10" fmla="*/ 2147483647 w 3"/>
                <a:gd name="T11" fmla="*/ 2147483647 h 5"/>
                <a:gd name="T12" fmla="*/ 2147483647 w 3"/>
                <a:gd name="T13" fmla="*/ 2147483647 h 5"/>
                <a:gd name="T14" fmla="*/ 2147483647 w 3"/>
                <a:gd name="T15" fmla="*/ 2147483647 h 5"/>
                <a:gd name="T16" fmla="*/ 2147483647 w 3"/>
                <a:gd name="T17" fmla="*/ 2147483647 h 5"/>
                <a:gd name="T18" fmla="*/ 2147483647 w 3"/>
                <a:gd name="T19" fmla="*/ 2147483647 h 5"/>
                <a:gd name="T20" fmla="*/ 2147483647 w 3"/>
                <a:gd name="T21" fmla="*/ 2147483647 h 5"/>
                <a:gd name="T22" fmla="*/ 2147483647 w 3"/>
                <a:gd name="T23" fmla="*/ 2147483647 h 5"/>
                <a:gd name="T24" fmla="*/ 0 w 3"/>
                <a:gd name="T25" fmla="*/ 2147483647 h 5"/>
                <a:gd name="T26" fmla="*/ 2147483647 w 3"/>
                <a:gd name="T27" fmla="*/ 2147483647 h 5"/>
                <a:gd name="T28" fmla="*/ 2147483647 w 3"/>
                <a:gd name="T29" fmla="*/ 2147483647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"/>
                <a:gd name="T46" fmla="*/ 0 h 5"/>
                <a:gd name="T47" fmla="*/ 3 w 3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" h="5">
                  <a:moveTo>
                    <a:pt x="1" y="2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89" name="Freeform 181"/>
            <p:cNvSpPr>
              <a:spLocks/>
            </p:cNvSpPr>
            <p:nvPr/>
          </p:nvSpPr>
          <p:spPr bwMode="gray">
            <a:xfrm>
              <a:off x="1673" y="2684"/>
              <a:ext cx="52" cy="59"/>
            </a:xfrm>
            <a:custGeom>
              <a:avLst/>
              <a:gdLst>
                <a:gd name="T0" fmla="*/ 2147483647 w 40"/>
                <a:gd name="T1" fmla="*/ 0 h 45"/>
                <a:gd name="T2" fmla="*/ 2147483647 w 40"/>
                <a:gd name="T3" fmla="*/ 2147483647 h 45"/>
                <a:gd name="T4" fmla="*/ 2147483647 w 40"/>
                <a:gd name="T5" fmla="*/ 2147483647 h 45"/>
                <a:gd name="T6" fmla="*/ 2147483647 w 40"/>
                <a:gd name="T7" fmla="*/ 2147483647 h 45"/>
                <a:gd name="T8" fmla="*/ 2147483647 w 40"/>
                <a:gd name="T9" fmla="*/ 2147483647 h 45"/>
                <a:gd name="T10" fmla="*/ 2147483647 w 40"/>
                <a:gd name="T11" fmla="*/ 2147483647 h 45"/>
                <a:gd name="T12" fmla="*/ 2147483647 w 40"/>
                <a:gd name="T13" fmla="*/ 2147483647 h 45"/>
                <a:gd name="T14" fmla="*/ 2147483647 w 40"/>
                <a:gd name="T15" fmla="*/ 2147483647 h 45"/>
                <a:gd name="T16" fmla="*/ 2147483647 w 40"/>
                <a:gd name="T17" fmla="*/ 2147483647 h 45"/>
                <a:gd name="T18" fmla="*/ 2147483647 w 40"/>
                <a:gd name="T19" fmla="*/ 2147483647 h 45"/>
                <a:gd name="T20" fmla="*/ 2147483647 w 40"/>
                <a:gd name="T21" fmla="*/ 2147483647 h 45"/>
                <a:gd name="T22" fmla="*/ 0 w 40"/>
                <a:gd name="T23" fmla="*/ 2147483647 h 45"/>
                <a:gd name="T24" fmla="*/ 2147483647 w 40"/>
                <a:gd name="T25" fmla="*/ 2147483647 h 45"/>
                <a:gd name="T26" fmla="*/ 2147483647 w 40"/>
                <a:gd name="T27" fmla="*/ 2147483647 h 45"/>
                <a:gd name="T28" fmla="*/ 2147483647 w 40"/>
                <a:gd name="T29" fmla="*/ 2147483647 h 45"/>
                <a:gd name="T30" fmla="*/ 2147483647 w 40"/>
                <a:gd name="T31" fmla="*/ 2147483647 h 45"/>
                <a:gd name="T32" fmla="*/ 2147483647 w 40"/>
                <a:gd name="T33" fmla="*/ 2147483647 h 45"/>
                <a:gd name="T34" fmla="*/ 2147483647 w 40"/>
                <a:gd name="T35" fmla="*/ 2147483647 h 45"/>
                <a:gd name="T36" fmla="*/ 2147483647 w 40"/>
                <a:gd name="T37" fmla="*/ 2147483647 h 45"/>
                <a:gd name="T38" fmla="*/ 2147483647 w 40"/>
                <a:gd name="T39" fmla="*/ 2147483647 h 45"/>
                <a:gd name="T40" fmla="*/ 2147483647 w 40"/>
                <a:gd name="T41" fmla="*/ 0 h 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45"/>
                <a:gd name="T65" fmla="*/ 40 w 40"/>
                <a:gd name="T66" fmla="*/ 45 h 4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45">
                  <a:moveTo>
                    <a:pt x="40" y="0"/>
                  </a:moveTo>
                  <a:lnTo>
                    <a:pt x="40" y="9"/>
                  </a:lnTo>
                  <a:lnTo>
                    <a:pt x="37" y="20"/>
                  </a:lnTo>
                  <a:lnTo>
                    <a:pt x="37" y="29"/>
                  </a:lnTo>
                  <a:lnTo>
                    <a:pt x="38" y="37"/>
                  </a:lnTo>
                  <a:lnTo>
                    <a:pt x="37" y="45"/>
                  </a:lnTo>
                  <a:lnTo>
                    <a:pt x="33" y="43"/>
                  </a:lnTo>
                  <a:lnTo>
                    <a:pt x="26" y="42"/>
                  </a:lnTo>
                  <a:lnTo>
                    <a:pt x="17" y="41"/>
                  </a:lnTo>
                  <a:lnTo>
                    <a:pt x="12" y="33"/>
                  </a:lnTo>
                  <a:lnTo>
                    <a:pt x="6" y="26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5" y="22"/>
                  </a:lnTo>
                  <a:lnTo>
                    <a:pt x="7" y="19"/>
                  </a:lnTo>
                  <a:lnTo>
                    <a:pt x="7" y="14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5" y="2"/>
                  </a:lnTo>
                  <a:lnTo>
                    <a:pt x="33" y="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0" name="Freeform 182"/>
            <p:cNvSpPr>
              <a:spLocks/>
            </p:cNvSpPr>
            <p:nvPr/>
          </p:nvSpPr>
          <p:spPr bwMode="gray">
            <a:xfrm>
              <a:off x="1695" y="2737"/>
              <a:ext cx="41" cy="37"/>
            </a:xfrm>
            <a:custGeom>
              <a:avLst/>
              <a:gdLst>
                <a:gd name="T0" fmla="*/ 0 w 31"/>
                <a:gd name="T1" fmla="*/ 0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0 w 31"/>
                <a:gd name="T27" fmla="*/ 2147483647 h 28"/>
                <a:gd name="T28" fmla="*/ 0 w 31"/>
                <a:gd name="T29" fmla="*/ 0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1"/>
                <a:gd name="T46" fmla="*/ 0 h 28"/>
                <a:gd name="T47" fmla="*/ 31 w 31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1" h="28">
                  <a:moveTo>
                    <a:pt x="0" y="0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8" y="22"/>
                  </a:lnTo>
                  <a:lnTo>
                    <a:pt x="28" y="27"/>
                  </a:lnTo>
                  <a:lnTo>
                    <a:pt x="24" y="28"/>
                  </a:lnTo>
                  <a:lnTo>
                    <a:pt x="17" y="21"/>
                  </a:lnTo>
                  <a:lnTo>
                    <a:pt x="14" y="13"/>
                  </a:lnTo>
                  <a:lnTo>
                    <a:pt x="10" y="10"/>
                  </a:lnTo>
                  <a:lnTo>
                    <a:pt x="7" y="11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1" name="Freeform 183"/>
            <p:cNvSpPr>
              <a:spLocks/>
            </p:cNvSpPr>
            <p:nvPr/>
          </p:nvSpPr>
          <p:spPr bwMode="gray">
            <a:xfrm>
              <a:off x="1732" y="2760"/>
              <a:ext cx="66" cy="30"/>
            </a:xfrm>
            <a:custGeom>
              <a:avLst/>
              <a:gdLst>
                <a:gd name="T0" fmla="*/ 2147483647 w 51"/>
                <a:gd name="T1" fmla="*/ 2147483647 h 23"/>
                <a:gd name="T2" fmla="*/ 2147483647 w 51"/>
                <a:gd name="T3" fmla="*/ 2147483647 h 23"/>
                <a:gd name="T4" fmla="*/ 2147483647 w 51"/>
                <a:gd name="T5" fmla="*/ 2147483647 h 23"/>
                <a:gd name="T6" fmla="*/ 2147483647 w 51"/>
                <a:gd name="T7" fmla="*/ 2147483647 h 23"/>
                <a:gd name="T8" fmla="*/ 2147483647 w 51"/>
                <a:gd name="T9" fmla="*/ 2147483647 h 23"/>
                <a:gd name="T10" fmla="*/ 2147483647 w 51"/>
                <a:gd name="T11" fmla="*/ 2147483647 h 23"/>
                <a:gd name="T12" fmla="*/ 2147483647 w 51"/>
                <a:gd name="T13" fmla="*/ 2147483647 h 23"/>
                <a:gd name="T14" fmla="*/ 2147483647 w 51"/>
                <a:gd name="T15" fmla="*/ 2147483647 h 23"/>
                <a:gd name="T16" fmla="*/ 2147483647 w 51"/>
                <a:gd name="T17" fmla="*/ 2147483647 h 23"/>
                <a:gd name="T18" fmla="*/ 2147483647 w 51"/>
                <a:gd name="T19" fmla="*/ 2147483647 h 23"/>
                <a:gd name="T20" fmla="*/ 2147483647 w 51"/>
                <a:gd name="T21" fmla="*/ 2147483647 h 23"/>
                <a:gd name="T22" fmla="*/ 2147483647 w 51"/>
                <a:gd name="T23" fmla="*/ 2147483647 h 23"/>
                <a:gd name="T24" fmla="*/ 2147483647 w 51"/>
                <a:gd name="T25" fmla="*/ 2147483647 h 23"/>
                <a:gd name="T26" fmla="*/ 2147483647 w 51"/>
                <a:gd name="T27" fmla="*/ 2147483647 h 23"/>
                <a:gd name="T28" fmla="*/ 0 w 51"/>
                <a:gd name="T29" fmla="*/ 2147483647 h 23"/>
                <a:gd name="T30" fmla="*/ 0 w 51"/>
                <a:gd name="T31" fmla="*/ 2147483647 h 23"/>
                <a:gd name="T32" fmla="*/ 2147483647 w 51"/>
                <a:gd name="T33" fmla="*/ 0 h 23"/>
                <a:gd name="T34" fmla="*/ 2147483647 w 51"/>
                <a:gd name="T35" fmla="*/ 2147483647 h 23"/>
                <a:gd name="T36" fmla="*/ 2147483647 w 51"/>
                <a:gd name="T37" fmla="*/ 2147483647 h 23"/>
                <a:gd name="T38" fmla="*/ 2147483647 w 51"/>
                <a:gd name="T39" fmla="*/ 2147483647 h 23"/>
                <a:gd name="T40" fmla="*/ 2147483647 w 51"/>
                <a:gd name="T41" fmla="*/ 2147483647 h 23"/>
                <a:gd name="T42" fmla="*/ 2147483647 w 51"/>
                <a:gd name="T43" fmla="*/ 2147483647 h 23"/>
                <a:gd name="T44" fmla="*/ 2147483647 w 51"/>
                <a:gd name="T45" fmla="*/ 2147483647 h 23"/>
                <a:gd name="T46" fmla="*/ 2147483647 w 51"/>
                <a:gd name="T47" fmla="*/ 2147483647 h 23"/>
                <a:gd name="T48" fmla="*/ 2147483647 w 51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1"/>
                <a:gd name="T76" fmla="*/ 0 h 23"/>
                <a:gd name="T77" fmla="*/ 51 w 51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1" h="23">
                  <a:moveTo>
                    <a:pt x="51" y="15"/>
                  </a:moveTo>
                  <a:lnTo>
                    <a:pt x="48" y="20"/>
                  </a:lnTo>
                  <a:lnTo>
                    <a:pt x="43" y="21"/>
                  </a:lnTo>
                  <a:lnTo>
                    <a:pt x="39" y="17"/>
                  </a:lnTo>
                  <a:lnTo>
                    <a:pt x="37" y="9"/>
                  </a:lnTo>
                  <a:lnTo>
                    <a:pt x="31" y="6"/>
                  </a:lnTo>
                  <a:lnTo>
                    <a:pt x="27" y="8"/>
                  </a:lnTo>
                  <a:lnTo>
                    <a:pt x="23" y="10"/>
                  </a:lnTo>
                  <a:lnTo>
                    <a:pt x="21" y="13"/>
                  </a:lnTo>
                  <a:lnTo>
                    <a:pt x="23" y="18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7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5"/>
                  </a:lnTo>
                  <a:lnTo>
                    <a:pt x="3" y="0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22" y="3"/>
                  </a:lnTo>
                  <a:lnTo>
                    <a:pt x="27" y="1"/>
                  </a:lnTo>
                  <a:lnTo>
                    <a:pt x="34" y="2"/>
                  </a:lnTo>
                  <a:lnTo>
                    <a:pt x="41" y="7"/>
                  </a:lnTo>
                  <a:lnTo>
                    <a:pt x="46" y="13"/>
                  </a:ln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2" name="Freeform 184"/>
            <p:cNvSpPr>
              <a:spLocks/>
            </p:cNvSpPr>
            <p:nvPr/>
          </p:nvSpPr>
          <p:spPr bwMode="gray">
            <a:xfrm>
              <a:off x="1938" y="1847"/>
              <a:ext cx="6" cy="11"/>
            </a:xfrm>
            <a:custGeom>
              <a:avLst/>
              <a:gdLst>
                <a:gd name="T0" fmla="*/ 0 w 5"/>
                <a:gd name="T1" fmla="*/ 2147483647 h 8"/>
                <a:gd name="T2" fmla="*/ 2147483647 w 5"/>
                <a:gd name="T3" fmla="*/ 0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w 5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4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5" y="7"/>
                  </a:lnTo>
                  <a:lnTo>
                    <a:pt x="3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3" name="Freeform 185"/>
            <p:cNvSpPr>
              <a:spLocks/>
            </p:cNvSpPr>
            <p:nvPr/>
          </p:nvSpPr>
          <p:spPr bwMode="gray">
            <a:xfrm>
              <a:off x="1865" y="1431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4" name="Freeform 186"/>
            <p:cNvSpPr>
              <a:spLocks/>
            </p:cNvSpPr>
            <p:nvPr/>
          </p:nvSpPr>
          <p:spPr bwMode="gray">
            <a:xfrm>
              <a:off x="2055" y="1556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w 4"/>
                <a:gd name="T7" fmla="*/ 0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0"/>
                  </a:moveTo>
                  <a:lnTo>
                    <a:pt x="4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5" name="Freeform 187"/>
            <p:cNvSpPr>
              <a:spLocks/>
            </p:cNvSpPr>
            <p:nvPr/>
          </p:nvSpPr>
          <p:spPr bwMode="gray">
            <a:xfrm>
              <a:off x="2073" y="1594"/>
              <a:ext cx="10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1" y="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6" name="Freeform 188"/>
            <p:cNvSpPr>
              <a:spLocks/>
            </p:cNvSpPr>
            <p:nvPr/>
          </p:nvSpPr>
          <p:spPr bwMode="gray">
            <a:xfrm>
              <a:off x="2085" y="159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7" name="Freeform 189"/>
            <p:cNvSpPr>
              <a:spLocks/>
            </p:cNvSpPr>
            <p:nvPr/>
          </p:nvSpPr>
          <p:spPr bwMode="gray">
            <a:xfrm>
              <a:off x="2063" y="1619"/>
              <a:ext cx="34" cy="22"/>
            </a:xfrm>
            <a:custGeom>
              <a:avLst/>
              <a:gdLst>
                <a:gd name="T0" fmla="*/ 2147483647 w 26"/>
                <a:gd name="T1" fmla="*/ 0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0 w 26"/>
                <a:gd name="T21" fmla="*/ 2147483647 h 17"/>
                <a:gd name="T22" fmla="*/ 2147483647 w 26"/>
                <a:gd name="T23" fmla="*/ 2147483647 h 17"/>
                <a:gd name="T24" fmla="*/ 0 w 26"/>
                <a:gd name="T25" fmla="*/ 2147483647 h 17"/>
                <a:gd name="T26" fmla="*/ 2147483647 w 26"/>
                <a:gd name="T27" fmla="*/ 0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17"/>
                <a:gd name="T44" fmla="*/ 26 w 26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17">
                  <a:moveTo>
                    <a:pt x="3" y="0"/>
                  </a:moveTo>
                  <a:lnTo>
                    <a:pt x="6" y="1"/>
                  </a:lnTo>
                  <a:lnTo>
                    <a:pt x="14" y="3"/>
                  </a:lnTo>
                  <a:lnTo>
                    <a:pt x="18" y="5"/>
                  </a:lnTo>
                  <a:lnTo>
                    <a:pt x="26" y="11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14" y="17"/>
                  </a:lnTo>
                  <a:lnTo>
                    <a:pt x="8" y="13"/>
                  </a:lnTo>
                  <a:lnTo>
                    <a:pt x="2" y="13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8" name="Freeform 190"/>
            <p:cNvSpPr>
              <a:spLocks/>
            </p:cNvSpPr>
            <p:nvPr/>
          </p:nvSpPr>
          <p:spPr bwMode="gray">
            <a:xfrm>
              <a:off x="2076" y="1271"/>
              <a:ext cx="25" cy="14"/>
            </a:xfrm>
            <a:custGeom>
              <a:avLst/>
              <a:gdLst>
                <a:gd name="T0" fmla="*/ 0 w 19"/>
                <a:gd name="T1" fmla="*/ 2147483647 h 11"/>
                <a:gd name="T2" fmla="*/ 0 w 19"/>
                <a:gd name="T3" fmla="*/ 2147483647 h 11"/>
                <a:gd name="T4" fmla="*/ 2147483647 w 19"/>
                <a:gd name="T5" fmla="*/ 0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2147483647 w 19"/>
                <a:gd name="T11" fmla="*/ 2147483647 h 11"/>
                <a:gd name="T12" fmla="*/ 2147483647 w 19"/>
                <a:gd name="T13" fmla="*/ 2147483647 h 11"/>
                <a:gd name="T14" fmla="*/ 2147483647 w 19"/>
                <a:gd name="T15" fmla="*/ 2147483647 h 11"/>
                <a:gd name="T16" fmla="*/ 0 w 19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1"/>
                <a:gd name="T29" fmla="*/ 19 w 19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1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11" y="2"/>
                  </a:lnTo>
                  <a:lnTo>
                    <a:pt x="10" y="4"/>
                  </a:lnTo>
                  <a:lnTo>
                    <a:pt x="15" y="5"/>
                  </a:lnTo>
                  <a:lnTo>
                    <a:pt x="19" y="11"/>
                  </a:lnTo>
                  <a:lnTo>
                    <a:pt x="1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999" name="Freeform 191"/>
            <p:cNvSpPr>
              <a:spLocks/>
            </p:cNvSpPr>
            <p:nvPr/>
          </p:nvSpPr>
          <p:spPr bwMode="gray">
            <a:xfrm>
              <a:off x="2128" y="1260"/>
              <a:ext cx="9" cy="7"/>
            </a:xfrm>
            <a:custGeom>
              <a:avLst/>
              <a:gdLst>
                <a:gd name="T0" fmla="*/ 0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7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0" name="Freeform 192"/>
            <p:cNvSpPr>
              <a:spLocks/>
            </p:cNvSpPr>
            <p:nvPr/>
          </p:nvSpPr>
          <p:spPr bwMode="gray">
            <a:xfrm>
              <a:off x="2143" y="1255"/>
              <a:ext cx="39" cy="24"/>
            </a:xfrm>
            <a:custGeom>
              <a:avLst/>
              <a:gdLst>
                <a:gd name="T0" fmla="*/ 0 w 30"/>
                <a:gd name="T1" fmla="*/ 2147483647 h 18"/>
                <a:gd name="T2" fmla="*/ 2147483647 w 30"/>
                <a:gd name="T3" fmla="*/ 0 h 18"/>
                <a:gd name="T4" fmla="*/ 2147483647 w 30"/>
                <a:gd name="T5" fmla="*/ 2147483647 h 18"/>
                <a:gd name="T6" fmla="*/ 2147483647 w 30"/>
                <a:gd name="T7" fmla="*/ 2147483647 h 18"/>
                <a:gd name="T8" fmla="*/ 2147483647 w 30"/>
                <a:gd name="T9" fmla="*/ 2147483647 h 18"/>
                <a:gd name="T10" fmla="*/ 2147483647 w 30"/>
                <a:gd name="T11" fmla="*/ 2147483647 h 18"/>
                <a:gd name="T12" fmla="*/ 2147483647 w 30"/>
                <a:gd name="T13" fmla="*/ 2147483647 h 18"/>
                <a:gd name="T14" fmla="*/ 2147483647 w 30"/>
                <a:gd name="T15" fmla="*/ 2147483647 h 18"/>
                <a:gd name="T16" fmla="*/ 2147483647 w 30"/>
                <a:gd name="T17" fmla="*/ 2147483647 h 18"/>
                <a:gd name="T18" fmla="*/ 0 w 30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18"/>
                <a:gd name="T32" fmla="*/ 30 w 30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18">
                  <a:moveTo>
                    <a:pt x="0" y="1"/>
                  </a:moveTo>
                  <a:lnTo>
                    <a:pt x="12" y="0"/>
                  </a:lnTo>
                  <a:lnTo>
                    <a:pt x="30" y="10"/>
                  </a:lnTo>
                  <a:lnTo>
                    <a:pt x="23" y="13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7" y="14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1" name="Freeform 193"/>
            <p:cNvSpPr>
              <a:spLocks/>
            </p:cNvSpPr>
            <p:nvPr/>
          </p:nvSpPr>
          <p:spPr bwMode="gray">
            <a:xfrm>
              <a:off x="2132" y="1245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0 w 10"/>
                <a:gd name="T7" fmla="*/ 2147483647 h 4"/>
                <a:gd name="T8" fmla="*/ 2147483647 w 10"/>
                <a:gd name="T9" fmla="*/ 2147483647 h 4"/>
                <a:gd name="T10" fmla="*/ 2147483647 w 10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4"/>
                <a:gd name="T20" fmla="*/ 10 w 10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4">
                  <a:moveTo>
                    <a:pt x="6" y="0"/>
                  </a:moveTo>
                  <a:lnTo>
                    <a:pt x="10" y="3"/>
                  </a:lnTo>
                  <a:lnTo>
                    <a:pt x="4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2" name="Freeform 194"/>
            <p:cNvSpPr>
              <a:spLocks/>
            </p:cNvSpPr>
            <p:nvPr/>
          </p:nvSpPr>
          <p:spPr bwMode="gray">
            <a:xfrm>
              <a:off x="2150" y="1237"/>
              <a:ext cx="21" cy="10"/>
            </a:xfrm>
            <a:custGeom>
              <a:avLst/>
              <a:gdLst>
                <a:gd name="T0" fmla="*/ 2147483647 w 16"/>
                <a:gd name="T1" fmla="*/ 0 h 8"/>
                <a:gd name="T2" fmla="*/ 2147483647 w 16"/>
                <a:gd name="T3" fmla="*/ 2147483647 h 8"/>
                <a:gd name="T4" fmla="*/ 2147483647 w 16"/>
                <a:gd name="T5" fmla="*/ 2147483647 h 8"/>
                <a:gd name="T6" fmla="*/ 2147483647 w 16"/>
                <a:gd name="T7" fmla="*/ 2147483647 h 8"/>
                <a:gd name="T8" fmla="*/ 2147483647 w 16"/>
                <a:gd name="T9" fmla="*/ 2147483647 h 8"/>
                <a:gd name="T10" fmla="*/ 2147483647 w 16"/>
                <a:gd name="T11" fmla="*/ 2147483647 h 8"/>
                <a:gd name="T12" fmla="*/ 0 w 16"/>
                <a:gd name="T13" fmla="*/ 2147483647 h 8"/>
                <a:gd name="T14" fmla="*/ 2147483647 w 16"/>
                <a:gd name="T15" fmla="*/ 2147483647 h 8"/>
                <a:gd name="T16" fmla="*/ 2147483647 w 16"/>
                <a:gd name="T17" fmla="*/ 2147483647 h 8"/>
                <a:gd name="T18" fmla="*/ 2147483647 w 16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8"/>
                <a:gd name="T32" fmla="*/ 16 w 1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8">
                  <a:moveTo>
                    <a:pt x="6" y="0"/>
                  </a:moveTo>
                  <a:lnTo>
                    <a:pt x="12" y="3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3" name="Freeform 195"/>
            <p:cNvSpPr>
              <a:spLocks/>
            </p:cNvSpPr>
            <p:nvPr/>
          </p:nvSpPr>
          <p:spPr bwMode="gray">
            <a:xfrm>
              <a:off x="2227" y="1224"/>
              <a:ext cx="22" cy="10"/>
            </a:xfrm>
            <a:custGeom>
              <a:avLst/>
              <a:gdLst>
                <a:gd name="T0" fmla="*/ 0 w 17"/>
                <a:gd name="T1" fmla="*/ 0 h 8"/>
                <a:gd name="T2" fmla="*/ 2147483647 w 17"/>
                <a:gd name="T3" fmla="*/ 0 h 8"/>
                <a:gd name="T4" fmla="*/ 2147483647 w 17"/>
                <a:gd name="T5" fmla="*/ 2147483647 h 8"/>
                <a:gd name="T6" fmla="*/ 2147483647 w 17"/>
                <a:gd name="T7" fmla="*/ 2147483647 h 8"/>
                <a:gd name="T8" fmla="*/ 2147483647 w 17"/>
                <a:gd name="T9" fmla="*/ 2147483647 h 8"/>
                <a:gd name="T10" fmla="*/ 2147483647 w 17"/>
                <a:gd name="T11" fmla="*/ 2147483647 h 8"/>
                <a:gd name="T12" fmla="*/ 0 w 17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8"/>
                <a:gd name="T23" fmla="*/ 17 w 1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8">
                  <a:moveTo>
                    <a:pt x="0" y="0"/>
                  </a:moveTo>
                  <a:lnTo>
                    <a:pt x="3" y="0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4" name="Freeform 196"/>
            <p:cNvSpPr>
              <a:spLocks/>
            </p:cNvSpPr>
            <p:nvPr/>
          </p:nvSpPr>
          <p:spPr bwMode="gray">
            <a:xfrm>
              <a:off x="2231" y="1233"/>
              <a:ext cx="12" cy="5"/>
            </a:xfrm>
            <a:custGeom>
              <a:avLst/>
              <a:gdLst>
                <a:gd name="T0" fmla="*/ 0 w 9"/>
                <a:gd name="T1" fmla="*/ 0 h 4"/>
                <a:gd name="T2" fmla="*/ 2147483647 w 9"/>
                <a:gd name="T3" fmla="*/ 2147483647 h 4"/>
                <a:gd name="T4" fmla="*/ 2147483647 w 9"/>
                <a:gd name="T5" fmla="*/ 2147483647 h 4"/>
                <a:gd name="T6" fmla="*/ 2147483647 w 9"/>
                <a:gd name="T7" fmla="*/ 2147483647 h 4"/>
                <a:gd name="T8" fmla="*/ 2147483647 w 9"/>
                <a:gd name="T9" fmla="*/ 2147483647 h 4"/>
                <a:gd name="T10" fmla="*/ 0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0"/>
                  </a:moveTo>
                  <a:lnTo>
                    <a:pt x="6" y="1"/>
                  </a:lnTo>
                  <a:lnTo>
                    <a:pt x="9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5" name="Freeform 197"/>
            <p:cNvSpPr>
              <a:spLocks/>
            </p:cNvSpPr>
            <p:nvPr/>
          </p:nvSpPr>
          <p:spPr bwMode="gray">
            <a:xfrm>
              <a:off x="2239" y="1220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6" name="Freeform 198"/>
            <p:cNvSpPr>
              <a:spLocks/>
            </p:cNvSpPr>
            <p:nvPr/>
          </p:nvSpPr>
          <p:spPr bwMode="gray">
            <a:xfrm>
              <a:off x="2221" y="1232"/>
              <a:ext cx="13" cy="8"/>
            </a:xfrm>
            <a:custGeom>
              <a:avLst/>
              <a:gdLst>
                <a:gd name="T0" fmla="*/ 2147483647 w 10"/>
                <a:gd name="T1" fmla="*/ 0 h 6"/>
                <a:gd name="T2" fmla="*/ 2147483647 w 10"/>
                <a:gd name="T3" fmla="*/ 2147483647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w 10"/>
                <a:gd name="T9" fmla="*/ 0 h 6"/>
                <a:gd name="T10" fmla="*/ 2147483647 w 10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6"/>
                <a:gd name="T20" fmla="*/ 10 w 10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6">
                  <a:moveTo>
                    <a:pt x="2" y="0"/>
                  </a:moveTo>
                  <a:lnTo>
                    <a:pt x="6" y="4"/>
                  </a:lnTo>
                  <a:lnTo>
                    <a:pt x="10" y="6"/>
                  </a:lnTo>
                  <a:lnTo>
                    <a:pt x="6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7" name="Freeform 200"/>
            <p:cNvSpPr>
              <a:spLocks/>
            </p:cNvSpPr>
            <p:nvPr/>
          </p:nvSpPr>
          <p:spPr bwMode="gray">
            <a:xfrm>
              <a:off x="1839" y="2723"/>
              <a:ext cx="163" cy="151"/>
            </a:xfrm>
            <a:custGeom>
              <a:avLst/>
              <a:gdLst>
                <a:gd name="T0" fmla="*/ 2147483647 w 125"/>
                <a:gd name="T1" fmla="*/ 2147483647 h 116"/>
                <a:gd name="T2" fmla="*/ 2147483647 w 125"/>
                <a:gd name="T3" fmla="*/ 2147483647 h 116"/>
                <a:gd name="T4" fmla="*/ 2147483647 w 125"/>
                <a:gd name="T5" fmla="*/ 2147483647 h 116"/>
                <a:gd name="T6" fmla="*/ 2147483647 w 125"/>
                <a:gd name="T7" fmla="*/ 2147483647 h 116"/>
                <a:gd name="T8" fmla="*/ 2147483647 w 125"/>
                <a:gd name="T9" fmla="*/ 2147483647 h 116"/>
                <a:gd name="T10" fmla="*/ 2147483647 w 125"/>
                <a:gd name="T11" fmla="*/ 2147483647 h 116"/>
                <a:gd name="T12" fmla="*/ 2147483647 w 125"/>
                <a:gd name="T13" fmla="*/ 2147483647 h 116"/>
                <a:gd name="T14" fmla="*/ 0 w 125"/>
                <a:gd name="T15" fmla="*/ 2147483647 h 116"/>
                <a:gd name="T16" fmla="*/ 2147483647 w 125"/>
                <a:gd name="T17" fmla="*/ 2147483647 h 116"/>
                <a:gd name="T18" fmla="*/ 2147483647 w 125"/>
                <a:gd name="T19" fmla="*/ 2147483647 h 116"/>
                <a:gd name="T20" fmla="*/ 2147483647 w 125"/>
                <a:gd name="T21" fmla="*/ 2147483647 h 116"/>
                <a:gd name="T22" fmla="*/ 2147483647 w 125"/>
                <a:gd name="T23" fmla="*/ 2147483647 h 116"/>
                <a:gd name="T24" fmla="*/ 2147483647 w 125"/>
                <a:gd name="T25" fmla="*/ 2147483647 h 116"/>
                <a:gd name="T26" fmla="*/ 2147483647 w 125"/>
                <a:gd name="T27" fmla="*/ 2147483647 h 116"/>
                <a:gd name="T28" fmla="*/ 2147483647 w 125"/>
                <a:gd name="T29" fmla="*/ 0 h 116"/>
                <a:gd name="T30" fmla="*/ 2147483647 w 125"/>
                <a:gd name="T31" fmla="*/ 2147483647 h 116"/>
                <a:gd name="T32" fmla="*/ 2147483647 w 125"/>
                <a:gd name="T33" fmla="*/ 2147483647 h 116"/>
                <a:gd name="T34" fmla="*/ 2147483647 w 125"/>
                <a:gd name="T35" fmla="*/ 2147483647 h 116"/>
                <a:gd name="T36" fmla="*/ 2147483647 w 125"/>
                <a:gd name="T37" fmla="*/ 2147483647 h 116"/>
                <a:gd name="T38" fmla="*/ 2147483647 w 125"/>
                <a:gd name="T39" fmla="*/ 2147483647 h 116"/>
                <a:gd name="T40" fmla="*/ 2147483647 w 125"/>
                <a:gd name="T41" fmla="*/ 2147483647 h 116"/>
                <a:gd name="T42" fmla="*/ 2147483647 w 125"/>
                <a:gd name="T43" fmla="*/ 2147483647 h 116"/>
                <a:gd name="T44" fmla="*/ 2147483647 w 125"/>
                <a:gd name="T45" fmla="*/ 2147483647 h 116"/>
                <a:gd name="T46" fmla="*/ 2147483647 w 125"/>
                <a:gd name="T47" fmla="*/ 2147483647 h 116"/>
                <a:gd name="T48" fmla="*/ 2147483647 w 125"/>
                <a:gd name="T49" fmla="*/ 2147483647 h 116"/>
                <a:gd name="T50" fmla="*/ 2147483647 w 125"/>
                <a:gd name="T51" fmla="*/ 2147483647 h 116"/>
                <a:gd name="T52" fmla="*/ 2147483647 w 125"/>
                <a:gd name="T53" fmla="*/ 2147483647 h 116"/>
                <a:gd name="T54" fmla="*/ 2147483647 w 125"/>
                <a:gd name="T55" fmla="*/ 2147483647 h 116"/>
                <a:gd name="T56" fmla="*/ 2147483647 w 125"/>
                <a:gd name="T57" fmla="*/ 2147483647 h 116"/>
                <a:gd name="T58" fmla="*/ 2147483647 w 125"/>
                <a:gd name="T59" fmla="*/ 2147483647 h 116"/>
                <a:gd name="T60" fmla="*/ 2147483647 w 125"/>
                <a:gd name="T61" fmla="*/ 2147483647 h 116"/>
                <a:gd name="T62" fmla="*/ 2147483647 w 125"/>
                <a:gd name="T63" fmla="*/ 2147483647 h 116"/>
                <a:gd name="T64" fmla="*/ 2147483647 w 125"/>
                <a:gd name="T65" fmla="*/ 2147483647 h 116"/>
                <a:gd name="T66" fmla="*/ 2147483647 w 125"/>
                <a:gd name="T67" fmla="*/ 2147483647 h 1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5"/>
                <a:gd name="T103" fmla="*/ 0 h 116"/>
                <a:gd name="T104" fmla="*/ 125 w 125"/>
                <a:gd name="T105" fmla="*/ 116 h 1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5" h="116">
                  <a:moveTo>
                    <a:pt x="59" y="112"/>
                  </a:moveTo>
                  <a:lnTo>
                    <a:pt x="59" y="103"/>
                  </a:lnTo>
                  <a:lnTo>
                    <a:pt x="56" y="97"/>
                  </a:lnTo>
                  <a:lnTo>
                    <a:pt x="52" y="95"/>
                  </a:lnTo>
                  <a:lnTo>
                    <a:pt x="54" y="89"/>
                  </a:lnTo>
                  <a:lnTo>
                    <a:pt x="50" y="80"/>
                  </a:lnTo>
                  <a:lnTo>
                    <a:pt x="51" y="75"/>
                  </a:lnTo>
                  <a:lnTo>
                    <a:pt x="52" y="65"/>
                  </a:lnTo>
                  <a:lnTo>
                    <a:pt x="48" y="61"/>
                  </a:lnTo>
                  <a:lnTo>
                    <a:pt x="36" y="59"/>
                  </a:lnTo>
                  <a:lnTo>
                    <a:pt x="32" y="55"/>
                  </a:lnTo>
                  <a:lnTo>
                    <a:pt x="11" y="52"/>
                  </a:lnTo>
                  <a:lnTo>
                    <a:pt x="6" y="45"/>
                  </a:lnTo>
                  <a:lnTo>
                    <a:pt x="8" y="40"/>
                  </a:lnTo>
                  <a:lnTo>
                    <a:pt x="3" y="33"/>
                  </a:lnTo>
                  <a:lnTo>
                    <a:pt x="0" y="30"/>
                  </a:lnTo>
                  <a:lnTo>
                    <a:pt x="5" y="15"/>
                  </a:lnTo>
                  <a:lnTo>
                    <a:pt x="14" y="4"/>
                  </a:lnTo>
                  <a:lnTo>
                    <a:pt x="20" y="3"/>
                  </a:lnTo>
                  <a:lnTo>
                    <a:pt x="14" y="7"/>
                  </a:lnTo>
                  <a:lnTo>
                    <a:pt x="13" y="12"/>
                  </a:lnTo>
                  <a:lnTo>
                    <a:pt x="14" y="16"/>
                  </a:lnTo>
                  <a:lnTo>
                    <a:pt x="11" y="23"/>
                  </a:lnTo>
                  <a:lnTo>
                    <a:pt x="14" y="32"/>
                  </a:lnTo>
                  <a:lnTo>
                    <a:pt x="20" y="30"/>
                  </a:lnTo>
                  <a:lnTo>
                    <a:pt x="20" y="22"/>
                  </a:lnTo>
                  <a:lnTo>
                    <a:pt x="17" y="15"/>
                  </a:lnTo>
                  <a:lnTo>
                    <a:pt x="19" y="10"/>
                  </a:lnTo>
                  <a:lnTo>
                    <a:pt x="30" y="7"/>
                  </a:lnTo>
                  <a:lnTo>
                    <a:pt x="28" y="0"/>
                  </a:lnTo>
                  <a:lnTo>
                    <a:pt x="32" y="1"/>
                  </a:lnTo>
                  <a:lnTo>
                    <a:pt x="34" y="5"/>
                  </a:lnTo>
                  <a:lnTo>
                    <a:pt x="39" y="5"/>
                  </a:lnTo>
                  <a:lnTo>
                    <a:pt x="46" y="8"/>
                  </a:lnTo>
                  <a:lnTo>
                    <a:pt x="46" y="14"/>
                  </a:lnTo>
                  <a:lnTo>
                    <a:pt x="67" y="16"/>
                  </a:lnTo>
                  <a:lnTo>
                    <a:pt x="71" y="19"/>
                  </a:lnTo>
                  <a:lnTo>
                    <a:pt x="77" y="20"/>
                  </a:lnTo>
                  <a:lnTo>
                    <a:pt x="82" y="19"/>
                  </a:lnTo>
                  <a:lnTo>
                    <a:pt x="88" y="14"/>
                  </a:lnTo>
                  <a:lnTo>
                    <a:pt x="92" y="13"/>
                  </a:lnTo>
                  <a:lnTo>
                    <a:pt x="98" y="15"/>
                  </a:lnTo>
                  <a:lnTo>
                    <a:pt x="103" y="23"/>
                  </a:lnTo>
                  <a:lnTo>
                    <a:pt x="109" y="22"/>
                  </a:lnTo>
                  <a:lnTo>
                    <a:pt x="117" y="28"/>
                  </a:lnTo>
                  <a:lnTo>
                    <a:pt x="120" y="33"/>
                  </a:lnTo>
                  <a:lnTo>
                    <a:pt x="125" y="38"/>
                  </a:lnTo>
                  <a:lnTo>
                    <a:pt x="125" y="45"/>
                  </a:lnTo>
                  <a:lnTo>
                    <a:pt x="119" y="47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1" y="56"/>
                  </a:lnTo>
                  <a:lnTo>
                    <a:pt x="114" y="58"/>
                  </a:lnTo>
                  <a:lnTo>
                    <a:pt x="114" y="69"/>
                  </a:lnTo>
                  <a:lnTo>
                    <a:pt x="116" y="71"/>
                  </a:lnTo>
                  <a:lnTo>
                    <a:pt x="114" y="80"/>
                  </a:lnTo>
                  <a:lnTo>
                    <a:pt x="100" y="86"/>
                  </a:lnTo>
                  <a:lnTo>
                    <a:pt x="89" y="79"/>
                  </a:lnTo>
                  <a:lnTo>
                    <a:pt x="83" y="80"/>
                  </a:lnTo>
                  <a:lnTo>
                    <a:pt x="82" y="85"/>
                  </a:lnTo>
                  <a:lnTo>
                    <a:pt x="85" y="87"/>
                  </a:lnTo>
                  <a:lnTo>
                    <a:pt x="85" y="99"/>
                  </a:lnTo>
                  <a:lnTo>
                    <a:pt x="91" y="98"/>
                  </a:lnTo>
                  <a:lnTo>
                    <a:pt x="93" y="101"/>
                  </a:lnTo>
                  <a:lnTo>
                    <a:pt x="92" y="105"/>
                  </a:lnTo>
                  <a:lnTo>
                    <a:pt x="75" y="114"/>
                  </a:lnTo>
                  <a:lnTo>
                    <a:pt x="68" y="116"/>
                  </a:lnTo>
                  <a:lnTo>
                    <a:pt x="59" y="1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8" name="Freeform 201"/>
            <p:cNvSpPr>
              <a:spLocks/>
            </p:cNvSpPr>
            <p:nvPr/>
          </p:nvSpPr>
          <p:spPr bwMode="gray">
            <a:xfrm>
              <a:off x="1978" y="2736"/>
              <a:ext cx="15" cy="13"/>
            </a:xfrm>
            <a:custGeom>
              <a:avLst/>
              <a:gdLst>
                <a:gd name="T0" fmla="*/ 2147483647 w 11"/>
                <a:gd name="T1" fmla="*/ 0 h 10"/>
                <a:gd name="T2" fmla="*/ 2147483647 w 11"/>
                <a:gd name="T3" fmla="*/ 2147483647 h 10"/>
                <a:gd name="T4" fmla="*/ 2147483647 w 11"/>
                <a:gd name="T5" fmla="*/ 2147483647 h 10"/>
                <a:gd name="T6" fmla="*/ 2147483647 w 11"/>
                <a:gd name="T7" fmla="*/ 2147483647 h 10"/>
                <a:gd name="T8" fmla="*/ 2147483647 w 11"/>
                <a:gd name="T9" fmla="*/ 2147483647 h 10"/>
                <a:gd name="T10" fmla="*/ 2147483647 w 11"/>
                <a:gd name="T11" fmla="*/ 2147483647 h 10"/>
                <a:gd name="T12" fmla="*/ 2147483647 w 11"/>
                <a:gd name="T13" fmla="*/ 2147483647 h 10"/>
                <a:gd name="T14" fmla="*/ 2147483647 w 11"/>
                <a:gd name="T15" fmla="*/ 2147483647 h 10"/>
                <a:gd name="T16" fmla="*/ 2147483647 w 11"/>
                <a:gd name="T17" fmla="*/ 2147483647 h 10"/>
                <a:gd name="T18" fmla="*/ 2147483647 w 11"/>
                <a:gd name="T19" fmla="*/ 2147483647 h 10"/>
                <a:gd name="T20" fmla="*/ 2147483647 w 11"/>
                <a:gd name="T21" fmla="*/ 2147483647 h 10"/>
                <a:gd name="T22" fmla="*/ 2147483647 w 11"/>
                <a:gd name="T23" fmla="*/ 2147483647 h 10"/>
                <a:gd name="T24" fmla="*/ 2147483647 w 11"/>
                <a:gd name="T25" fmla="*/ 2147483647 h 10"/>
                <a:gd name="T26" fmla="*/ 2147483647 w 11"/>
                <a:gd name="T27" fmla="*/ 2147483647 h 10"/>
                <a:gd name="T28" fmla="*/ 2147483647 w 11"/>
                <a:gd name="T29" fmla="*/ 2147483647 h 10"/>
                <a:gd name="T30" fmla="*/ 2147483647 w 11"/>
                <a:gd name="T31" fmla="*/ 2147483647 h 10"/>
                <a:gd name="T32" fmla="*/ 2147483647 w 11"/>
                <a:gd name="T33" fmla="*/ 2147483647 h 10"/>
                <a:gd name="T34" fmla="*/ 0 w 11"/>
                <a:gd name="T35" fmla="*/ 2147483647 h 10"/>
                <a:gd name="T36" fmla="*/ 2147483647 w 11"/>
                <a:gd name="T37" fmla="*/ 2147483647 h 10"/>
                <a:gd name="T38" fmla="*/ 2147483647 w 11"/>
                <a:gd name="T39" fmla="*/ 2147483647 h 10"/>
                <a:gd name="T40" fmla="*/ 2147483647 w 11"/>
                <a:gd name="T41" fmla="*/ 2147483647 h 10"/>
                <a:gd name="T42" fmla="*/ 2147483647 w 11"/>
                <a:gd name="T43" fmla="*/ 2147483647 h 10"/>
                <a:gd name="T44" fmla="*/ 2147483647 w 11"/>
                <a:gd name="T45" fmla="*/ 2147483647 h 10"/>
                <a:gd name="T46" fmla="*/ 2147483647 w 11"/>
                <a:gd name="T47" fmla="*/ 2147483647 h 10"/>
                <a:gd name="T48" fmla="*/ 2147483647 w 11"/>
                <a:gd name="T49" fmla="*/ 2147483647 h 10"/>
                <a:gd name="T50" fmla="*/ 2147483647 w 11"/>
                <a:gd name="T51" fmla="*/ 2147483647 h 10"/>
                <a:gd name="T52" fmla="*/ 2147483647 w 11"/>
                <a:gd name="T53" fmla="*/ 2147483647 h 10"/>
                <a:gd name="T54" fmla="*/ 2147483647 w 11"/>
                <a:gd name="T55" fmla="*/ 2147483647 h 10"/>
                <a:gd name="T56" fmla="*/ 2147483647 w 11"/>
                <a:gd name="T57" fmla="*/ 2147483647 h 10"/>
                <a:gd name="T58" fmla="*/ 2147483647 w 11"/>
                <a:gd name="T59" fmla="*/ 2147483647 h 10"/>
                <a:gd name="T60" fmla="*/ 2147483647 w 11"/>
                <a:gd name="T61" fmla="*/ 2147483647 h 10"/>
                <a:gd name="T62" fmla="*/ 2147483647 w 11"/>
                <a:gd name="T63" fmla="*/ 2147483647 h 10"/>
                <a:gd name="T64" fmla="*/ 2147483647 w 11"/>
                <a:gd name="T65" fmla="*/ 2147483647 h 10"/>
                <a:gd name="T66" fmla="*/ 2147483647 w 11"/>
                <a:gd name="T67" fmla="*/ 2147483647 h 10"/>
                <a:gd name="T68" fmla="*/ 2147483647 w 11"/>
                <a:gd name="T69" fmla="*/ 2147483647 h 10"/>
                <a:gd name="T70" fmla="*/ 2147483647 w 11"/>
                <a:gd name="T71" fmla="*/ 2147483647 h 10"/>
                <a:gd name="T72" fmla="*/ 2147483647 w 11"/>
                <a:gd name="T73" fmla="*/ 2147483647 h 10"/>
                <a:gd name="T74" fmla="*/ 2147483647 w 11"/>
                <a:gd name="T75" fmla="*/ 2147483647 h 10"/>
                <a:gd name="T76" fmla="*/ 2147483647 w 11"/>
                <a:gd name="T77" fmla="*/ 2147483647 h 10"/>
                <a:gd name="T78" fmla="*/ 2147483647 w 11"/>
                <a:gd name="T79" fmla="*/ 2147483647 h 10"/>
                <a:gd name="T80" fmla="*/ 2147483647 w 11"/>
                <a:gd name="T81" fmla="*/ 0 h 10"/>
                <a:gd name="T82" fmla="*/ 2147483647 w 11"/>
                <a:gd name="T83" fmla="*/ 0 h 10"/>
                <a:gd name="T84" fmla="*/ 2147483647 w 11"/>
                <a:gd name="T85" fmla="*/ 0 h 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"/>
                <a:gd name="T130" fmla="*/ 0 h 10"/>
                <a:gd name="T131" fmla="*/ 11 w 11"/>
                <a:gd name="T132" fmla="*/ 10 h 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" h="10">
                  <a:moveTo>
                    <a:pt x="11" y="0"/>
                  </a:move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09" name="Freeform 202"/>
            <p:cNvSpPr>
              <a:spLocks/>
            </p:cNvSpPr>
            <p:nvPr/>
          </p:nvSpPr>
          <p:spPr bwMode="gray">
            <a:xfrm>
              <a:off x="2027" y="2805"/>
              <a:ext cx="47" cy="51"/>
            </a:xfrm>
            <a:custGeom>
              <a:avLst/>
              <a:gdLst>
                <a:gd name="T0" fmla="*/ 2147483647 w 36"/>
                <a:gd name="T1" fmla="*/ 2147483647 h 39"/>
                <a:gd name="T2" fmla="*/ 2147483647 w 36"/>
                <a:gd name="T3" fmla="*/ 2147483647 h 39"/>
                <a:gd name="T4" fmla="*/ 0 w 36"/>
                <a:gd name="T5" fmla="*/ 2147483647 h 39"/>
                <a:gd name="T6" fmla="*/ 0 w 36"/>
                <a:gd name="T7" fmla="*/ 2147483647 h 39"/>
                <a:gd name="T8" fmla="*/ 2147483647 w 36"/>
                <a:gd name="T9" fmla="*/ 2147483647 h 39"/>
                <a:gd name="T10" fmla="*/ 2147483647 w 36"/>
                <a:gd name="T11" fmla="*/ 2147483647 h 39"/>
                <a:gd name="T12" fmla="*/ 2147483647 w 36"/>
                <a:gd name="T13" fmla="*/ 0 h 39"/>
                <a:gd name="T14" fmla="*/ 2147483647 w 36"/>
                <a:gd name="T15" fmla="*/ 0 h 39"/>
                <a:gd name="T16" fmla="*/ 2147483647 w 36"/>
                <a:gd name="T17" fmla="*/ 2147483647 h 39"/>
                <a:gd name="T18" fmla="*/ 2147483647 w 36"/>
                <a:gd name="T19" fmla="*/ 2147483647 h 39"/>
                <a:gd name="T20" fmla="*/ 2147483647 w 36"/>
                <a:gd name="T21" fmla="*/ 2147483647 h 39"/>
                <a:gd name="T22" fmla="*/ 2147483647 w 36"/>
                <a:gd name="T23" fmla="*/ 2147483647 h 39"/>
                <a:gd name="T24" fmla="*/ 2147483647 w 36"/>
                <a:gd name="T25" fmla="*/ 2147483647 h 39"/>
                <a:gd name="T26" fmla="*/ 2147483647 w 36"/>
                <a:gd name="T27" fmla="*/ 2147483647 h 39"/>
                <a:gd name="T28" fmla="*/ 2147483647 w 36"/>
                <a:gd name="T29" fmla="*/ 2147483647 h 39"/>
                <a:gd name="T30" fmla="*/ 2147483647 w 36"/>
                <a:gd name="T31" fmla="*/ 2147483647 h 39"/>
                <a:gd name="T32" fmla="*/ 2147483647 w 36"/>
                <a:gd name="T33" fmla="*/ 2147483647 h 39"/>
                <a:gd name="T34" fmla="*/ 2147483647 w 36"/>
                <a:gd name="T35" fmla="*/ 2147483647 h 39"/>
                <a:gd name="T36" fmla="*/ 2147483647 w 36"/>
                <a:gd name="T37" fmla="*/ 214748364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39"/>
                <a:gd name="T59" fmla="*/ 36 w 36"/>
                <a:gd name="T60" fmla="*/ 39 h 3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39">
                  <a:moveTo>
                    <a:pt x="8" y="38"/>
                  </a:moveTo>
                  <a:lnTo>
                    <a:pt x="8" y="29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5" y="10"/>
                  </a:lnTo>
                  <a:lnTo>
                    <a:pt x="6" y="2"/>
                  </a:lnTo>
                  <a:lnTo>
                    <a:pt x="11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7"/>
                  </a:lnTo>
                  <a:lnTo>
                    <a:pt x="35" y="29"/>
                  </a:lnTo>
                  <a:lnTo>
                    <a:pt x="31" y="37"/>
                  </a:lnTo>
                  <a:lnTo>
                    <a:pt x="22" y="37"/>
                  </a:lnTo>
                  <a:lnTo>
                    <a:pt x="20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8" y="3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0" name="Freeform 203"/>
            <p:cNvSpPr>
              <a:spLocks/>
            </p:cNvSpPr>
            <p:nvPr/>
          </p:nvSpPr>
          <p:spPr bwMode="gray">
            <a:xfrm>
              <a:off x="2067" y="2809"/>
              <a:ext cx="35" cy="48"/>
            </a:xfrm>
            <a:custGeom>
              <a:avLst/>
              <a:gdLst>
                <a:gd name="T0" fmla="*/ 0 w 27"/>
                <a:gd name="T1" fmla="*/ 2147483647 h 37"/>
                <a:gd name="T2" fmla="*/ 2147483647 w 27"/>
                <a:gd name="T3" fmla="*/ 2147483647 h 37"/>
                <a:gd name="T4" fmla="*/ 0 w 27"/>
                <a:gd name="T5" fmla="*/ 2147483647 h 37"/>
                <a:gd name="T6" fmla="*/ 2147483647 w 27"/>
                <a:gd name="T7" fmla="*/ 2147483647 h 37"/>
                <a:gd name="T8" fmla="*/ 2147483647 w 27"/>
                <a:gd name="T9" fmla="*/ 2147483647 h 37"/>
                <a:gd name="T10" fmla="*/ 2147483647 w 27"/>
                <a:gd name="T11" fmla="*/ 0 h 37"/>
                <a:gd name="T12" fmla="*/ 2147483647 w 27"/>
                <a:gd name="T13" fmla="*/ 2147483647 h 37"/>
                <a:gd name="T14" fmla="*/ 2147483647 w 27"/>
                <a:gd name="T15" fmla="*/ 2147483647 h 37"/>
                <a:gd name="T16" fmla="*/ 2147483647 w 27"/>
                <a:gd name="T17" fmla="*/ 2147483647 h 37"/>
                <a:gd name="T18" fmla="*/ 2147483647 w 27"/>
                <a:gd name="T19" fmla="*/ 2147483647 h 37"/>
                <a:gd name="T20" fmla="*/ 2147483647 w 27"/>
                <a:gd name="T21" fmla="*/ 2147483647 h 37"/>
                <a:gd name="T22" fmla="*/ 2147483647 w 27"/>
                <a:gd name="T23" fmla="*/ 2147483647 h 37"/>
                <a:gd name="T24" fmla="*/ 2147483647 w 27"/>
                <a:gd name="T25" fmla="*/ 2147483647 h 37"/>
                <a:gd name="T26" fmla="*/ 0 w 27"/>
                <a:gd name="T27" fmla="*/ 2147483647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37"/>
                <a:gd name="T44" fmla="*/ 27 w 27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37">
                  <a:moveTo>
                    <a:pt x="0" y="34"/>
                  </a:moveTo>
                  <a:lnTo>
                    <a:pt x="4" y="26"/>
                  </a:lnTo>
                  <a:lnTo>
                    <a:pt x="0" y="14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12" y="1"/>
                  </a:lnTo>
                  <a:lnTo>
                    <a:pt x="16" y="2"/>
                  </a:lnTo>
                  <a:lnTo>
                    <a:pt x="27" y="13"/>
                  </a:lnTo>
                  <a:lnTo>
                    <a:pt x="25" y="21"/>
                  </a:lnTo>
                  <a:lnTo>
                    <a:pt x="20" y="31"/>
                  </a:lnTo>
                  <a:lnTo>
                    <a:pt x="16" y="37"/>
                  </a:lnTo>
                  <a:lnTo>
                    <a:pt x="5" y="35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1" name="Freeform 204"/>
            <p:cNvSpPr>
              <a:spLocks/>
            </p:cNvSpPr>
            <p:nvPr/>
          </p:nvSpPr>
          <p:spPr bwMode="gray">
            <a:xfrm>
              <a:off x="1988" y="2772"/>
              <a:ext cx="49" cy="96"/>
            </a:xfrm>
            <a:custGeom>
              <a:avLst/>
              <a:gdLst>
                <a:gd name="T0" fmla="*/ 2147483647 w 38"/>
                <a:gd name="T1" fmla="*/ 0 h 73"/>
                <a:gd name="T2" fmla="*/ 2147483647 w 38"/>
                <a:gd name="T3" fmla="*/ 2147483647 h 73"/>
                <a:gd name="T4" fmla="*/ 2147483647 w 38"/>
                <a:gd name="T5" fmla="*/ 2147483647 h 73"/>
                <a:gd name="T6" fmla="*/ 2147483647 w 38"/>
                <a:gd name="T7" fmla="*/ 2147483647 h 73"/>
                <a:gd name="T8" fmla="*/ 2147483647 w 38"/>
                <a:gd name="T9" fmla="*/ 2147483647 h 73"/>
                <a:gd name="T10" fmla="*/ 2147483647 w 38"/>
                <a:gd name="T11" fmla="*/ 2147483647 h 73"/>
                <a:gd name="T12" fmla="*/ 2147483647 w 38"/>
                <a:gd name="T13" fmla="*/ 2147483647 h 73"/>
                <a:gd name="T14" fmla="*/ 2147483647 w 38"/>
                <a:gd name="T15" fmla="*/ 2147483647 h 73"/>
                <a:gd name="T16" fmla="*/ 2147483647 w 38"/>
                <a:gd name="T17" fmla="*/ 2147483647 h 73"/>
                <a:gd name="T18" fmla="*/ 2147483647 w 38"/>
                <a:gd name="T19" fmla="*/ 2147483647 h 73"/>
                <a:gd name="T20" fmla="*/ 2147483647 w 38"/>
                <a:gd name="T21" fmla="*/ 2147483647 h 73"/>
                <a:gd name="T22" fmla="*/ 2147483647 w 38"/>
                <a:gd name="T23" fmla="*/ 2147483647 h 73"/>
                <a:gd name="T24" fmla="*/ 2147483647 w 38"/>
                <a:gd name="T25" fmla="*/ 2147483647 h 73"/>
                <a:gd name="T26" fmla="*/ 2147483647 w 38"/>
                <a:gd name="T27" fmla="*/ 2147483647 h 73"/>
                <a:gd name="T28" fmla="*/ 2147483647 w 38"/>
                <a:gd name="T29" fmla="*/ 2147483647 h 73"/>
                <a:gd name="T30" fmla="*/ 2147483647 w 38"/>
                <a:gd name="T31" fmla="*/ 2147483647 h 73"/>
                <a:gd name="T32" fmla="*/ 2147483647 w 38"/>
                <a:gd name="T33" fmla="*/ 2147483647 h 73"/>
                <a:gd name="T34" fmla="*/ 2147483647 w 38"/>
                <a:gd name="T35" fmla="*/ 2147483647 h 73"/>
                <a:gd name="T36" fmla="*/ 2147483647 w 38"/>
                <a:gd name="T37" fmla="*/ 2147483647 h 73"/>
                <a:gd name="T38" fmla="*/ 2147483647 w 38"/>
                <a:gd name="T39" fmla="*/ 2147483647 h 73"/>
                <a:gd name="T40" fmla="*/ 2147483647 w 38"/>
                <a:gd name="T41" fmla="*/ 2147483647 h 73"/>
                <a:gd name="T42" fmla="*/ 2147483647 w 38"/>
                <a:gd name="T43" fmla="*/ 2147483647 h 73"/>
                <a:gd name="T44" fmla="*/ 2147483647 w 38"/>
                <a:gd name="T45" fmla="*/ 2147483647 h 73"/>
                <a:gd name="T46" fmla="*/ 0 w 38"/>
                <a:gd name="T47" fmla="*/ 2147483647 h 73"/>
                <a:gd name="T48" fmla="*/ 0 w 38"/>
                <a:gd name="T49" fmla="*/ 2147483647 h 73"/>
                <a:gd name="T50" fmla="*/ 2147483647 w 38"/>
                <a:gd name="T51" fmla="*/ 2147483647 h 73"/>
                <a:gd name="T52" fmla="*/ 2147483647 w 38"/>
                <a:gd name="T53" fmla="*/ 2147483647 h 73"/>
                <a:gd name="T54" fmla="*/ 2147483647 w 38"/>
                <a:gd name="T55" fmla="*/ 2147483647 h 73"/>
                <a:gd name="T56" fmla="*/ 2147483647 w 38"/>
                <a:gd name="T57" fmla="*/ 2147483647 h 73"/>
                <a:gd name="T58" fmla="*/ 2147483647 w 38"/>
                <a:gd name="T59" fmla="*/ 2147483647 h 73"/>
                <a:gd name="T60" fmla="*/ 2147483647 w 38"/>
                <a:gd name="T61" fmla="*/ 0 h 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"/>
                <a:gd name="T94" fmla="*/ 0 h 73"/>
                <a:gd name="T95" fmla="*/ 38 w 38"/>
                <a:gd name="T96" fmla="*/ 73 h 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" h="73">
                  <a:moveTo>
                    <a:pt x="11" y="0"/>
                  </a:moveTo>
                  <a:lnTo>
                    <a:pt x="18" y="3"/>
                  </a:lnTo>
                  <a:lnTo>
                    <a:pt x="24" y="8"/>
                  </a:lnTo>
                  <a:lnTo>
                    <a:pt x="27" y="15"/>
                  </a:lnTo>
                  <a:lnTo>
                    <a:pt x="32" y="16"/>
                  </a:lnTo>
                  <a:lnTo>
                    <a:pt x="34" y="21"/>
                  </a:lnTo>
                  <a:lnTo>
                    <a:pt x="36" y="27"/>
                  </a:lnTo>
                  <a:lnTo>
                    <a:pt x="35" y="35"/>
                  </a:lnTo>
                  <a:lnTo>
                    <a:pt x="30" y="42"/>
                  </a:lnTo>
                  <a:lnTo>
                    <a:pt x="30" y="50"/>
                  </a:lnTo>
                  <a:lnTo>
                    <a:pt x="38" y="54"/>
                  </a:lnTo>
                  <a:lnTo>
                    <a:pt x="38" y="63"/>
                  </a:lnTo>
                  <a:lnTo>
                    <a:pt x="37" y="67"/>
                  </a:lnTo>
                  <a:lnTo>
                    <a:pt x="32" y="68"/>
                  </a:lnTo>
                  <a:lnTo>
                    <a:pt x="29" y="73"/>
                  </a:lnTo>
                  <a:lnTo>
                    <a:pt x="24" y="73"/>
                  </a:lnTo>
                  <a:lnTo>
                    <a:pt x="17" y="71"/>
                  </a:lnTo>
                  <a:lnTo>
                    <a:pt x="11" y="66"/>
                  </a:lnTo>
                  <a:lnTo>
                    <a:pt x="11" y="55"/>
                  </a:lnTo>
                  <a:lnTo>
                    <a:pt x="13" y="47"/>
                  </a:lnTo>
                  <a:lnTo>
                    <a:pt x="13" y="40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4" y="14"/>
                  </a:lnTo>
                  <a:lnTo>
                    <a:pt x="5" y="9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2" name="Freeform 205"/>
            <p:cNvSpPr>
              <a:spLocks/>
            </p:cNvSpPr>
            <p:nvPr/>
          </p:nvSpPr>
          <p:spPr bwMode="gray">
            <a:xfrm>
              <a:off x="1890" y="2720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3" name="Freeform 206"/>
            <p:cNvSpPr>
              <a:spLocks/>
            </p:cNvSpPr>
            <p:nvPr/>
          </p:nvSpPr>
          <p:spPr bwMode="gray">
            <a:xfrm>
              <a:off x="1994" y="272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2147483647 w 4"/>
                <a:gd name="T7" fmla="*/ 0 h 4"/>
                <a:gd name="T8" fmla="*/ 2147483647 w 4"/>
                <a:gd name="T9" fmla="*/ 0 h 4"/>
                <a:gd name="T10" fmla="*/ 2147483647 w 4"/>
                <a:gd name="T11" fmla="*/ 2147483647 h 4"/>
                <a:gd name="T12" fmla="*/ 2147483647 w 4"/>
                <a:gd name="T13" fmla="*/ 2147483647 h 4"/>
                <a:gd name="T14" fmla="*/ 2147483647 w 4"/>
                <a:gd name="T15" fmla="*/ 2147483647 h 4"/>
                <a:gd name="T16" fmla="*/ 2147483647 w 4"/>
                <a:gd name="T17" fmla="*/ 2147483647 h 4"/>
                <a:gd name="T18" fmla="*/ 2147483647 w 4"/>
                <a:gd name="T19" fmla="*/ 2147483647 h 4"/>
                <a:gd name="T20" fmla="*/ 2147483647 w 4"/>
                <a:gd name="T21" fmla="*/ 2147483647 h 4"/>
                <a:gd name="T22" fmla="*/ 2147483647 w 4"/>
                <a:gd name="T23" fmla="*/ 2147483647 h 4"/>
                <a:gd name="T24" fmla="*/ 0 w 4"/>
                <a:gd name="T25" fmla="*/ 2147483647 h 4"/>
                <a:gd name="T26" fmla="*/ 0 w 4"/>
                <a:gd name="T27" fmla="*/ 2147483647 h 4"/>
                <a:gd name="T28" fmla="*/ 2147483647 w 4"/>
                <a:gd name="T29" fmla="*/ 2147483647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4"/>
                <a:gd name="T47" fmla="*/ 4 w 4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4">
                  <a:moveTo>
                    <a:pt x="2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4" name="Freeform 207"/>
            <p:cNvSpPr>
              <a:spLocks/>
            </p:cNvSpPr>
            <p:nvPr/>
          </p:nvSpPr>
          <p:spPr bwMode="gray">
            <a:xfrm>
              <a:off x="1900" y="2723"/>
              <a:ext cx="7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5" name="Freeform 208"/>
            <p:cNvSpPr>
              <a:spLocks/>
            </p:cNvSpPr>
            <p:nvPr/>
          </p:nvSpPr>
          <p:spPr bwMode="gray">
            <a:xfrm>
              <a:off x="1882" y="2719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6" name="Freeform 209"/>
            <p:cNvSpPr>
              <a:spLocks/>
            </p:cNvSpPr>
            <p:nvPr/>
          </p:nvSpPr>
          <p:spPr bwMode="gray">
            <a:xfrm>
              <a:off x="1772" y="2720"/>
              <a:ext cx="144" cy="211"/>
            </a:xfrm>
            <a:custGeom>
              <a:avLst/>
              <a:gdLst>
                <a:gd name="T0" fmla="*/ 2147483647 w 110"/>
                <a:gd name="T1" fmla="*/ 2147483647 h 162"/>
                <a:gd name="T2" fmla="*/ 2147483647 w 110"/>
                <a:gd name="T3" fmla="*/ 2147483647 h 162"/>
                <a:gd name="T4" fmla="*/ 2147483647 w 110"/>
                <a:gd name="T5" fmla="*/ 2147483647 h 162"/>
                <a:gd name="T6" fmla="*/ 2147483647 w 110"/>
                <a:gd name="T7" fmla="*/ 2147483647 h 162"/>
                <a:gd name="T8" fmla="*/ 2147483647 w 110"/>
                <a:gd name="T9" fmla="*/ 2147483647 h 162"/>
                <a:gd name="T10" fmla="*/ 2147483647 w 110"/>
                <a:gd name="T11" fmla="*/ 2147483647 h 162"/>
                <a:gd name="T12" fmla="*/ 0 w 110"/>
                <a:gd name="T13" fmla="*/ 2147483647 h 162"/>
                <a:gd name="T14" fmla="*/ 2147483647 w 110"/>
                <a:gd name="T15" fmla="*/ 2147483647 h 162"/>
                <a:gd name="T16" fmla="*/ 2147483647 w 110"/>
                <a:gd name="T17" fmla="*/ 2147483647 h 162"/>
                <a:gd name="T18" fmla="*/ 2147483647 w 110"/>
                <a:gd name="T19" fmla="*/ 2147483647 h 162"/>
                <a:gd name="T20" fmla="*/ 2147483647 w 110"/>
                <a:gd name="T21" fmla="*/ 2147483647 h 162"/>
                <a:gd name="T22" fmla="*/ 2147483647 w 110"/>
                <a:gd name="T23" fmla="*/ 2147483647 h 162"/>
                <a:gd name="T24" fmla="*/ 2147483647 w 110"/>
                <a:gd name="T25" fmla="*/ 2147483647 h 162"/>
                <a:gd name="T26" fmla="*/ 2147483647 w 110"/>
                <a:gd name="T27" fmla="*/ 2147483647 h 162"/>
                <a:gd name="T28" fmla="*/ 2147483647 w 110"/>
                <a:gd name="T29" fmla="*/ 2147483647 h 162"/>
                <a:gd name="T30" fmla="*/ 2147483647 w 110"/>
                <a:gd name="T31" fmla="*/ 2147483647 h 162"/>
                <a:gd name="T32" fmla="*/ 2147483647 w 110"/>
                <a:gd name="T33" fmla="*/ 2147483647 h 162"/>
                <a:gd name="T34" fmla="*/ 2147483647 w 110"/>
                <a:gd name="T35" fmla="*/ 2147483647 h 162"/>
                <a:gd name="T36" fmla="*/ 2147483647 w 110"/>
                <a:gd name="T37" fmla="*/ 0 h 162"/>
                <a:gd name="T38" fmla="*/ 2147483647 w 110"/>
                <a:gd name="T39" fmla="*/ 2147483647 h 162"/>
                <a:gd name="T40" fmla="*/ 2147483647 w 110"/>
                <a:gd name="T41" fmla="*/ 2147483647 h 162"/>
                <a:gd name="T42" fmla="*/ 2147483647 w 110"/>
                <a:gd name="T43" fmla="*/ 2147483647 h 162"/>
                <a:gd name="T44" fmla="*/ 2147483647 w 110"/>
                <a:gd name="T45" fmla="*/ 2147483647 h 162"/>
                <a:gd name="T46" fmla="*/ 2147483647 w 110"/>
                <a:gd name="T47" fmla="*/ 2147483647 h 162"/>
                <a:gd name="T48" fmla="*/ 2147483647 w 110"/>
                <a:gd name="T49" fmla="*/ 2147483647 h 162"/>
                <a:gd name="T50" fmla="*/ 2147483647 w 110"/>
                <a:gd name="T51" fmla="*/ 2147483647 h 162"/>
                <a:gd name="T52" fmla="*/ 2147483647 w 110"/>
                <a:gd name="T53" fmla="*/ 2147483647 h 162"/>
                <a:gd name="T54" fmla="*/ 2147483647 w 110"/>
                <a:gd name="T55" fmla="*/ 2147483647 h 162"/>
                <a:gd name="T56" fmla="*/ 2147483647 w 110"/>
                <a:gd name="T57" fmla="*/ 2147483647 h 162"/>
                <a:gd name="T58" fmla="*/ 2147483647 w 110"/>
                <a:gd name="T59" fmla="*/ 2147483647 h 162"/>
                <a:gd name="T60" fmla="*/ 2147483647 w 110"/>
                <a:gd name="T61" fmla="*/ 2147483647 h 162"/>
                <a:gd name="T62" fmla="*/ 2147483647 w 110"/>
                <a:gd name="T63" fmla="*/ 2147483647 h 162"/>
                <a:gd name="T64" fmla="*/ 2147483647 w 110"/>
                <a:gd name="T65" fmla="*/ 2147483647 h 162"/>
                <a:gd name="T66" fmla="*/ 2147483647 w 110"/>
                <a:gd name="T67" fmla="*/ 2147483647 h 1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0"/>
                <a:gd name="T103" fmla="*/ 0 h 162"/>
                <a:gd name="T104" fmla="*/ 110 w 110"/>
                <a:gd name="T105" fmla="*/ 162 h 1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0" h="162">
                  <a:moveTo>
                    <a:pt x="82" y="162"/>
                  </a:moveTo>
                  <a:lnTo>
                    <a:pt x="77" y="162"/>
                  </a:lnTo>
                  <a:lnTo>
                    <a:pt x="79" y="151"/>
                  </a:lnTo>
                  <a:lnTo>
                    <a:pt x="70" y="147"/>
                  </a:lnTo>
                  <a:lnTo>
                    <a:pt x="51" y="148"/>
                  </a:lnTo>
                  <a:lnTo>
                    <a:pt x="36" y="126"/>
                  </a:lnTo>
                  <a:lnTo>
                    <a:pt x="28" y="125"/>
                  </a:lnTo>
                  <a:lnTo>
                    <a:pt x="25" y="127"/>
                  </a:lnTo>
                  <a:lnTo>
                    <a:pt x="20" y="125"/>
                  </a:lnTo>
                  <a:lnTo>
                    <a:pt x="13" y="125"/>
                  </a:lnTo>
                  <a:lnTo>
                    <a:pt x="10" y="126"/>
                  </a:lnTo>
                  <a:lnTo>
                    <a:pt x="7" y="124"/>
                  </a:lnTo>
                  <a:lnTo>
                    <a:pt x="7" y="119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5" y="98"/>
                  </a:lnTo>
                  <a:lnTo>
                    <a:pt x="10" y="97"/>
                  </a:lnTo>
                  <a:lnTo>
                    <a:pt x="12" y="94"/>
                  </a:lnTo>
                  <a:lnTo>
                    <a:pt x="12" y="91"/>
                  </a:lnTo>
                  <a:lnTo>
                    <a:pt x="16" y="86"/>
                  </a:lnTo>
                  <a:lnTo>
                    <a:pt x="15" y="79"/>
                  </a:lnTo>
                  <a:lnTo>
                    <a:pt x="14" y="69"/>
                  </a:lnTo>
                  <a:lnTo>
                    <a:pt x="14" y="58"/>
                  </a:lnTo>
                  <a:lnTo>
                    <a:pt x="12" y="51"/>
                  </a:lnTo>
                  <a:lnTo>
                    <a:pt x="17" y="50"/>
                  </a:lnTo>
                  <a:lnTo>
                    <a:pt x="20" y="45"/>
                  </a:lnTo>
                  <a:lnTo>
                    <a:pt x="23" y="42"/>
                  </a:lnTo>
                  <a:lnTo>
                    <a:pt x="22" y="37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32" y="23"/>
                  </a:lnTo>
                  <a:lnTo>
                    <a:pt x="33" y="17"/>
                  </a:lnTo>
                  <a:lnTo>
                    <a:pt x="36" y="12"/>
                  </a:lnTo>
                  <a:lnTo>
                    <a:pt x="41" y="14"/>
                  </a:lnTo>
                  <a:lnTo>
                    <a:pt x="43" y="12"/>
                  </a:lnTo>
                  <a:lnTo>
                    <a:pt x="60" y="5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2" y="2"/>
                  </a:lnTo>
                  <a:lnTo>
                    <a:pt x="71" y="5"/>
                  </a:lnTo>
                  <a:lnTo>
                    <a:pt x="65" y="6"/>
                  </a:lnTo>
                  <a:lnTo>
                    <a:pt x="56" y="17"/>
                  </a:lnTo>
                  <a:lnTo>
                    <a:pt x="51" y="32"/>
                  </a:lnTo>
                  <a:lnTo>
                    <a:pt x="54" y="35"/>
                  </a:lnTo>
                  <a:lnTo>
                    <a:pt x="59" y="42"/>
                  </a:lnTo>
                  <a:lnTo>
                    <a:pt x="57" y="47"/>
                  </a:lnTo>
                  <a:lnTo>
                    <a:pt x="62" y="54"/>
                  </a:lnTo>
                  <a:lnTo>
                    <a:pt x="83" y="57"/>
                  </a:lnTo>
                  <a:lnTo>
                    <a:pt x="87" y="61"/>
                  </a:lnTo>
                  <a:lnTo>
                    <a:pt x="99" y="63"/>
                  </a:lnTo>
                  <a:lnTo>
                    <a:pt x="103" y="67"/>
                  </a:lnTo>
                  <a:lnTo>
                    <a:pt x="102" y="77"/>
                  </a:lnTo>
                  <a:lnTo>
                    <a:pt x="101" y="82"/>
                  </a:lnTo>
                  <a:lnTo>
                    <a:pt x="105" y="91"/>
                  </a:lnTo>
                  <a:lnTo>
                    <a:pt x="103" y="97"/>
                  </a:lnTo>
                  <a:lnTo>
                    <a:pt x="107" y="99"/>
                  </a:lnTo>
                  <a:lnTo>
                    <a:pt x="110" y="105"/>
                  </a:lnTo>
                  <a:lnTo>
                    <a:pt x="110" y="114"/>
                  </a:lnTo>
                  <a:lnTo>
                    <a:pt x="104" y="112"/>
                  </a:lnTo>
                  <a:lnTo>
                    <a:pt x="99" y="106"/>
                  </a:lnTo>
                  <a:lnTo>
                    <a:pt x="82" y="108"/>
                  </a:lnTo>
                  <a:lnTo>
                    <a:pt x="81" y="111"/>
                  </a:lnTo>
                  <a:lnTo>
                    <a:pt x="89" y="117"/>
                  </a:lnTo>
                  <a:lnTo>
                    <a:pt x="87" y="122"/>
                  </a:lnTo>
                  <a:lnTo>
                    <a:pt x="82" y="121"/>
                  </a:lnTo>
                  <a:lnTo>
                    <a:pt x="83" y="132"/>
                  </a:lnTo>
                  <a:lnTo>
                    <a:pt x="88" y="136"/>
                  </a:lnTo>
                  <a:lnTo>
                    <a:pt x="82" y="16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7" name="Freeform 210"/>
            <p:cNvSpPr>
              <a:spLocks/>
            </p:cNvSpPr>
            <p:nvPr/>
          </p:nvSpPr>
          <p:spPr bwMode="gray">
            <a:xfrm>
              <a:off x="1832" y="2815"/>
              <a:ext cx="475" cy="533"/>
            </a:xfrm>
            <a:custGeom>
              <a:avLst/>
              <a:gdLst>
                <a:gd name="T0" fmla="*/ 2147483647 w 364"/>
                <a:gd name="T1" fmla="*/ 2147483647 h 409"/>
                <a:gd name="T2" fmla="*/ 2147483647 w 364"/>
                <a:gd name="T3" fmla="*/ 2147483647 h 409"/>
                <a:gd name="T4" fmla="*/ 2147483647 w 364"/>
                <a:gd name="T5" fmla="*/ 2147483647 h 409"/>
                <a:gd name="T6" fmla="*/ 2147483647 w 364"/>
                <a:gd name="T7" fmla="*/ 2147483647 h 409"/>
                <a:gd name="T8" fmla="*/ 2147483647 w 364"/>
                <a:gd name="T9" fmla="*/ 2147483647 h 409"/>
                <a:gd name="T10" fmla="*/ 2147483647 w 364"/>
                <a:gd name="T11" fmla="*/ 2147483647 h 409"/>
                <a:gd name="T12" fmla="*/ 2147483647 w 364"/>
                <a:gd name="T13" fmla="*/ 2147483647 h 409"/>
                <a:gd name="T14" fmla="*/ 2147483647 w 364"/>
                <a:gd name="T15" fmla="*/ 2147483647 h 409"/>
                <a:gd name="T16" fmla="*/ 2147483647 w 364"/>
                <a:gd name="T17" fmla="*/ 2147483647 h 409"/>
                <a:gd name="T18" fmla="*/ 2147483647 w 364"/>
                <a:gd name="T19" fmla="*/ 2147483647 h 409"/>
                <a:gd name="T20" fmla="*/ 2147483647 w 364"/>
                <a:gd name="T21" fmla="*/ 2147483647 h 409"/>
                <a:gd name="T22" fmla="*/ 2147483647 w 364"/>
                <a:gd name="T23" fmla="*/ 2147483647 h 409"/>
                <a:gd name="T24" fmla="*/ 2147483647 w 364"/>
                <a:gd name="T25" fmla="*/ 2147483647 h 409"/>
                <a:gd name="T26" fmla="*/ 2147483647 w 364"/>
                <a:gd name="T27" fmla="*/ 2147483647 h 409"/>
                <a:gd name="T28" fmla="*/ 2147483647 w 364"/>
                <a:gd name="T29" fmla="*/ 2147483647 h 409"/>
                <a:gd name="T30" fmla="*/ 2147483647 w 364"/>
                <a:gd name="T31" fmla="*/ 2147483647 h 409"/>
                <a:gd name="T32" fmla="*/ 2147483647 w 364"/>
                <a:gd name="T33" fmla="*/ 2147483647 h 409"/>
                <a:gd name="T34" fmla="*/ 2147483647 w 364"/>
                <a:gd name="T35" fmla="*/ 2147483647 h 409"/>
                <a:gd name="T36" fmla="*/ 2147483647 w 364"/>
                <a:gd name="T37" fmla="*/ 2147483647 h 409"/>
                <a:gd name="T38" fmla="*/ 2147483647 w 364"/>
                <a:gd name="T39" fmla="*/ 2147483647 h 409"/>
                <a:gd name="T40" fmla="*/ 2147483647 w 364"/>
                <a:gd name="T41" fmla="*/ 2147483647 h 409"/>
                <a:gd name="T42" fmla="*/ 2147483647 w 364"/>
                <a:gd name="T43" fmla="*/ 2147483647 h 409"/>
                <a:gd name="T44" fmla="*/ 2147483647 w 364"/>
                <a:gd name="T45" fmla="*/ 2147483647 h 409"/>
                <a:gd name="T46" fmla="*/ 2147483647 w 364"/>
                <a:gd name="T47" fmla="*/ 2147483647 h 409"/>
                <a:gd name="T48" fmla="*/ 2147483647 w 364"/>
                <a:gd name="T49" fmla="*/ 2147483647 h 409"/>
                <a:gd name="T50" fmla="*/ 2147483647 w 364"/>
                <a:gd name="T51" fmla="*/ 2147483647 h 409"/>
                <a:gd name="T52" fmla="*/ 2147483647 w 364"/>
                <a:gd name="T53" fmla="*/ 2147483647 h 409"/>
                <a:gd name="T54" fmla="*/ 2147483647 w 364"/>
                <a:gd name="T55" fmla="*/ 2147483647 h 409"/>
                <a:gd name="T56" fmla="*/ 2147483647 w 364"/>
                <a:gd name="T57" fmla="*/ 2147483647 h 409"/>
                <a:gd name="T58" fmla="*/ 2147483647 w 364"/>
                <a:gd name="T59" fmla="*/ 2147483647 h 409"/>
                <a:gd name="T60" fmla="*/ 2147483647 w 364"/>
                <a:gd name="T61" fmla="*/ 2147483647 h 409"/>
                <a:gd name="T62" fmla="*/ 2147483647 w 364"/>
                <a:gd name="T63" fmla="*/ 2147483647 h 409"/>
                <a:gd name="T64" fmla="*/ 2147483647 w 364"/>
                <a:gd name="T65" fmla="*/ 2147483647 h 409"/>
                <a:gd name="T66" fmla="*/ 2147483647 w 364"/>
                <a:gd name="T67" fmla="*/ 2147483647 h 409"/>
                <a:gd name="T68" fmla="*/ 2147483647 w 364"/>
                <a:gd name="T69" fmla="*/ 2147483647 h 409"/>
                <a:gd name="T70" fmla="*/ 2147483647 w 364"/>
                <a:gd name="T71" fmla="*/ 2147483647 h 409"/>
                <a:gd name="T72" fmla="*/ 2147483647 w 364"/>
                <a:gd name="T73" fmla="*/ 2147483647 h 409"/>
                <a:gd name="T74" fmla="*/ 2147483647 w 364"/>
                <a:gd name="T75" fmla="*/ 2147483647 h 409"/>
                <a:gd name="T76" fmla="*/ 2147483647 w 364"/>
                <a:gd name="T77" fmla="*/ 2147483647 h 409"/>
                <a:gd name="T78" fmla="*/ 2147483647 w 364"/>
                <a:gd name="T79" fmla="*/ 2147483647 h 409"/>
                <a:gd name="T80" fmla="*/ 2147483647 w 364"/>
                <a:gd name="T81" fmla="*/ 2147483647 h 409"/>
                <a:gd name="T82" fmla="*/ 2147483647 w 364"/>
                <a:gd name="T83" fmla="*/ 2147483647 h 409"/>
                <a:gd name="T84" fmla="*/ 2147483647 w 364"/>
                <a:gd name="T85" fmla="*/ 2147483647 h 409"/>
                <a:gd name="T86" fmla="*/ 2147483647 w 364"/>
                <a:gd name="T87" fmla="*/ 2147483647 h 409"/>
                <a:gd name="T88" fmla="*/ 2147483647 w 364"/>
                <a:gd name="T89" fmla="*/ 2147483647 h 409"/>
                <a:gd name="T90" fmla="*/ 2147483647 w 364"/>
                <a:gd name="T91" fmla="*/ 2147483647 h 409"/>
                <a:gd name="T92" fmla="*/ 2147483647 w 364"/>
                <a:gd name="T93" fmla="*/ 2147483647 h 409"/>
                <a:gd name="T94" fmla="*/ 2147483647 w 364"/>
                <a:gd name="T95" fmla="*/ 2147483647 h 409"/>
                <a:gd name="T96" fmla="*/ 2147483647 w 364"/>
                <a:gd name="T97" fmla="*/ 2147483647 h 409"/>
                <a:gd name="T98" fmla="*/ 2147483647 w 364"/>
                <a:gd name="T99" fmla="*/ 2147483647 h 409"/>
                <a:gd name="T100" fmla="*/ 2147483647 w 364"/>
                <a:gd name="T101" fmla="*/ 2147483647 h 409"/>
                <a:gd name="T102" fmla="*/ 2147483647 w 364"/>
                <a:gd name="T103" fmla="*/ 2147483647 h 409"/>
                <a:gd name="T104" fmla="*/ 2147483647 w 364"/>
                <a:gd name="T105" fmla="*/ 2147483647 h 409"/>
                <a:gd name="T106" fmla="*/ 2147483647 w 364"/>
                <a:gd name="T107" fmla="*/ 2147483647 h 409"/>
                <a:gd name="T108" fmla="*/ 2147483647 w 364"/>
                <a:gd name="T109" fmla="*/ 2147483647 h 409"/>
                <a:gd name="T110" fmla="*/ 2147483647 w 364"/>
                <a:gd name="T111" fmla="*/ 2147483647 h 409"/>
                <a:gd name="T112" fmla="*/ 2147483647 w 364"/>
                <a:gd name="T113" fmla="*/ 2147483647 h 409"/>
                <a:gd name="T114" fmla="*/ 2147483647 w 364"/>
                <a:gd name="T115" fmla="*/ 2147483647 h 409"/>
                <a:gd name="T116" fmla="*/ 2147483647 w 364"/>
                <a:gd name="T117" fmla="*/ 2147483647 h 409"/>
                <a:gd name="T118" fmla="*/ 2147483647 w 364"/>
                <a:gd name="T119" fmla="*/ 2147483647 h 409"/>
                <a:gd name="T120" fmla="*/ 2147483647 w 364"/>
                <a:gd name="T121" fmla="*/ 2147483647 h 409"/>
                <a:gd name="T122" fmla="*/ 2147483647 w 364"/>
                <a:gd name="T123" fmla="*/ 2147483647 h 409"/>
                <a:gd name="T124" fmla="*/ 2147483647 w 364"/>
                <a:gd name="T125" fmla="*/ 0 h 4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64"/>
                <a:gd name="T190" fmla="*/ 0 h 409"/>
                <a:gd name="T191" fmla="*/ 364 w 364"/>
                <a:gd name="T192" fmla="*/ 409 h 4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64" h="409">
                  <a:moveTo>
                    <a:pt x="121" y="0"/>
                  </a:moveTo>
                  <a:lnTo>
                    <a:pt x="125" y="1"/>
                  </a:lnTo>
                  <a:lnTo>
                    <a:pt x="132" y="7"/>
                  </a:lnTo>
                  <a:lnTo>
                    <a:pt x="132" y="14"/>
                  </a:lnTo>
                  <a:lnTo>
                    <a:pt x="130" y="22"/>
                  </a:lnTo>
                  <a:lnTo>
                    <a:pt x="130" y="33"/>
                  </a:lnTo>
                  <a:lnTo>
                    <a:pt x="136" y="38"/>
                  </a:lnTo>
                  <a:lnTo>
                    <a:pt x="143" y="40"/>
                  </a:lnTo>
                  <a:lnTo>
                    <a:pt x="148" y="40"/>
                  </a:lnTo>
                  <a:lnTo>
                    <a:pt x="151" y="35"/>
                  </a:lnTo>
                  <a:lnTo>
                    <a:pt x="156" y="34"/>
                  </a:lnTo>
                  <a:lnTo>
                    <a:pt x="157" y="30"/>
                  </a:lnTo>
                  <a:lnTo>
                    <a:pt x="165" y="31"/>
                  </a:lnTo>
                  <a:lnTo>
                    <a:pt x="167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80" y="29"/>
                  </a:lnTo>
                  <a:lnTo>
                    <a:pt x="185" y="30"/>
                  </a:lnTo>
                  <a:lnTo>
                    <a:pt x="196" y="32"/>
                  </a:lnTo>
                  <a:lnTo>
                    <a:pt x="200" y="26"/>
                  </a:lnTo>
                  <a:lnTo>
                    <a:pt x="205" y="16"/>
                  </a:lnTo>
                  <a:lnTo>
                    <a:pt x="207" y="8"/>
                  </a:lnTo>
                  <a:lnTo>
                    <a:pt x="209" y="9"/>
                  </a:lnTo>
                  <a:lnTo>
                    <a:pt x="212" y="17"/>
                  </a:lnTo>
                  <a:lnTo>
                    <a:pt x="215" y="27"/>
                  </a:lnTo>
                  <a:lnTo>
                    <a:pt x="225" y="35"/>
                  </a:lnTo>
                  <a:lnTo>
                    <a:pt x="223" y="43"/>
                  </a:lnTo>
                  <a:lnTo>
                    <a:pt x="219" y="45"/>
                  </a:lnTo>
                  <a:lnTo>
                    <a:pt x="216" y="48"/>
                  </a:lnTo>
                  <a:lnTo>
                    <a:pt x="219" y="50"/>
                  </a:lnTo>
                  <a:lnTo>
                    <a:pt x="225" y="50"/>
                  </a:lnTo>
                  <a:lnTo>
                    <a:pt x="228" y="53"/>
                  </a:lnTo>
                  <a:lnTo>
                    <a:pt x="231" y="54"/>
                  </a:lnTo>
                  <a:lnTo>
                    <a:pt x="236" y="56"/>
                  </a:lnTo>
                  <a:lnTo>
                    <a:pt x="233" y="63"/>
                  </a:lnTo>
                  <a:lnTo>
                    <a:pt x="225" y="68"/>
                  </a:lnTo>
                  <a:lnTo>
                    <a:pt x="225" y="70"/>
                  </a:lnTo>
                  <a:lnTo>
                    <a:pt x="230" y="70"/>
                  </a:lnTo>
                  <a:lnTo>
                    <a:pt x="238" y="63"/>
                  </a:lnTo>
                  <a:lnTo>
                    <a:pt x="240" y="58"/>
                  </a:lnTo>
                  <a:lnTo>
                    <a:pt x="250" y="59"/>
                  </a:lnTo>
                  <a:lnTo>
                    <a:pt x="260" y="65"/>
                  </a:lnTo>
                  <a:lnTo>
                    <a:pt x="269" y="65"/>
                  </a:lnTo>
                  <a:lnTo>
                    <a:pt x="274" y="70"/>
                  </a:lnTo>
                  <a:lnTo>
                    <a:pt x="270" y="78"/>
                  </a:lnTo>
                  <a:lnTo>
                    <a:pt x="273" y="83"/>
                  </a:lnTo>
                  <a:lnTo>
                    <a:pt x="278" y="77"/>
                  </a:lnTo>
                  <a:lnTo>
                    <a:pt x="283" y="76"/>
                  </a:lnTo>
                  <a:lnTo>
                    <a:pt x="299" y="81"/>
                  </a:lnTo>
                  <a:lnTo>
                    <a:pt x="309" y="80"/>
                  </a:lnTo>
                  <a:lnTo>
                    <a:pt x="317" y="86"/>
                  </a:lnTo>
                  <a:lnTo>
                    <a:pt x="327" y="88"/>
                  </a:lnTo>
                  <a:lnTo>
                    <a:pt x="341" y="100"/>
                  </a:lnTo>
                  <a:lnTo>
                    <a:pt x="361" y="106"/>
                  </a:lnTo>
                  <a:lnTo>
                    <a:pt x="364" y="114"/>
                  </a:lnTo>
                  <a:lnTo>
                    <a:pt x="364" y="140"/>
                  </a:lnTo>
                  <a:lnTo>
                    <a:pt x="358" y="148"/>
                  </a:lnTo>
                  <a:lnTo>
                    <a:pt x="356" y="153"/>
                  </a:lnTo>
                  <a:lnTo>
                    <a:pt x="353" y="158"/>
                  </a:lnTo>
                  <a:lnTo>
                    <a:pt x="346" y="161"/>
                  </a:lnTo>
                  <a:lnTo>
                    <a:pt x="343" y="163"/>
                  </a:lnTo>
                  <a:lnTo>
                    <a:pt x="341" y="171"/>
                  </a:lnTo>
                  <a:lnTo>
                    <a:pt x="337" y="178"/>
                  </a:lnTo>
                  <a:lnTo>
                    <a:pt x="328" y="184"/>
                  </a:lnTo>
                  <a:lnTo>
                    <a:pt x="326" y="187"/>
                  </a:lnTo>
                  <a:lnTo>
                    <a:pt x="324" y="203"/>
                  </a:lnTo>
                  <a:lnTo>
                    <a:pt x="327" y="212"/>
                  </a:lnTo>
                  <a:lnTo>
                    <a:pt x="324" y="220"/>
                  </a:lnTo>
                  <a:lnTo>
                    <a:pt x="326" y="232"/>
                  </a:lnTo>
                  <a:lnTo>
                    <a:pt x="319" y="235"/>
                  </a:lnTo>
                  <a:lnTo>
                    <a:pt x="317" y="247"/>
                  </a:lnTo>
                  <a:lnTo>
                    <a:pt x="316" y="254"/>
                  </a:lnTo>
                  <a:lnTo>
                    <a:pt x="314" y="256"/>
                  </a:lnTo>
                  <a:lnTo>
                    <a:pt x="313" y="263"/>
                  </a:lnTo>
                  <a:lnTo>
                    <a:pt x="308" y="271"/>
                  </a:lnTo>
                  <a:lnTo>
                    <a:pt x="307" y="283"/>
                  </a:lnTo>
                  <a:lnTo>
                    <a:pt x="300" y="285"/>
                  </a:lnTo>
                  <a:lnTo>
                    <a:pt x="299" y="290"/>
                  </a:lnTo>
                  <a:lnTo>
                    <a:pt x="293" y="292"/>
                  </a:lnTo>
                  <a:lnTo>
                    <a:pt x="289" y="291"/>
                  </a:lnTo>
                  <a:lnTo>
                    <a:pt x="285" y="293"/>
                  </a:lnTo>
                  <a:lnTo>
                    <a:pt x="278" y="294"/>
                  </a:lnTo>
                  <a:lnTo>
                    <a:pt x="272" y="294"/>
                  </a:lnTo>
                  <a:lnTo>
                    <a:pt x="268" y="300"/>
                  </a:lnTo>
                  <a:lnTo>
                    <a:pt x="264" y="301"/>
                  </a:lnTo>
                  <a:lnTo>
                    <a:pt x="256" y="300"/>
                  </a:lnTo>
                  <a:lnTo>
                    <a:pt x="249" y="307"/>
                  </a:lnTo>
                  <a:lnTo>
                    <a:pt x="249" y="310"/>
                  </a:lnTo>
                  <a:lnTo>
                    <a:pt x="246" y="311"/>
                  </a:lnTo>
                  <a:lnTo>
                    <a:pt x="242" y="316"/>
                  </a:lnTo>
                  <a:lnTo>
                    <a:pt x="237" y="318"/>
                  </a:lnTo>
                  <a:lnTo>
                    <a:pt x="235" y="332"/>
                  </a:lnTo>
                  <a:lnTo>
                    <a:pt x="237" y="338"/>
                  </a:lnTo>
                  <a:lnTo>
                    <a:pt x="235" y="349"/>
                  </a:lnTo>
                  <a:lnTo>
                    <a:pt x="228" y="358"/>
                  </a:lnTo>
                  <a:lnTo>
                    <a:pt x="224" y="359"/>
                  </a:lnTo>
                  <a:lnTo>
                    <a:pt x="221" y="365"/>
                  </a:lnTo>
                  <a:lnTo>
                    <a:pt x="220" y="372"/>
                  </a:lnTo>
                  <a:lnTo>
                    <a:pt x="212" y="386"/>
                  </a:lnTo>
                  <a:lnTo>
                    <a:pt x="206" y="393"/>
                  </a:lnTo>
                  <a:lnTo>
                    <a:pt x="206" y="390"/>
                  </a:lnTo>
                  <a:lnTo>
                    <a:pt x="211" y="385"/>
                  </a:lnTo>
                  <a:lnTo>
                    <a:pt x="212" y="380"/>
                  </a:lnTo>
                  <a:lnTo>
                    <a:pt x="216" y="373"/>
                  </a:lnTo>
                  <a:lnTo>
                    <a:pt x="213" y="372"/>
                  </a:lnTo>
                  <a:lnTo>
                    <a:pt x="206" y="380"/>
                  </a:lnTo>
                  <a:lnTo>
                    <a:pt x="204" y="385"/>
                  </a:lnTo>
                  <a:lnTo>
                    <a:pt x="200" y="391"/>
                  </a:lnTo>
                  <a:lnTo>
                    <a:pt x="203" y="395"/>
                  </a:lnTo>
                  <a:lnTo>
                    <a:pt x="203" y="399"/>
                  </a:lnTo>
                  <a:lnTo>
                    <a:pt x="193" y="409"/>
                  </a:lnTo>
                  <a:lnTo>
                    <a:pt x="192" y="404"/>
                  </a:lnTo>
                  <a:lnTo>
                    <a:pt x="186" y="398"/>
                  </a:lnTo>
                  <a:lnTo>
                    <a:pt x="183" y="393"/>
                  </a:lnTo>
                  <a:lnTo>
                    <a:pt x="177" y="390"/>
                  </a:lnTo>
                  <a:lnTo>
                    <a:pt x="175" y="384"/>
                  </a:lnTo>
                  <a:lnTo>
                    <a:pt x="171" y="382"/>
                  </a:lnTo>
                  <a:lnTo>
                    <a:pt x="160" y="381"/>
                  </a:lnTo>
                  <a:lnTo>
                    <a:pt x="157" y="375"/>
                  </a:lnTo>
                  <a:lnTo>
                    <a:pt x="152" y="372"/>
                  </a:lnTo>
                  <a:lnTo>
                    <a:pt x="158" y="365"/>
                  </a:lnTo>
                  <a:lnTo>
                    <a:pt x="160" y="362"/>
                  </a:lnTo>
                  <a:lnTo>
                    <a:pt x="168" y="353"/>
                  </a:lnTo>
                  <a:lnTo>
                    <a:pt x="174" y="348"/>
                  </a:lnTo>
                  <a:lnTo>
                    <a:pt x="185" y="337"/>
                  </a:lnTo>
                  <a:lnTo>
                    <a:pt x="187" y="334"/>
                  </a:lnTo>
                  <a:lnTo>
                    <a:pt x="182" y="321"/>
                  </a:lnTo>
                  <a:lnTo>
                    <a:pt x="178" y="321"/>
                  </a:lnTo>
                  <a:lnTo>
                    <a:pt x="179" y="314"/>
                  </a:lnTo>
                  <a:lnTo>
                    <a:pt x="181" y="310"/>
                  </a:lnTo>
                  <a:lnTo>
                    <a:pt x="181" y="301"/>
                  </a:lnTo>
                  <a:lnTo>
                    <a:pt x="175" y="299"/>
                  </a:lnTo>
                  <a:lnTo>
                    <a:pt x="170" y="301"/>
                  </a:lnTo>
                  <a:lnTo>
                    <a:pt x="169" y="291"/>
                  </a:lnTo>
                  <a:lnTo>
                    <a:pt x="157" y="285"/>
                  </a:lnTo>
                  <a:lnTo>
                    <a:pt x="150" y="282"/>
                  </a:lnTo>
                  <a:lnTo>
                    <a:pt x="149" y="257"/>
                  </a:lnTo>
                  <a:lnTo>
                    <a:pt x="149" y="244"/>
                  </a:lnTo>
                  <a:lnTo>
                    <a:pt x="145" y="238"/>
                  </a:lnTo>
                  <a:lnTo>
                    <a:pt x="146" y="230"/>
                  </a:lnTo>
                  <a:lnTo>
                    <a:pt x="142" y="227"/>
                  </a:lnTo>
                  <a:lnTo>
                    <a:pt x="142" y="219"/>
                  </a:lnTo>
                  <a:lnTo>
                    <a:pt x="122" y="216"/>
                  </a:lnTo>
                  <a:lnTo>
                    <a:pt x="121" y="191"/>
                  </a:lnTo>
                  <a:lnTo>
                    <a:pt x="112" y="189"/>
                  </a:lnTo>
                  <a:lnTo>
                    <a:pt x="93" y="177"/>
                  </a:lnTo>
                  <a:lnTo>
                    <a:pt x="86" y="176"/>
                  </a:lnTo>
                  <a:lnTo>
                    <a:pt x="81" y="173"/>
                  </a:lnTo>
                  <a:lnTo>
                    <a:pt x="81" y="156"/>
                  </a:lnTo>
                  <a:lnTo>
                    <a:pt x="73" y="151"/>
                  </a:lnTo>
                  <a:lnTo>
                    <a:pt x="63" y="154"/>
                  </a:lnTo>
                  <a:lnTo>
                    <a:pt x="58" y="164"/>
                  </a:lnTo>
                  <a:lnTo>
                    <a:pt x="41" y="167"/>
                  </a:lnTo>
                  <a:lnTo>
                    <a:pt x="31" y="164"/>
                  </a:lnTo>
                  <a:lnTo>
                    <a:pt x="31" y="152"/>
                  </a:lnTo>
                  <a:lnTo>
                    <a:pt x="28" y="149"/>
                  </a:lnTo>
                  <a:lnTo>
                    <a:pt x="11" y="151"/>
                  </a:lnTo>
                  <a:lnTo>
                    <a:pt x="6" y="145"/>
                  </a:lnTo>
                  <a:lnTo>
                    <a:pt x="5" y="139"/>
                  </a:lnTo>
                  <a:lnTo>
                    <a:pt x="0" y="126"/>
                  </a:lnTo>
                  <a:lnTo>
                    <a:pt x="5" y="118"/>
                  </a:lnTo>
                  <a:lnTo>
                    <a:pt x="3" y="109"/>
                  </a:lnTo>
                  <a:lnTo>
                    <a:pt x="17" y="101"/>
                  </a:lnTo>
                  <a:lnTo>
                    <a:pt x="29" y="97"/>
                  </a:lnTo>
                  <a:lnTo>
                    <a:pt x="36" y="96"/>
                  </a:lnTo>
                  <a:lnTo>
                    <a:pt x="36" y="89"/>
                  </a:lnTo>
                  <a:lnTo>
                    <a:pt x="42" y="63"/>
                  </a:lnTo>
                  <a:lnTo>
                    <a:pt x="37" y="59"/>
                  </a:lnTo>
                  <a:lnTo>
                    <a:pt x="36" y="48"/>
                  </a:lnTo>
                  <a:lnTo>
                    <a:pt x="41" y="49"/>
                  </a:lnTo>
                  <a:lnTo>
                    <a:pt x="43" y="44"/>
                  </a:lnTo>
                  <a:lnTo>
                    <a:pt x="35" y="38"/>
                  </a:lnTo>
                  <a:lnTo>
                    <a:pt x="36" y="35"/>
                  </a:lnTo>
                  <a:lnTo>
                    <a:pt x="53" y="33"/>
                  </a:lnTo>
                  <a:lnTo>
                    <a:pt x="58" y="39"/>
                  </a:lnTo>
                  <a:lnTo>
                    <a:pt x="64" y="41"/>
                  </a:lnTo>
                  <a:lnTo>
                    <a:pt x="73" y="45"/>
                  </a:lnTo>
                  <a:lnTo>
                    <a:pt x="80" y="43"/>
                  </a:lnTo>
                  <a:lnTo>
                    <a:pt x="97" y="34"/>
                  </a:lnTo>
                  <a:lnTo>
                    <a:pt x="98" y="30"/>
                  </a:lnTo>
                  <a:lnTo>
                    <a:pt x="96" y="27"/>
                  </a:lnTo>
                  <a:lnTo>
                    <a:pt x="90" y="28"/>
                  </a:lnTo>
                  <a:lnTo>
                    <a:pt x="90" y="16"/>
                  </a:lnTo>
                  <a:lnTo>
                    <a:pt x="87" y="14"/>
                  </a:lnTo>
                  <a:lnTo>
                    <a:pt x="88" y="9"/>
                  </a:lnTo>
                  <a:lnTo>
                    <a:pt x="94" y="8"/>
                  </a:lnTo>
                  <a:lnTo>
                    <a:pt x="105" y="15"/>
                  </a:lnTo>
                  <a:lnTo>
                    <a:pt x="119" y="9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8" name="Freeform 211"/>
            <p:cNvSpPr>
              <a:spLocks/>
            </p:cNvSpPr>
            <p:nvPr/>
          </p:nvSpPr>
          <p:spPr bwMode="gray">
            <a:xfrm>
              <a:off x="1878" y="3722"/>
              <a:ext cx="25" cy="12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2147483647 h 9"/>
                <a:gd name="T6" fmla="*/ 2147483647 w 19"/>
                <a:gd name="T7" fmla="*/ 2147483647 h 9"/>
                <a:gd name="T8" fmla="*/ 0 w 19"/>
                <a:gd name="T9" fmla="*/ 2147483647 h 9"/>
                <a:gd name="T10" fmla="*/ 2147483647 w 19"/>
                <a:gd name="T11" fmla="*/ 2147483647 h 9"/>
                <a:gd name="T12" fmla="*/ 2147483647 w 19"/>
                <a:gd name="T13" fmla="*/ 0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2147483647 w 19"/>
                <a:gd name="T19" fmla="*/ 2147483647 h 9"/>
                <a:gd name="T20" fmla="*/ 2147483647 w 19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9"/>
                <a:gd name="T35" fmla="*/ 19 w 19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9">
                  <a:moveTo>
                    <a:pt x="15" y="9"/>
                  </a:moveTo>
                  <a:lnTo>
                    <a:pt x="13" y="6"/>
                  </a:lnTo>
                  <a:lnTo>
                    <a:pt x="9" y="4"/>
                  </a:lnTo>
                  <a:lnTo>
                    <a:pt x="3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8" y="0"/>
                  </a:lnTo>
                  <a:lnTo>
                    <a:pt x="15" y="1"/>
                  </a:lnTo>
                  <a:lnTo>
                    <a:pt x="19" y="6"/>
                  </a:lnTo>
                  <a:lnTo>
                    <a:pt x="18" y="9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19" name="Freeform 212"/>
            <p:cNvSpPr>
              <a:spLocks/>
            </p:cNvSpPr>
            <p:nvPr/>
          </p:nvSpPr>
          <p:spPr bwMode="gray">
            <a:xfrm>
              <a:off x="1892" y="3676"/>
              <a:ext cx="45" cy="44"/>
            </a:xfrm>
            <a:custGeom>
              <a:avLst/>
              <a:gdLst>
                <a:gd name="T0" fmla="*/ 0 w 34"/>
                <a:gd name="T1" fmla="*/ 2147483647 h 34"/>
                <a:gd name="T2" fmla="*/ 2147483647 w 34"/>
                <a:gd name="T3" fmla="*/ 2147483647 h 34"/>
                <a:gd name="T4" fmla="*/ 2147483647 w 34"/>
                <a:gd name="T5" fmla="*/ 2147483647 h 34"/>
                <a:gd name="T6" fmla="*/ 2147483647 w 34"/>
                <a:gd name="T7" fmla="*/ 2147483647 h 34"/>
                <a:gd name="T8" fmla="*/ 2147483647 w 34"/>
                <a:gd name="T9" fmla="*/ 2147483647 h 34"/>
                <a:gd name="T10" fmla="*/ 0 w 34"/>
                <a:gd name="T11" fmla="*/ 0 h 34"/>
                <a:gd name="T12" fmla="*/ 2147483647 w 34"/>
                <a:gd name="T13" fmla="*/ 2147483647 h 34"/>
                <a:gd name="T14" fmla="*/ 2147483647 w 34"/>
                <a:gd name="T15" fmla="*/ 2147483647 h 34"/>
                <a:gd name="T16" fmla="*/ 2147483647 w 34"/>
                <a:gd name="T17" fmla="*/ 2147483647 h 34"/>
                <a:gd name="T18" fmla="*/ 2147483647 w 34"/>
                <a:gd name="T19" fmla="*/ 2147483647 h 34"/>
                <a:gd name="T20" fmla="*/ 2147483647 w 34"/>
                <a:gd name="T21" fmla="*/ 2147483647 h 34"/>
                <a:gd name="T22" fmla="*/ 2147483647 w 34"/>
                <a:gd name="T23" fmla="*/ 2147483647 h 34"/>
                <a:gd name="T24" fmla="*/ 2147483647 w 34"/>
                <a:gd name="T25" fmla="*/ 2147483647 h 34"/>
                <a:gd name="T26" fmla="*/ 2147483647 w 34"/>
                <a:gd name="T27" fmla="*/ 2147483647 h 34"/>
                <a:gd name="T28" fmla="*/ 2147483647 w 34"/>
                <a:gd name="T29" fmla="*/ 2147483647 h 34"/>
                <a:gd name="T30" fmla="*/ 2147483647 w 34"/>
                <a:gd name="T31" fmla="*/ 2147483647 h 34"/>
                <a:gd name="T32" fmla="*/ 2147483647 w 34"/>
                <a:gd name="T33" fmla="*/ 2147483647 h 34"/>
                <a:gd name="T34" fmla="*/ 2147483647 w 34"/>
                <a:gd name="T35" fmla="*/ 2147483647 h 34"/>
                <a:gd name="T36" fmla="*/ 0 w 34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34"/>
                <a:gd name="T59" fmla="*/ 34 w 34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34">
                  <a:moveTo>
                    <a:pt x="0" y="32"/>
                  </a:moveTo>
                  <a:lnTo>
                    <a:pt x="1" y="28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1" y="26"/>
                  </a:lnTo>
                  <a:lnTo>
                    <a:pt x="0" y="0"/>
                  </a:lnTo>
                  <a:lnTo>
                    <a:pt x="4" y="3"/>
                  </a:lnTo>
                  <a:lnTo>
                    <a:pt x="9" y="15"/>
                  </a:lnTo>
                  <a:lnTo>
                    <a:pt x="11" y="20"/>
                  </a:lnTo>
                  <a:lnTo>
                    <a:pt x="19" y="26"/>
                  </a:lnTo>
                  <a:lnTo>
                    <a:pt x="24" y="28"/>
                  </a:lnTo>
                  <a:lnTo>
                    <a:pt x="34" y="30"/>
                  </a:lnTo>
                  <a:lnTo>
                    <a:pt x="34" y="32"/>
                  </a:lnTo>
                  <a:lnTo>
                    <a:pt x="31" y="34"/>
                  </a:lnTo>
                  <a:lnTo>
                    <a:pt x="24" y="34"/>
                  </a:lnTo>
                  <a:lnTo>
                    <a:pt x="21" y="34"/>
                  </a:lnTo>
                  <a:lnTo>
                    <a:pt x="13" y="34"/>
                  </a:lnTo>
                  <a:lnTo>
                    <a:pt x="5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0" name="Freeform 213"/>
            <p:cNvSpPr>
              <a:spLocks/>
            </p:cNvSpPr>
            <p:nvPr/>
          </p:nvSpPr>
          <p:spPr bwMode="gray">
            <a:xfrm>
              <a:off x="1904" y="3722"/>
              <a:ext cx="9" cy="6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"/>
                  </a:lnTo>
                  <a:lnTo>
                    <a:pt x="7" y="4"/>
                  </a:lnTo>
                  <a:lnTo>
                    <a:pt x="4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1" name="Freeform 214"/>
            <p:cNvSpPr>
              <a:spLocks/>
            </p:cNvSpPr>
            <p:nvPr/>
          </p:nvSpPr>
          <p:spPr bwMode="gray">
            <a:xfrm>
              <a:off x="1903" y="3736"/>
              <a:ext cx="9" cy="3"/>
            </a:xfrm>
            <a:custGeom>
              <a:avLst/>
              <a:gdLst>
                <a:gd name="T0" fmla="*/ 0 w 7"/>
                <a:gd name="T1" fmla="*/ 2147483646 h 3"/>
                <a:gd name="T2" fmla="*/ 2147483647 w 7"/>
                <a:gd name="T3" fmla="*/ 0 h 3"/>
                <a:gd name="T4" fmla="*/ 2147483647 w 7"/>
                <a:gd name="T5" fmla="*/ 2147483646 h 3"/>
                <a:gd name="T6" fmla="*/ 2147483647 w 7"/>
                <a:gd name="T7" fmla="*/ 2147483646 h 3"/>
                <a:gd name="T8" fmla="*/ 2147483647 w 7"/>
                <a:gd name="T9" fmla="*/ 2147483646 h 3"/>
                <a:gd name="T10" fmla="*/ 0 w 7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2" name="Freeform 215"/>
            <p:cNvSpPr>
              <a:spLocks/>
            </p:cNvSpPr>
            <p:nvPr/>
          </p:nvSpPr>
          <p:spPr bwMode="gray">
            <a:xfrm>
              <a:off x="1942" y="3715"/>
              <a:ext cx="10" cy="5"/>
            </a:xfrm>
            <a:custGeom>
              <a:avLst/>
              <a:gdLst>
                <a:gd name="T0" fmla="*/ 2147483647 w 8"/>
                <a:gd name="T1" fmla="*/ 2147483647 h 4"/>
                <a:gd name="T2" fmla="*/ 0 w 8"/>
                <a:gd name="T3" fmla="*/ 2147483647 h 4"/>
                <a:gd name="T4" fmla="*/ 0 w 8"/>
                <a:gd name="T5" fmla="*/ 2147483647 h 4"/>
                <a:gd name="T6" fmla="*/ 2147483647 w 8"/>
                <a:gd name="T7" fmla="*/ 2147483647 h 4"/>
                <a:gd name="T8" fmla="*/ 2147483647 w 8"/>
                <a:gd name="T9" fmla="*/ 0 h 4"/>
                <a:gd name="T10" fmla="*/ 2147483647 w 8"/>
                <a:gd name="T11" fmla="*/ 2147483647 h 4"/>
                <a:gd name="T12" fmla="*/ 2147483647 w 8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8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3" name="Freeform 216"/>
            <p:cNvSpPr>
              <a:spLocks/>
            </p:cNvSpPr>
            <p:nvPr/>
          </p:nvSpPr>
          <p:spPr bwMode="gray">
            <a:xfrm>
              <a:off x="1988" y="3652"/>
              <a:ext cx="19" cy="17"/>
            </a:xfrm>
            <a:custGeom>
              <a:avLst/>
              <a:gdLst>
                <a:gd name="T0" fmla="*/ 2147483647 w 15"/>
                <a:gd name="T1" fmla="*/ 2147483647 h 13"/>
                <a:gd name="T2" fmla="*/ 0 w 15"/>
                <a:gd name="T3" fmla="*/ 2147483647 h 13"/>
                <a:gd name="T4" fmla="*/ 2147483647 w 15"/>
                <a:gd name="T5" fmla="*/ 2147483647 h 13"/>
                <a:gd name="T6" fmla="*/ 2147483647 w 15"/>
                <a:gd name="T7" fmla="*/ 2147483647 h 13"/>
                <a:gd name="T8" fmla="*/ 2147483647 w 15"/>
                <a:gd name="T9" fmla="*/ 2147483647 h 13"/>
                <a:gd name="T10" fmla="*/ 2147483647 w 15"/>
                <a:gd name="T11" fmla="*/ 0 h 13"/>
                <a:gd name="T12" fmla="*/ 2147483647 w 15"/>
                <a:gd name="T13" fmla="*/ 2147483647 h 13"/>
                <a:gd name="T14" fmla="*/ 2147483647 w 15"/>
                <a:gd name="T15" fmla="*/ 2147483647 h 13"/>
                <a:gd name="T16" fmla="*/ 2147483647 w 15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5" y="13"/>
                  </a:moveTo>
                  <a:lnTo>
                    <a:pt x="0" y="11"/>
                  </a:lnTo>
                  <a:lnTo>
                    <a:pt x="3" y="8"/>
                  </a:lnTo>
                  <a:lnTo>
                    <a:pt x="6" y="7"/>
                  </a:lnTo>
                  <a:lnTo>
                    <a:pt x="6" y="3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9" y="7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4" name="Freeform 217"/>
            <p:cNvSpPr>
              <a:spLocks/>
            </p:cNvSpPr>
            <p:nvPr/>
          </p:nvSpPr>
          <p:spPr bwMode="gray">
            <a:xfrm>
              <a:off x="2004" y="3655"/>
              <a:ext cx="19" cy="15"/>
            </a:xfrm>
            <a:custGeom>
              <a:avLst/>
              <a:gdLst>
                <a:gd name="T0" fmla="*/ 2147483647 w 14"/>
                <a:gd name="T1" fmla="*/ 2147483647 h 12"/>
                <a:gd name="T2" fmla="*/ 0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0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2147483647 w 14"/>
                <a:gd name="T17" fmla="*/ 2147483647 h 12"/>
                <a:gd name="T18" fmla="*/ 2147483647 w 1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2"/>
                <a:gd name="T32" fmla="*/ 14 w 1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2">
                  <a:moveTo>
                    <a:pt x="2" y="12"/>
                  </a:moveTo>
                  <a:lnTo>
                    <a:pt x="0" y="10"/>
                  </a:lnTo>
                  <a:lnTo>
                    <a:pt x="3" y="5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3"/>
                  </a:lnTo>
                  <a:lnTo>
                    <a:pt x="8" y="5"/>
                  </a:lnTo>
                  <a:lnTo>
                    <a:pt x="8" y="9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5" name="Freeform 218"/>
            <p:cNvSpPr>
              <a:spLocks/>
            </p:cNvSpPr>
            <p:nvPr/>
          </p:nvSpPr>
          <p:spPr bwMode="gray">
            <a:xfrm>
              <a:off x="1871" y="3676"/>
              <a:ext cx="23" cy="33"/>
            </a:xfrm>
            <a:custGeom>
              <a:avLst/>
              <a:gdLst>
                <a:gd name="T0" fmla="*/ 2147483647 w 17"/>
                <a:gd name="T1" fmla="*/ 0 h 26"/>
                <a:gd name="T2" fmla="*/ 2147483647 w 17"/>
                <a:gd name="T3" fmla="*/ 2147483647 h 26"/>
                <a:gd name="T4" fmla="*/ 2147483647 w 17"/>
                <a:gd name="T5" fmla="*/ 2147483647 h 26"/>
                <a:gd name="T6" fmla="*/ 2147483647 w 17"/>
                <a:gd name="T7" fmla="*/ 2147483647 h 26"/>
                <a:gd name="T8" fmla="*/ 2147483647 w 17"/>
                <a:gd name="T9" fmla="*/ 2147483647 h 26"/>
                <a:gd name="T10" fmla="*/ 2147483647 w 17"/>
                <a:gd name="T11" fmla="*/ 2147483647 h 26"/>
                <a:gd name="T12" fmla="*/ 2147483647 w 17"/>
                <a:gd name="T13" fmla="*/ 2147483647 h 26"/>
                <a:gd name="T14" fmla="*/ 2147483647 w 17"/>
                <a:gd name="T15" fmla="*/ 2147483647 h 26"/>
                <a:gd name="T16" fmla="*/ 2147483647 w 17"/>
                <a:gd name="T17" fmla="*/ 2147483647 h 26"/>
                <a:gd name="T18" fmla="*/ 2147483647 w 17"/>
                <a:gd name="T19" fmla="*/ 2147483647 h 26"/>
                <a:gd name="T20" fmla="*/ 2147483647 w 17"/>
                <a:gd name="T21" fmla="*/ 2147483647 h 26"/>
                <a:gd name="T22" fmla="*/ 0 w 17"/>
                <a:gd name="T23" fmla="*/ 2147483647 h 26"/>
                <a:gd name="T24" fmla="*/ 2147483647 w 17"/>
                <a:gd name="T25" fmla="*/ 2147483647 h 26"/>
                <a:gd name="T26" fmla="*/ 2147483647 w 17"/>
                <a:gd name="T27" fmla="*/ 0 h 26"/>
                <a:gd name="T28" fmla="*/ 2147483647 w 17"/>
                <a:gd name="T29" fmla="*/ 2147483647 h 26"/>
                <a:gd name="T30" fmla="*/ 2147483647 w 17"/>
                <a:gd name="T31" fmla="*/ 0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26"/>
                <a:gd name="T50" fmla="*/ 17 w 17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26">
                  <a:moveTo>
                    <a:pt x="16" y="0"/>
                  </a:moveTo>
                  <a:lnTo>
                    <a:pt x="17" y="26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3" y="18"/>
                  </a:lnTo>
                  <a:lnTo>
                    <a:pt x="8" y="15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4" y="11"/>
                  </a:lnTo>
                  <a:lnTo>
                    <a:pt x="1" y="13"/>
                  </a:lnTo>
                  <a:lnTo>
                    <a:pt x="1" y="9"/>
                  </a:lnTo>
                  <a:lnTo>
                    <a:pt x="0" y="6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6" name="Freeform 219"/>
            <p:cNvSpPr>
              <a:spLocks/>
            </p:cNvSpPr>
            <p:nvPr/>
          </p:nvSpPr>
          <p:spPr bwMode="gray">
            <a:xfrm>
              <a:off x="1857" y="3709"/>
              <a:ext cx="37" cy="8"/>
            </a:xfrm>
            <a:custGeom>
              <a:avLst/>
              <a:gdLst>
                <a:gd name="T0" fmla="*/ 2147483647 w 28"/>
                <a:gd name="T1" fmla="*/ 2147483647 h 6"/>
                <a:gd name="T2" fmla="*/ 2147483647 w 28"/>
                <a:gd name="T3" fmla="*/ 2147483647 h 6"/>
                <a:gd name="T4" fmla="*/ 2147483647 w 28"/>
                <a:gd name="T5" fmla="*/ 2147483647 h 6"/>
                <a:gd name="T6" fmla="*/ 2147483647 w 28"/>
                <a:gd name="T7" fmla="*/ 2147483647 h 6"/>
                <a:gd name="T8" fmla="*/ 0 w 28"/>
                <a:gd name="T9" fmla="*/ 2147483647 h 6"/>
                <a:gd name="T10" fmla="*/ 0 w 28"/>
                <a:gd name="T11" fmla="*/ 2147483647 h 6"/>
                <a:gd name="T12" fmla="*/ 2147483647 w 28"/>
                <a:gd name="T13" fmla="*/ 2147483647 h 6"/>
                <a:gd name="T14" fmla="*/ 2147483647 w 28"/>
                <a:gd name="T15" fmla="*/ 0 h 6"/>
                <a:gd name="T16" fmla="*/ 2147483647 w 28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6"/>
                <a:gd name="T29" fmla="*/ 28 w 28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6">
                  <a:moveTo>
                    <a:pt x="28" y="2"/>
                  </a:moveTo>
                  <a:lnTo>
                    <a:pt x="27" y="6"/>
                  </a:lnTo>
                  <a:lnTo>
                    <a:pt x="10" y="6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7" name="Freeform 220"/>
            <p:cNvSpPr>
              <a:spLocks/>
            </p:cNvSpPr>
            <p:nvPr/>
          </p:nvSpPr>
          <p:spPr bwMode="gray">
            <a:xfrm>
              <a:off x="1870" y="3698"/>
              <a:ext cx="4" cy="9"/>
            </a:xfrm>
            <a:custGeom>
              <a:avLst/>
              <a:gdLst>
                <a:gd name="T0" fmla="*/ 2147483647 w 3"/>
                <a:gd name="T1" fmla="*/ 0 h 7"/>
                <a:gd name="T2" fmla="*/ 2147483647 w 3"/>
                <a:gd name="T3" fmla="*/ 2147483647 h 7"/>
                <a:gd name="T4" fmla="*/ 2147483647 w 3"/>
                <a:gd name="T5" fmla="*/ 2147483647 h 7"/>
                <a:gd name="T6" fmla="*/ 2147483647 w 3"/>
                <a:gd name="T7" fmla="*/ 2147483647 h 7"/>
                <a:gd name="T8" fmla="*/ 0 w 3"/>
                <a:gd name="T9" fmla="*/ 2147483647 h 7"/>
                <a:gd name="T10" fmla="*/ 2147483647 w 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7"/>
                <a:gd name="T20" fmla="*/ 3 w 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7">
                  <a:moveTo>
                    <a:pt x="1" y="0"/>
                  </a:moveTo>
                  <a:lnTo>
                    <a:pt x="3" y="2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8" name="Freeform 221"/>
            <p:cNvSpPr>
              <a:spLocks/>
            </p:cNvSpPr>
            <p:nvPr/>
          </p:nvSpPr>
          <p:spPr bwMode="gray">
            <a:xfrm>
              <a:off x="1865" y="3700"/>
              <a:ext cx="3" cy="8"/>
            </a:xfrm>
            <a:custGeom>
              <a:avLst/>
              <a:gdLst>
                <a:gd name="T0" fmla="*/ 2147483647 w 2"/>
                <a:gd name="T1" fmla="*/ 0 h 6"/>
                <a:gd name="T2" fmla="*/ 2147483647 w 2"/>
                <a:gd name="T3" fmla="*/ 2147483647 h 6"/>
                <a:gd name="T4" fmla="*/ 2147483647 w 2"/>
                <a:gd name="T5" fmla="*/ 2147483647 h 6"/>
                <a:gd name="T6" fmla="*/ 0 w 2"/>
                <a:gd name="T7" fmla="*/ 2147483647 h 6"/>
                <a:gd name="T8" fmla="*/ 0 w 2"/>
                <a:gd name="T9" fmla="*/ 0 h 6"/>
                <a:gd name="T10" fmla="*/ 2147483647 w 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0"/>
                  </a:moveTo>
                  <a:lnTo>
                    <a:pt x="2" y="3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29" name="Freeform 222"/>
            <p:cNvSpPr>
              <a:spLocks/>
            </p:cNvSpPr>
            <p:nvPr/>
          </p:nvSpPr>
          <p:spPr bwMode="gray">
            <a:xfrm>
              <a:off x="1858" y="3700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0"/>
                  </a:moveTo>
                  <a:lnTo>
                    <a:pt x="3" y="3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0" name="Freeform 223"/>
            <p:cNvSpPr>
              <a:spLocks/>
            </p:cNvSpPr>
            <p:nvPr/>
          </p:nvSpPr>
          <p:spPr bwMode="gray">
            <a:xfrm>
              <a:off x="1853" y="3702"/>
              <a:ext cx="4" cy="5"/>
            </a:xfrm>
            <a:custGeom>
              <a:avLst/>
              <a:gdLst>
                <a:gd name="T0" fmla="*/ 2147483647 w 3"/>
                <a:gd name="T1" fmla="*/ 0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0 w 3"/>
                <a:gd name="T7" fmla="*/ 2147483647 h 4"/>
                <a:gd name="T8" fmla="*/ 0 w 3"/>
                <a:gd name="T9" fmla="*/ 2147483647 h 4"/>
                <a:gd name="T10" fmla="*/ 2147483647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3" y="0"/>
                  </a:moveTo>
                  <a:lnTo>
                    <a:pt x="1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1" name="Freeform 224"/>
            <p:cNvSpPr>
              <a:spLocks/>
            </p:cNvSpPr>
            <p:nvPr/>
          </p:nvSpPr>
          <p:spPr bwMode="gray">
            <a:xfrm>
              <a:off x="1834" y="3694"/>
              <a:ext cx="15" cy="13"/>
            </a:xfrm>
            <a:custGeom>
              <a:avLst/>
              <a:gdLst>
                <a:gd name="T0" fmla="*/ 2147483647 w 12"/>
                <a:gd name="T1" fmla="*/ 2147483647 h 10"/>
                <a:gd name="T2" fmla="*/ 2147483647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2147483647 w 12"/>
                <a:gd name="T9" fmla="*/ 2147483647 h 10"/>
                <a:gd name="T10" fmla="*/ 0 w 12"/>
                <a:gd name="T11" fmla="*/ 0 h 10"/>
                <a:gd name="T12" fmla="*/ 2147483647 w 12"/>
                <a:gd name="T13" fmla="*/ 2147483647 h 10"/>
                <a:gd name="T14" fmla="*/ 2147483647 w 12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0"/>
                <a:gd name="T26" fmla="*/ 12 w 12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0">
                  <a:moveTo>
                    <a:pt x="12" y="5"/>
                  </a:moveTo>
                  <a:lnTo>
                    <a:pt x="11" y="7"/>
                  </a:lnTo>
                  <a:lnTo>
                    <a:pt x="9" y="10"/>
                  </a:lnTo>
                  <a:lnTo>
                    <a:pt x="4" y="7"/>
                  </a:lnTo>
                  <a:lnTo>
                    <a:pt x="1" y="4"/>
                  </a:lnTo>
                  <a:lnTo>
                    <a:pt x="0" y="0"/>
                  </a:lnTo>
                  <a:lnTo>
                    <a:pt x="7" y="1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2" name="Freeform 225"/>
            <p:cNvSpPr>
              <a:spLocks/>
            </p:cNvSpPr>
            <p:nvPr/>
          </p:nvSpPr>
          <p:spPr bwMode="gray">
            <a:xfrm>
              <a:off x="1819" y="3678"/>
              <a:ext cx="17" cy="15"/>
            </a:xfrm>
            <a:custGeom>
              <a:avLst/>
              <a:gdLst>
                <a:gd name="T0" fmla="*/ 2147483647 w 13"/>
                <a:gd name="T1" fmla="*/ 2147483647 h 11"/>
                <a:gd name="T2" fmla="*/ 2147483647 w 13"/>
                <a:gd name="T3" fmla="*/ 2147483647 h 11"/>
                <a:gd name="T4" fmla="*/ 0 w 13"/>
                <a:gd name="T5" fmla="*/ 2147483647 h 11"/>
                <a:gd name="T6" fmla="*/ 0 w 13"/>
                <a:gd name="T7" fmla="*/ 0 h 11"/>
                <a:gd name="T8" fmla="*/ 2147483647 w 13"/>
                <a:gd name="T9" fmla="*/ 0 h 11"/>
                <a:gd name="T10" fmla="*/ 2147483647 w 13"/>
                <a:gd name="T11" fmla="*/ 2147483647 h 11"/>
                <a:gd name="T12" fmla="*/ 2147483647 w 13"/>
                <a:gd name="T13" fmla="*/ 2147483647 h 11"/>
                <a:gd name="T14" fmla="*/ 2147483647 w 1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1"/>
                <a:gd name="T26" fmla="*/ 13 w 1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1">
                  <a:moveTo>
                    <a:pt x="10" y="11"/>
                  </a:move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9" y="6"/>
                  </a:lnTo>
                  <a:lnTo>
                    <a:pt x="13" y="11"/>
                  </a:lnTo>
                  <a:lnTo>
                    <a:pt x="10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3" name="Freeform 226"/>
            <p:cNvSpPr>
              <a:spLocks/>
            </p:cNvSpPr>
            <p:nvPr/>
          </p:nvSpPr>
          <p:spPr bwMode="gray">
            <a:xfrm>
              <a:off x="1843" y="3678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0 w 9"/>
                <a:gd name="T3" fmla="*/ 2147483647 h 8"/>
                <a:gd name="T4" fmla="*/ 2147483647 w 9"/>
                <a:gd name="T5" fmla="*/ 0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8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9" y="1"/>
                  </a:lnTo>
                  <a:lnTo>
                    <a:pt x="8" y="4"/>
                  </a:lnTo>
                  <a:lnTo>
                    <a:pt x="3" y="4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4" name="Freeform 227"/>
            <p:cNvSpPr>
              <a:spLocks/>
            </p:cNvSpPr>
            <p:nvPr/>
          </p:nvSpPr>
          <p:spPr bwMode="gray">
            <a:xfrm>
              <a:off x="1825" y="3659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w 4"/>
                <a:gd name="T9" fmla="*/ 2147483647 h 6"/>
                <a:gd name="T10" fmla="*/ 0 w 4"/>
                <a:gd name="T11" fmla="*/ 0 h 6"/>
                <a:gd name="T12" fmla="*/ 2147483647 w 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2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5" name="Freeform 228"/>
            <p:cNvSpPr>
              <a:spLocks/>
            </p:cNvSpPr>
            <p:nvPr/>
          </p:nvSpPr>
          <p:spPr bwMode="gray">
            <a:xfrm>
              <a:off x="1818" y="3666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6" name="Freeform 229"/>
            <p:cNvSpPr>
              <a:spLocks/>
            </p:cNvSpPr>
            <p:nvPr/>
          </p:nvSpPr>
          <p:spPr bwMode="gray">
            <a:xfrm>
              <a:off x="1826" y="3670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1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7" name="Freeform 230"/>
            <p:cNvSpPr>
              <a:spLocks/>
            </p:cNvSpPr>
            <p:nvPr/>
          </p:nvSpPr>
          <p:spPr bwMode="gray">
            <a:xfrm>
              <a:off x="1813" y="3653"/>
              <a:ext cx="5" cy="8"/>
            </a:xfrm>
            <a:custGeom>
              <a:avLst/>
              <a:gdLst>
                <a:gd name="T0" fmla="*/ 2147483647 w 4"/>
                <a:gd name="T1" fmla="*/ 2147483647 h 6"/>
                <a:gd name="T2" fmla="*/ 0 w 4"/>
                <a:gd name="T3" fmla="*/ 2147483647 h 6"/>
                <a:gd name="T4" fmla="*/ 0 w 4"/>
                <a:gd name="T5" fmla="*/ 0 h 6"/>
                <a:gd name="T6" fmla="*/ 2147483647 w 4"/>
                <a:gd name="T7" fmla="*/ 0 h 6"/>
                <a:gd name="T8" fmla="*/ 2147483647 w 4"/>
                <a:gd name="T9" fmla="*/ 2147483647 h 6"/>
                <a:gd name="T10" fmla="*/ 2147483647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5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8" name="Freeform 231"/>
            <p:cNvSpPr>
              <a:spLocks/>
            </p:cNvSpPr>
            <p:nvPr/>
          </p:nvSpPr>
          <p:spPr bwMode="gray">
            <a:xfrm>
              <a:off x="1814" y="3609"/>
              <a:ext cx="8" cy="18"/>
            </a:xfrm>
            <a:custGeom>
              <a:avLst/>
              <a:gdLst>
                <a:gd name="T0" fmla="*/ 2147483647 w 6"/>
                <a:gd name="T1" fmla="*/ 2147483647 h 14"/>
                <a:gd name="T2" fmla="*/ 2147483647 w 6"/>
                <a:gd name="T3" fmla="*/ 2147483647 h 14"/>
                <a:gd name="T4" fmla="*/ 0 w 6"/>
                <a:gd name="T5" fmla="*/ 2147483647 h 14"/>
                <a:gd name="T6" fmla="*/ 0 w 6"/>
                <a:gd name="T7" fmla="*/ 2147483647 h 14"/>
                <a:gd name="T8" fmla="*/ 2147483647 w 6"/>
                <a:gd name="T9" fmla="*/ 2147483647 h 14"/>
                <a:gd name="T10" fmla="*/ 2147483647 w 6"/>
                <a:gd name="T11" fmla="*/ 0 h 14"/>
                <a:gd name="T12" fmla="*/ 2147483647 w 6"/>
                <a:gd name="T13" fmla="*/ 0 h 14"/>
                <a:gd name="T14" fmla="*/ 2147483647 w 6"/>
                <a:gd name="T15" fmla="*/ 2147483647 h 14"/>
                <a:gd name="T16" fmla="*/ 2147483647 w 6"/>
                <a:gd name="T17" fmla="*/ 2147483647 h 14"/>
                <a:gd name="T18" fmla="*/ 2147483647 w 6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4"/>
                <a:gd name="T32" fmla="*/ 6 w 6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4">
                  <a:moveTo>
                    <a:pt x="6" y="14"/>
                  </a:moveTo>
                  <a:lnTo>
                    <a:pt x="3" y="12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5" y="10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39" name="Freeform 232"/>
            <p:cNvSpPr>
              <a:spLocks/>
            </p:cNvSpPr>
            <p:nvPr/>
          </p:nvSpPr>
          <p:spPr bwMode="gray">
            <a:xfrm>
              <a:off x="1818" y="3646"/>
              <a:ext cx="4" cy="9"/>
            </a:xfrm>
            <a:custGeom>
              <a:avLst/>
              <a:gdLst>
                <a:gd name="T0" fmla="*/ 0 w 3"/>
                <a:gd name="T1" fmla="*/ 2147483647 h 7"/>
                <a:gd name="T2" fmla="*/ 0 w 3"/>
                <a:gd name="T3" fmla="*/ 0 h 7"/>
                <a:gd name="T4" fmla="*/ 2147483647 w 3"/>
                <a:gd name="T5" fmla="*/ 0 h 7"/>
                <a:gd name="T6" fmla="*/ 2147483647 w 3"/>
                <a:gd name="T7" fmla="*/ 2147483647 h 7"/>
                <a:gd name="T8" fmla="*/ 0 w 3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0" y="4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2" y="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0" name="Freeform 233"/>
            <p:cNvSpPr>
              <a:spLocks/>
            </p:cNvSpPr>
            <p:nvPr/>
          </p:nvSpPr>
          <p:spPr bwMode="gray">
            <a:xfrm>
              <a:off x="1817" y="3634"/>
              <a:ext cx="5" cy="6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1" name="Freeform 234"/>
            <p:cNvSpPr>
              <a:spLocks/>
            </p:cNvSpPr>
            <p:nvPr/>
          </p:nvSpPr>
          <p:spPr bwMode="gray">
            <a:xfrm>
              <a:off x="1811" y="3638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0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2" name="Freeform 235"/>
            <p:cNvSpPr>
              <a:spLocks/>
            </p:cNvSpPr>
            <p:nvPr/>
          </p:nvSpPr>
          <p:spPr bwMode="gray">
            <a:xfrm>
              <a:off x="1813" y="3630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0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3" name="Freeform 236"/>
            <p:cNvSpPr>
              <a:spLocks/>
            </p:cNvSpPr>
            <p:nvPr/>
          </p:nvSpPr>
          <p:spPr bwMode="gray">
            <a:xfrm>
              <a:off x="1818" y="3592"/>
              <a:ext cx="3" cy="7"/>
            </a:xfrm>
            <a:custGeom>
              <a:avLst/>
              <a:gdLst>
                <a:gd name="T0" fmla="*/ 0 w 2"/>
                <a:gd name="T1" fmla="*/ 2147483647 h 5"/>
                <a:gd name="T2" fmla="*/ 0 w 2"/>
                <a:gd name="T3" fmla="*/ 0 h 5"/>
                <a:gd name="T4" fmla="*/ 2147483647 w 2"/>
                <a:gd name="T5" fmla="*/ 2147483647 h 5"/>
                <a:gd name="T6" fmla="*/ 2147483647 w 2"/>
                <a:gd name="T7" fmla="*/ 2147483647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5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4" name="Freeform 237"/>
            <p:cNvSpPr>
              <a:spLocks/>
            </p:cNvSpPr>
            <p:nvPr/>
          </p:nvSpPr>
          <p:spPr bwMode="gray">
            <a:xfrm>
              <a:off x="1809" y="3618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1" y="0"/>
                  </a:moveTo>
                  <a:lnTo>
                    <a:pt x="3" y="4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5" name="Freeform 238"/>
            <p:cNvSpPr>
              <a:spLocks/>
            </p:cNvSpPr>
            <p:nvPr/>
          </p:nvSpPr>
          <p:spPr bwMode="gray">
            <a:xfrm>
              <a:off x="1811" y="3596"/>
              <a:ext cx="3" cy="5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0 h 4"/>
                <a:gd name="T4" fmla="*/ 2147483647 w 2"/>
                <a:gd name="T5" fmla="*/ 2147483647 h 4"/>
                <a:gd name="T6" fmla="*/ 2147483647 w 2"/>
                <a:gd name="T7" fmla="*/ 2147483647 h 4"/>
                <a:gd name="T8" fmla="*/ 0 w 2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0" y="1"/>
                  </a:moveTo>
                  <a:lnTo>
                    <a:pt x="1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6" name="Freeform 239"/>
            <p:cNvSpPr>
              <a:spLocks/>
            </p:cNvSpPr>
            <p:nvPr/>
          </p:nvSpPr>
          <p:spPr bwMode="gray">
            <a:xfrm>
              <a:off x="1821" y="3549"/>
              <a:ext cx="6" cy="7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0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5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5" y="4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7" name="Freeform 240"/>
            <p:cNvSpPr>
              <a:spLocks/>
            </p:cNvSpPr>
            <p:nvPr/>
          </p:nvSpPr>
          <p:spPr bwMode="gray">
            <a:xfrm>
              <a:off x="1826" y="3543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4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3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8" name="Freeform 241"/>
            <p:cNvSpPr>
              <a:spLocks/>
            </p:cNvSpPr>
            <p:nvPr/>
          </p:nvSpPr>
          <p:spPr bwMode="gray">
            <a:xfrm>
              <a:off x="1835" y="3537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5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49" name="Freeform 242"/>
            <p:cNvSpPr>
              <a:spLocks/>
            </p:cNvSpPr>
            <p:nvPr/>
          </p:nvSpPr>
          <p:spPr bwMode="gray">
            <a:xfrm>
              <a:off x="1826" y="3489"/>
              <a:ext cx="10" cy="26"/>
            </a:xfrm>
            <a:custGeom>
              <a:avLst/>
              <a:gdLst>
                <a:gd name="T0" fmla="*/ 2147483647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0 h 20"/>
                <a:gd name="T6" fmla="*/ 2147483647 w 8"/>
                <a:gd name="T7" fmla="*/ 2147483647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0 w 8"/>
                <a:gd name="T15" fmla="*/ 2147483647 h 20"/>
                <a:gd name="T16" fmla="*/ 2147483647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1" y="4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8" y="3"/>
                  </a:lnTo>
                  <a:lnTo>
                    <a:pt x="8" y="10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19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0" name="Freeform 243"/>
            <p:cNvSpPr>
              <a:spLocks/>
            </p:cNvSpPr>
            <p:nvPr/>
          </p:nvSpPr>
          <p:spPr bwMode="gray">
            <a:xfrm>
              <a:off x="1968" y="3143"/>
              <a:ext cx="100" cy="114"/>
            </a:xfrm>
            <a:custGeom>
              <a:avLst/>
              <a:gdLst>
                <a:gd name="T0" fmla="*/ 0 w 77"/>
                <a:gd name="T1" fmla="*/ 2147483647 h 88"/>
                <a:gd name="T2" fmla="*/ 2147483647 w 77"/>
                <a:gd name="T3" fmla="*/ 2147483647 h 88"/>
                <a:gd name="T4" fmla="*/ 2147483647 w 77"/>
                <a:gd name="T5" fmla="*/ 2147483647 h 88"/>
                <a:gd name="T6" fmla="*/ 2147483647 w 77"/>
                <a:gd name="T7" fmla="*/ 2147483647 h 88"/>
                <a:gd name="T8" fmla="*/ 2147483647 w 77"/>
                <a:gd name="T9" fmla="*/ 2147483647 h 88"/>
                <a:gd name="T10" fmla="*/ 2147483647 w 77"/>
                <a:gd name="T11" fmla="*/ 0 h 88"/>
                <a:gd name="T12" fmla="*/ 2147483647 w 77"/>
                <a:gd name="T13" fmla="*/ 2147483647 h 88"/>
                <a:gd name="T14" fmla="*/ 2147483647 w 77"/>
                <a:gd name="T15" fmla="*/ 2147483647 h 88"/>
                <a:gd name="T16" fmla="*/ 2147483647 w 77"/>
                <a:gd name="T17" fmla="*/ 2147483647 h 88"/>
                <a:gd name="T18" fmla="*/ 2147483647 w 77"/>
                <a:gd name="T19" fmla="*/ 2147483647 h 88"/>
                <a:gd name="T20" fmla="*/ 2147483647 w 77"/>
                <a:gd name="T21" fmla="*/ 2147483647 h 88"/>
                <a:gd name="T22" fmla="*/ 2147483647 w 77"/>
                <a:gd name="T23" fmla="*/ 2147483647 h 88"/>
                <a:gd name="T24" fmla="*/ 2147483647 w 77"/>
                <a:gd name="T25" fmla="*/ 2147483647 h 88"/>
                <a:gd name="T26" fmla="*/ 2147483647 w 77"/>
                <a:gd name="T27" fmla="*/ 2147483647 h 88"/>
                <a:gd name="T28" fmla="*/ 2147483647 w 77"/>
                <a:gd name="T29" fmla="*/ 2147483647 h 88"/>
                <a:gd name="T30" fmla="*/ 2147483647 w 77"/>
                <a:gd name="T31" fmla="*/ 2147483647 h 88"/>
                <a:gd name="T32" fmla="*/ 2147483647 w 77"/>
                <a:gd name="T33" fmla="*/ 2147483647 h 88"/>
                <a:gd name="T34" fmla="*/ 2147483647 w 77"/>
                <a:gd name="T35" fmla="*/ 2147483647 h 88"/>
                <a:gd name="T36" fmla="*/ 2147483647 w 77"/>
                <a:gd name="T37" fmla="*/ 2147483647 h 88"/>
                <a:gd name="T38" fmla="*/ 2147483647 w 77"/>
                <a:gd name="T39" fmla="*/ 2147483647 h 88"/>
                <a:gd name="T40" fmla="*/ 2147483647 w 77"/>
                <a:gd name="T41" fmla="*/ 2147483647 h 88"/>
                <a:gd name="T42" fmla="*/ 2147483647 w 77"/>
                <a:gd name="T43" fmla="*/ 2147483647 h 88"/>
                <a:gd name="T44" fmla="*/ 2147483647 w 77"/>
                <a:gd name="T45" fmla="*/ 2147483647 h 88"/>
                <a:gd name="T46" fmla="*/ 2147483647 w 77"/>
                <a:gd name="T47" fmla="*/ 2147483647 h 88"/>
                <a:gd name="T48" fmla="*/ 2147483647 w 77"/>
                <a:gd name="T49" fmla="*/ 2147483647 h 88"/>
                <a:gd name="T50" fmla="*/ 2147483647 w 77"/>
                <a:gd name="T51" fmla="*/ 2147483647 h 88"/>
                <a:gd name="T52" fmla="*/ 2147483647 w 77"/>
                <a:gd name="T53" fmla="*/ 2147483647 h 88"/>
                <a:gd name="T54" fmla="*/ 2147483647 w 77"/>
                <a:gd name="T55" fmla="*/ 2147483647 h 88"/>
                <a:gd name="T56" fmla="*/ 2147483647 w 77"/>
                <a:gd name="T57" fmla="*/ 2147483647 h 88"/>
                <a:gd name="T58" fmla="*/ 0 w 77"/>
                <a:gd name="T59" fmla="*/ 2147483647 h 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7"/>
                <a:gd name="T91" fmla="*/ 0 h 88"/>
                <a:gd name="T92" fmla="*/ 77 w 77"/>
                <a:gd name="T93" fmla="*/ 88 h 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7" h="88">
                  <a:moveTo>
                    <a:pt x="0" y="33"/>
                  </a:moveTo>
                  <a:lnTo>
                    <a:pt x="2" y="24"/>
                  </a:lnTo>
                  <a:lnTo>
                    <a:pt x="4" y="11"/>
                  </a:lnTo>
                  <a:lnTo>
                    <a:pt x="6" y="5"/>
                  </a:lnTo>
                  <a:lnTo>
                    <a:pt x="17" y="1"/>
                  </a:lnTo>
                  <a:lnTo>
                    <a:pt x="38" y="0"/>
                  </a:lnTo>
                  <a:lnTo>
                    <a:pt x="45" y="6"/>
                  </a:lnTo>
                  <a:lnTo>
                    <a:pt x="46" y="31"/>
                  </a:lnTo>
                  <a:lnTo>
                    <a:pt x="53" y="34"/>
                  </a:lnTo>
                  <a:lnTo>
                    <a:pt x="65" y="40"/>
                  </a:lnTo>
                  <a:lnTo>
                    <a:pt x="66" y="50"/>
                  </a:lnTo>
                  <a:lnTo>
                    <a:pt x="71" y="48"/>
                  </a:lnTo>
                  <a:lnTo>
                    <a:pt x="77" y="50"/>
                  </a:lnTo>
                  <a:lnTo>
                    <a:pt x="77" y="59"/>
                  </a:lnTo>
                  <a:lnTo>
                    <a:pt x="75" y="63"/>
                  </a:lnTo>
                  <a:lnTo>
                    <a:pt x="74" y="70"/>
                  </a:lnTo>
                  <a:lnTo>
                    <a:pt x="72" y="80"/>
                  </a:lnTo>
                  <a:lnTo>
                    <a:pt x="66" y="86"/>
                  </a:lnTo>
                  <a:lnTo>
                    <a:pt x="53" y="88"/>
                  </a:lnTo>
                  <a:lnTo>
                    <a:pt x="43" y="87"/>
                  </a:lnTo>
                  <a:lnTo>
                    <a:pt x="40" y="86"/>
                  </a:lnTo>
                  <a:lnTo>
                    <a:pt x="49" y="69"/>
                  </a:lnTo>
                  <a:lnTo>
                    <a:pt x="50" y="65"/>
                  </a:lnTo>
                  <a:lnTo>
                    <a:pt x="43" y="59"/>
                  </a:lnTo>
                  <a:lnTo>
                    <a:pt x="30" y="55"/>
                  </a:lnTo>
                  <a:lnTo>
                    <a:pt x="22" y="49"/>
                  </a:lnTo>
                  <a:lnTo>
                    <a:pt x="15" y="50"/>
                  </a:lnTo>
                  <a:lnTo>
                    <a:pt x="10" y="43"/>
                  </a:lnTo>
                  <a:lnTo>
                    <a:pt x="5" y="3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1" name="Freeform 244"/>
            <p:cNvSpPr>
              <a:spLocks/>
            </p:cNvSpPr>
            <p:nvPr/>
          </p:nvSpPr>
          <p:spPr bwMode="gray">
            <a:xfrm>
              <a:off x="1883" y="3012"/>
              <a:ext cx="144" cy="181"/>
            </a:xfrm>
            <a:custGeom>
              <a:avLst/>
              <a:gdLst>
                <a:gd name="T0" fmla="*/ 2147483647 w 110"/>
                <a:gd name="T1" fmla="*/ 2147483647 h 139"/>
                <a:gd name="T2" fmla="*/ 2147483647 w 110"/>
                <a:gd name="T3" fmla="*/ 2147483647 h 139"/>
                <a:gd name="T4" fmla="*/ 2147483647 w 110"/>
                <a:gd name="T5" fmla="*/ 2147483647 h 139"/>
                <a:gd name="T6" fmla="*/ 2147483647 w 110"/>
                <a:gd name="T7" fmla="*/ 2147483647 h 139"/>
                <a:gd name="T8" fmla="*/ 2147483647 w 110"/>
                <a:gd name="T9" fmla="*/ 2147483647 h 139"/>
                <a:gd name="T10" fmla="*/ 2147483647 w 110"/>
                <a:gd name="T11" fmla="*/ 2147483647 h 139"/>
                <a:gd name="T12" fmla="*/ 2147483647 w 110"/>
                <a:gd name="T13" fmla="*/ 2147483647 h 139"/>
                <a:gd name="T14" fmla="*/ 2147483647 w 110"/>
                <a:gd name="T15" fmla="*/ 2147483647 h 139"/>
                <a:gd name="T16" fmla="*/ 2147483647 w 110"/>
                <a:gd name="T17" fmla="*/ 2147483647 h 139"/>
                <a:gd name="T18" fmla="*/ 2147483647 w 110"/>
                <a:gd name="T19" fmla="*/ 2147483647 h 139"/>
                <a:gd name="T20" fmla="*/ 2147483647 w 110"/>
                <a:gd name="T21" fmla="*/ 2147483647 h 139"/>
                <a:gd name="T22" fmla="*/ 2147483647 w 110"/>
                <a:gd name="T23" fmla="*/ 2147483647 h 139"/>
                <a:gd name="T24" fmla="*/ 2147483647 w 110"/>
                <a:gd name="T25" fmla="*/ 2147483647 h 139"/>
                <a:gd name="T26" fmla="*/ 2147483647 w 110"/>
                <a:gd name="T27" fmla="*/ 2147483647 h 139"/>
                <a:gd name="T28" fmla="*/ 2147483647 w 110"/>
                <a:gd name="T29" fmla="*/ 2147483647 h 139"/>
                <a:gd name="T30" fmla="*/ 0 w 110"/>
                <a:gd name="T31" fmla="*/ 2147483647 h 139"/>
                <a:gd name="T32" fmla="*/ 2147483647 w 110"/>
                <a:gd name="T33" fmla="*/ 2147483647 h 139"/>
                <a:gd name="T34" fmla="*/ 2147483647 w 110"/>
                <a:gd name="T35" fmla="*/ 2147483647 h 139"/>
                <a:gd name="T36" fmla="*/ 2147483647 w 110"/>
                <a:gd name="T37" fmla="*/ 2147483647 h 139"/>
                <a:gd name="T38" fmla="*/ 2147483647 w 110"/>
                <a:gd name="T39" fmla="*/ 2147483647 h 139"/>
                <a:gd name="T40" fmla="*/ 2147483647 w 110"/>
                <a:gd name="T41" fmla="*/ 2147483647 h 139"/>
                <a:gd name="T42" fmla="*/ 2147483647 w 110"/>
                <a:gd name="T43" fmla="*/ 2147483647 h 139"/>
                <a:gd name="T44" fmla="*/ 2147483647 w 110"/>
                <a:gd name="T45" fmla="*/ 2147483647 h 139"/>
                <a:gd name="T46" fmla="*/ 2147483647 w 110"/>
                <a:gd name="T47" fmla="*/ 2147483647 h 139"/>
                <a:gd name="T48" fmla="*/ 2147483647 w 110"/>
                <a:gd name="T49" fmla="*/ 2147483647 h 139"/>
                <a:gd name="T50" fmla="*/ 2147483647 w 110"/>
                <a:gd name="T51" fmla="*/ 0 h 139"/>
                <a:gd name="T52" fmla="*/ 2147483647 w 110"/>
                <a:gd name="T53" fmla="*/ 2147483647 h 139"/>
                <a:gd name="T54" fmla="*/ 2147483647 w 110"/>
                <a:gd name="T55" fmla="*/ 2147483647 h 139"/>
                <a:gd name="T56" fmla="*/ 2147483647 w 110"/>
                <a:gd name="T57" fmla="*/ 2147483647 h 139"/>
                <a:gd name="T58" fmla="*/ 2147483647 w 110"/>
                <a:gd name="T59" fmla="*/ 2147483647 h 139"/>
                <a:gd name="T60" fmla="*/ 2147483647 w 110"/>
                <a:gd name="T61" fmla="*/ 2147483647 h 139"/>
                <a:gd name="T62" fmla="*/ 2147483647 w 110"/>
                <a:gd name="T63" fmla="*/ 2147483647 h 139"/>
                <a:gd name="T64" fmla="*/ 2147483647 w 110"/>
                <a:gd name="T65" fmla="*/ 2147483647 h 139"/>
                <a:gd name="T66" fmla="*/ 2147483647 w 110"/>
                <a:gd name="T67" fmla="*/ 2147483647 h 139"/>
                <a:gd name="T68" fmla="*/ 2147483647 w 110"/>
                <a:gd name="T69" fmla="*/ 2147483647 h 139"/>
                <a:gd name="T70" fmla="*/ 2147483647 w 110"/>
                <a:gd name="T71" fmla="*/ 2147483647 h 139"/>
                <a:gd name="T72" fmla="*/ 2147483647 w 110"/>
                <a:gd name="T73" fmla="*/ 2147483647 h 139"/>
                <a:gd name="T74" fmla="*/ 2147483647 w 110"/>
                <a:gd name="T75" fmla="*/ 2147483647 h 139"/>
                <a:gd name="T76" fmla="*/ 2147483647 w 110"/>
                <a:gd name="T77" fmla="*/ 2147483647 h 139"/>
                <a:gd name="T78" fmla="*/ 2147483647 w 110"/>
                <a:gd name="T79" fmla="*/ 2147483647 h 139"/>
                <a:gd name="T80" fmla="*/ 2147483647 w 110"/>
                <a:gd name="T81" fmla="*/ 2147483647 h 139"/>
                <a:gd name="T82" fmla="*/ 2147483647 w 110"/>
                <a:gd name="T83" fmla="*/ 2147483647 h 139"/>
                <a:gd name="T84" fmla="*/ 2147483647 w 110"/>
                <a:gd name="T85" fmla="*/ 2147483647 h 139"/>
                <a:gd name="T86" fmla="*/ 2147483647 w 110"/>
                <a:gd name="T87" fmla="*/ 2147483647 h 139"/>
                <a:gd name="T88" fmla="*/ 2147483647 w 110"/>
                <a:gd name="T89" fmla="*/ 2147483647 h 13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0"/>
                <a:gd name="T136" fmla="*/ 0 h 139"/>
                <a:gd name="T137" fmla="*/ 110 w 110"/>
                <a:gd name="T138" fmla="*/ 139 h 13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0" h="139">
                  <a:moveTo>
                    <a:pt x="65" y="133"/>
                  </a:moveTo>
                  <a:lnTo>
                    <a:pt x="58" y="133"/>
                  </a:lnTo>
                  <a:lnTo>
                    <a:pt x="53" y="131"/>
                  </a:lnTo>
                  <a:lnTo>
                    <a:pt x="50" y="133"/>
                  </a:lnTo>
                  <a:lnTo>
                    <a:pt x="50" y="136"/>
                  </a:lnTo>
                  <a:lnTo>
                    <a:pt x="49" y="139"/>
                  </a:lnTo>
                  <a:lnTo>
                    <a:pt x="44" y="139"/>
                  </a:lnTo>
                  <a:lnTo>
                    <a:pt x="40" y="133"/>
                  </a:lnTo>
                  <a:lnTo>
                    <a:pt x="32" y="129"/>
                  </a:lnTo>
                  <a:lnTo>
                    <a:pt x="28" y="128"/>
                  </a:lnTo>
                  <a:lnTo>
                    <a:pt x="19" y="138"/>
                  </a:lnTo>
                  <a:lnTo>
                    <a:pt x="16" y="135"/>
                  </a:lnTo>
                  <a:lnTo>
                    <a:pt x="10" y="113"/>
                  </a:lnTo>
                  <a:lnTo>
                    <a:pt x="9" y="98"/>
                  </a:lnTo>
                  <a:lnTo>
                    <a:pt x="5" y="86"/>
                  </a:lnTo>
                  <a:lnTo>
                    <a:pt x="0" y="83"/>
                  </a:lnTo>
                  <a:lnTo>
                    <a:pt x="6" y="71"/>
                  </a:lnTo>
                  <a:lnTo>
                    <a:pt x="2" y="51"/>
                  </a:lnTo>
                  <a:lnTo>
                    <a:pt x="8" y="49"/>
                  </a:lnTo>
                  <a:lnTo>
                    <a:pt x="6" y="34"/>
                  </a:lnTo>
                  <a:lnTo>
                    <a:pt x="11" y="32"/>
                  </a:lnTo>
                  <a:lnTo>
                    <a:pt x="10" y="28"/>
                  </a:lnTo>
                  <a:lnTo>
                    <a:pt x="2" y="16"/>
                  </a:lnTo>
                  <a:lnTo>
                    <a:pt x="19" y="13"/>
                  </a:lnTo>
                  <a:lnTo>
                    <a:pt x="24" y="3"/>
                  </a:lnTo>
                  <a:lnTo>
                    <a:pt x="34" y="0"/>
                  </a:lnTo>
                  <a:lnTo>
                    <a:pt x="42" y="5"/>
                  </a:lnTo>
                  <a:lnTo>
                    <a:pt x="42" y="22"/>
                  </a:lnTo>
                  <a:lnTo>
                    <a:pt x="47" y="25"/>
                  </a:lnTo>
                  <a:lnTo>
                    <a:pt x="54" y="26"/>
                  </a:lnTo>
                  <a:lnTo>
                    <a:pt x="73" y="38"/>
                  </a:lnTo>
                  <a:lnTo>
                    <a:pt x="82" y="40"/>
                  </a:lnTo>
                  <a:lnTo>
                    <a:pt x="83" y="65"/>
                  </a:lnTo>
                  <a:lnTo>
                    <a:pt x="103" y="68"/>
                  </a:lnTo>
                  <a:lnTo>
                    <a:pt x="103" y="76"/>
                  </a:lnTo>
                  <a:lnTo>
                    <a:pt x="107" y="79"/>
                  </a:lnTo>
                  <a:lnTo>
                    <a:pt x="106" y="87"/>
                  </a:lnTo>
                  <a:lnTo>
                    <a:pt x="110" y="93"/>
                  </a:lnTo>
                  <a:lnTo>
                    <a:pt x="110" y="106"/>
                  </a:lnTo>
                  <a:lnTo>
                    <a:pt x="103" y="100"/>
                  </a:lnTo>
                  <a:lnTo>
                    <a:pt x="82" y="101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24"/>
                  </a:lnTo>
                  <a:lnTo>
                    <a:pt x="65" y="1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2" name="Freeform 245"/>
            <p:cNvSpPr>
              <a:spLocks/>
            </p:cNvSpPr>
            <p:nvPr/>
          </p:nvSpPr>
          <p:spPr bwMode="gray">
            <a:xfrm>
              <a:off x="2019" y="3300"/>
              <a:ext cx="65" cy="75"/>
            </a:xfrm>
            <a:custGeom>
              <a:avLst/>
              <a:gdLst>
                <a:gd name="T0" fmla="*/ 2147483647 w 50"/>
                <a:gd name="T1" fmla="*/ 2147483647 h 57"/>
                <a:gd name="T2" fmla="*/ 2147483647 w 50"/>
                <a:gd name="T3" fmla="*/ 2147483647 h 57"/>
                <a:gd name="T4" fmla="*/ 2147483647 w 50"/>
                <a:gd name="T5" fmla="*/ 2147483647 h 57"/>
                <a:gd name="T6" fmla="*/ 2147483647 w 50"/>
                <a:gd name="T7" fmla="*/ 2147483647 h 57"/>
                <a:gd name="T8" fmla="*/ 2147483647 w 50"/>
                <a:gd name="T9" fmla="*/ 2147483647 h 57"/>
                <a:gd name="T10" fmla="*/ 2147483647 w 50"/>
                <a:gd name="T11" fmla="*/ 2147483647 h 57"/>
                <a:gd name="T12" fmla="*/ 2147483647 w 50"/>
                <a:gd name="T13" fmla="*/ 2147483647 h 57"/>
                <a:gd name="T14" fmla="*/ 2147483647 w 50"/>
                <a:gd name="T15" fmla="*/ 2147483647 h 57"/>
                <a:gd name="T16" fmla="*/ 2147483647 w 50"/>
                <a:gd name="T17" fmla="*/ 2147483647 h 57"/>
                <a:gd name="T18" fmla="*/ 2147483647 w 50"/>
                <a:gd name="T19" fmla="*/ 2147483647 h 57"/>
                <a:gd name="T20" fmla="*/ 2147483647 w 50"/>
                <a:gd name="T21" fmla="*/ 2147483647 h 57"/>
                <a:gd name="T22" fmla="*/ 0 w 50"/>
                <a:gd name="T23" fmla="*/ 2147483647 h 57"/>
                <a:gd name="T24" fmla="*/ 2147483647 w 50"/>
                <a:gd name="T25" fmla="*/ 2147483647 h 57"/>
                <a:gd name="T26" fmla="*/ 2147483647 w 50"/>
                <a:gd name="T27" fmla="*/ 2147483647 h 57"/>
                <a:gd name="T28" fmla="*/ 2147483647 w 50"/>
                <a:gd name="T29" fmla="*/ 2147483647 h 57"/>
                <a:gd name="T30" fmla="*/ 2147483647 w 50"/>
                <a:gd name="T31" fmla="*/ 0 h 57"/>
                <a:gd name="T32" fmla="*/ 2147483647 w 50"/>
                <a:gd name="T33" fmla="*/ 2147483647 h 57"/>
                <a:gd name="T34" fmla="*/ 2147483647 w 50"/>
                <a:gd name="T35" fmla="*/ 2147483647 h 57"/>
                <a:gd name="T36" fmla="*/ 2147483647 w 50"/>
                <a:gd name="T37" fmla="*/ 2147483647 h 57"/>
                <a:gd name="T38" fmla="*/ 2147483647 w 50"/>
                <a:gd name="T39" fmla="*/ 2147483647 h 57"/>
                <a:gd name="T40" fmla="*/ 2147483647 w 50"/>
                <a:gd name="T41" fmla="*/ 2147483647 h 57"/>
                <a:gd name="T42" fmla="*/ 2147483647 w 50"/>
                <a:gd name="T43" fmla="*/ 2147483647 h 57"/>
                <a:gd name="T44" fmla="*/ 2147483647 w 50"/>
                <a:gd name="T45" fmla="*/ 2147483647 h 57"/>
                <a:gd name="T46" fmla="*/ 2147483647 w 50"/>
                <a:gd name="T47" fmla="*/ 2147483647 h 57"/>
                <a:gd name="T48" fmla="*/ 2147483647 w 50"/>
                <a:gd name="T49" fmla="*/ 2147483647 h 5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"/>
                <a:gd name="T76" fmla="*/ 0 h 57"/>
                <a:gd name="T77" fmla="*/ 50 w 50"/>
                <a:gd name="T78" fmla="*/ 57 h 5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" h="57">
                  <a:moveTo>
                    <a:pt x="50" y="37"/>
                  </a:moveTo>
                  <a:lnTo>
                    <a:pt x="50" y="39"/>
                  </a:lnTo>
                  <a:lnTo>
                    <a:pt x="44" y="47"/>
                  </a:lnTo>
                  <a:lnTo>
                    <a:pt x="44" y="49"/>
                  </a:lnTo>
                  <a:lnTo>
                    <a:pt x="38" y="57"/>
                  </a:lnTo>
                  <a:lnTo>
                    <a:pt x="30" y="57"/>
                  </a:lnTo>
                  <a:lnTo>
                    <a:pt x="23" y="55"/>
                  </a:lnTo>
                  <a:lnTo>
                    <a:pt x="15" y="51"/>
                  </a:lnTo>
                  <a:lnTo>
                    <a:pt x="10" y="52"/>
                  </a:lnTo>
                  <a:lnTo>
                    <a:pt x="5" y="46"/>
                  </a:lnTo>
                  <a:lnTo>
                    <a:pt x="1" y="47"/>
                  </a:lnTo>
                  <a:lnTo>
                    <a:pt x="0" y="39"/>
                  </a:lnTo>
                  <a:lnTo>
                    <a:pt x="4" y="34"/>
                  </a:lnTo>
                  <a:lnTo>
                    <a:pt x="5" y="13"/>
                  </a:lnTo>
                  <a:lnTo>
                    <a:pt x="5" y="8"/>
                  </a:lnTo>
                  <a:lnTo>
                    <a:pt x="9" y="0"/>
                  </a:lnTo>
                  <a:lnTo>
                    <a:pt x="14" y="3"/>
                  </a:lnTo>
                  <a:lnTo>
                    <a:pt x="17" y="9"/>
                  </a:lnTo>
                  <a:lnTo>
                    <a:pt x="28" y="10"/>
                  </a:lnTo>
                  <a:lnTo>
                    <a:pt x="32" y="12"/>
                  </a:lnTo>
                  <a:lnTo>
                    <a:pt x="34" y="18"/>
                  </a:lnTo>
                  <a:lnTo>
                    <a:pt x="40" y="21"/>
                  </a:lnTo>
                  <a:lnTo>
                    <a:pt x="43" y="26"/>
                  </a:lnTo>
                  <a:lnTo>
                    <a:pt x="49" y="32"/>
                  </a:lnTo>
                  <a:lnTo>
                    <a:pt x="50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3" name="Freeform 246"/>
            <p:cNvSpPr>
              <a:spLocks/>
            </p:cNvSpPr>
            <p:nvPr/>
          </p:nvSpPr>
          <p:spPr bwMode="gray">
            <a:xfrm>
              <a:off x="1746" y="2883"/>
              <a:ext cx="152" cy="249"/>
            </a:xfrm>
            <a:custGeom>
              <a:avLst/>
              <a:gdLst>
                <a:gd name="T0" fmla="*/ 2147483647 w 116"/>
                <a:gd name="T1" fmla="*/ 2147483647 h 191"/>
                <a:gd name="T2" fmla="*/ 2147483647 w 116"/>
                <a:gd name="T3" fmla="*/ 2147483647 h 191"/>
                <a:gd name="T4" fmla="*/ 2147483647 w 116"/>
                <a:gd name="T5" fmla="*/ 2147483647 h 191"/>
                <a:gd name="T6" fmla="*/ 2147483647 w 116"/>
                <a:gd name="T7" fmla="*/ 2147483647 h 191"/>
                <a:gd name="T8" fmla="*/ 2147483647 w 116"/>
                <a:gd name="T9" fmla="*/ 2147483647 h 191"/>
                <a:gd name="T10" fmla="*/ 2147483647 w 116"/>
                <a:gd name="T11" fmla="*/ 0 h 191"/>
                <a:gd name="T12" fmla="*/ 2147483647 w 116"/>
                <a:gd name="T13" fmla="*/ 2147483647 h 191"/>
                <a:gd name="T14" fmla="*/ 2147483647 w 116"/>
                <a:gd name="T15" fmla="*/ 2147483647 h 191"/>
                <a:gd name="T16" fmla="*/ 2147483647 w 116"/>
                <a:gd name="T17" fmla="*/ 2147483647 h 191"/>
                <a:gd name="T18" fmla="*/ 2147483647 w 116"/>
                <a:gd name="T19" fmla="*/ 2147483647 h 191"/>
                <a:gd name="T20" fmla="*/ 2147483647 w 116"/>
                <a:gd name="T21" fmla="*/ 2147483647 h 191"/>
                <a:gd name="T22" fmla="*/ 2147483647 w 116"/>
                <a:gd name="T23" fmla="*/ 2147483647 h 191"/>
                <a:gd name="T24" fmla="*/ 2147483647 w 116"/>
                <a:gd name="T25" fmla="*/ 2147483647 h 191"/>
                <a:gd name="T26" fmla="*/ 2147483647 w 116"/>
                <a:gd name="T27" fmla="*/ 2147483647 h 191"/>
                <a:gd name="T28" fmla="*/ 2147483647 w 116"/>
                <a:gd name="T29" fmla="*/ 2147483647 h 191"/>
                <a:gd name="T30" fmla="*/ 2147483647 w 116"/>
                <a:gd name="T31" fmla="*/ 2147483647 h 191"/>
                <a:gd name="T32" fmla="*/ 2147483647 w 116"/>
                <a:gd name="T33" fmla="*/ 2147483647 h 191"/>
                <a:gd name="T34" fmla="*/ 2147483647 w 116"/>
                <a:gd name="T35" fmla="*/ 2147483647 h 191"/>
                <a:gd name="T36" fmla="*/ 2147483647 w 116"/>
                <a:gd name="T37" fmla="*/ 2147483647 h 191"/>
                <a:gd name="T38" fmla="*/ 2147483647 w 116"/>
                <a:gd name="T39" fmla="*/ 2147483647 h 191"/>
                <a:gd name="T40" fmla="*/ 2147483647 w 116"/>
                <a:gd name="T41" fmla="*/ 2147483647 h 191"/>
                <a:gd name="T42" fmla="*/ 2147483647 w 116"/>
                <a:gd name="T43" fmla="*/ 2147483647 h 191"/>
                <a:gd name="T44" fmla="*/ 2147483647 w 116"/>
                <a:gd name="T45" fmla="*/ 2147483647 h 191"/>
                <a:gd name="T46" fmla="*/ 2147483647 w 116"/>
                <a:gd name="T47" fmla="*/ 2147483647 h 191"/>
                <a:gd name="T48" fmla="*/ 2147483647 w 116"/>
                <a:gd name="T49" fmla="*/ 2147483647 h 191"/>
                <a:gd name="T50" fmla="*/ 2147483647 w 116"/>
                <a:gd name="T51" fmla="*/ 2147483647 h 191"/>
                <a:gd name="T52" fmla="*/ 2147483647 w 116"/>
                <a:gd name="T53" fmla="*/ 2147483647 h 191"/>
                <a:gd name="T54" fmla="*/ 2147483647 w 116"/>
                <a:gd name="T55" fmla="*/ 2147483647 h 191"/>
                <a:gd name="T56" fmla="*/ 0 w 116"/>
                <a:gd name="T57" fmla="*/ 2147483647 h 191"/>
                <a:gd name="T58" fmla="*/ 2147483647 w 116"/>
                <a:gd name="T59" fmla="*/ 2147483647 h 191"/>
                <a:gd name="T60" fmla="*/ 2147483647 w 116"/>
                <a:gd name="T61" fmla="*/ 2147483647 h 191"/>
                <a:gd name="T62" fmla="*/ 2147483647 w 116"/>
                <a:gd name="T63" fmla="*/ 2147483647 h 1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6"/>
                <a:gd name="T97" fmla="*/ 0 h 191"/>
                <a:gd name="T98" fmla="*/ 116 w 116"/>
                <a:gd name="T99" fmla="*/ 191 h 1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6" h="191">
                  <a:moveTo>
                    <a:pt x="4" y="40"/>
                  </a:moveTo>
                  <a:lnTo>
                    <a:pt x="5" y="45"/>
                  </a:lnTo>
                  <a:lnTo>
                    <a:pt x="13" y="45"/>
                  </a:lnTo>
                  <a:lnTo>
                    <a:pt x="17" y="49"/>
                  </a:lnTo>
                  <a:lnTo>
                    <a:pt x="22" y="49"/>
                  </a:lnTo>
                  <a:lnTo>
                    <a:pt x="21" y="43"/>
                  </a:lnTo>
                  <a:lnTo>
                    <a:pt x="33" y="29"/>
                  </a:lnTo>
                  <a:lnTo>
                    <a:pt x="44" y="23"/>
                  </a:lnTo>
                  <a:lnTo>
                    <a:pt x="52" y="13"/>
                  </a:lnTo>
                  <a:lnTo>
                    <a:pt x="53" y="8"/>
                  </a:lnTo>
                  <a:lnTo>
                    <a:pt x="45" y="2"/>
                  </a:lnTo>
                  <a:lnTo>
                    <a:pt x="48" y="0"/>
                  </a:lnTo>
                  <a:lnTo>
                    <a:pt x="56" y="1"/>
                  </a:lnTo>
                  <a:lnTo>
                    <a:pt x="71" y="23"/>
                  </a:lnTo>
                  <a:lnTo>
                    <a:pt x="90" y="22"/>
                  </a:lnTo>
                  <a:lnTo>
                    <a:pt x="99" y="26"/>
                  </a:lnTo>
                  <a:lnTo>
                    <a:pt x="97" y="37"/>
                  </a:lnTo>
                  <a:lnTo>
                    <a:pt x="102" y="37"/>
                  </a:lnTo>
                  <a:lnTo>
                    <a:pt x="102" y="44"/>
                  </a:lnTo>
                  <a:lnTo>
                    <a:pt x="95" y="45"/>
                  </a:lnTo>
                  <a:lnTo>
                    <a:pt x="83" y="49"/>
                  </a:lnTo>
                  <a:lnTo>
                    <a:pt x="69" y="57"/>
                  </a:lnTo>
                  <a:lnTo>
                    <a:pt x="71" y="66"/>
                  </a:lnTo>
                  <a:lnTo>
                    <a:pt x="66" y="74"/>
                  </a:lnTo>
                  <a:lnTo>
                    <a:pt x="71" y="87"/>
                  </a:lnTo>
                  <a:lnTo>
                    <a:pt x="72" y="93"/>
                  </a:lnTo>
                  <a:lnTo>
                    <a:pt x="77" y="99"/>
                  </a:lnTo>
                  <a:lnTo>
                    <a:pt x="94" y="97"/>
                  </a:lnTo>
                  <a:lnTo>
                    <a:pt x="97" y="100"/>
                  </a:lnTo>
                  <a:lnTo>
                    <a:pt x="97" y="112"/>
                  </a:lnTo>
                  <a:lnTo>
                    <a:pt x="107" y="115"/>
                  </a:lnTo>
                  <a:lnTo>
                    <a:pt x="115" y="127"/>
                  </a:lnTo>
                  <a:lnTo>
                    <a:pt x="116" y="131"/>
                  </a:lnTo>
                  <a:lnTo>
                    <a:pt x="111" y="133"/>
                  </a:lnTo>
                  <a:lnTo>
                    <a:pt x="113" y="148"/>
                  </a:lnTo>
                  <a:lnTo>
                    <a:pt x="107" y="150"/>
                  </a:lnTo>
                  <a:lnTo>
                    <a:pt x="111" y="170"/>
                  </a:lnTo>
                  <a:lnTo>
                    <a:pt x="105" y="182"/>
                  </a:lnTo>
                  <a:lnTo>
                    <a:pt x="98" y="191"/>
                  </a:lnTo>
                  <a:lnTo>
                    <a:pt x="84" y="176"/>
                  </a:lnTo>
                  <a:lnTo>
                    <a:pt x="78" y="176"/>
                  </a:lnTo>
                  <a:lnTo>
                    <a:pt x="69" y="164"/>
                  </a:lnTo>
                  <a:lnTo>
                    <a:pt x="62" y="164"/>
                  </a:lnTo>
                  <a:lnTo>
                    <a:pt x="53" y="156"/>
                  </a:lnTo>
                  <a:lnTo>
                    <a:pt x="51" y="154"/>
                  </a:lnTo>
                  <a:lnTo>
                    <a:pt x="44" y="150"/>
                  </a:lnTo>
                  <a:lnTo>
                    <a:pt x="42" y="140"/>
                  </a:lnTo>
                  <a:lnTo>
                    <a:pt x="43" y="135"/>
                  </a:lnTo>
                  <a:lnTo>
                    <a:pt x="37" y="128"/>
                  </a:lnTo>
                  <a:lnTo>
                    <a:pt x="36" y="124"/>
                  </a:lnTo>
                  <a:lnTo>
                    <a:pt x="32" y="119"/>
                  </a:lnTo>
                  <a:lnTo>
                    <a:pt x="31" y="115"/>
                  </a:lnTo>
                  <a:lnTo>
                    <a:pt x="26" y="104"/>
                  </a:lnTo>
                  <a:lnTo>
                    <a:pt x="22" y="88"/>
                  </a:lnTo>
                  <a:lnTo>
                    <a:pt x="16" y="81"/>
                  </a:lnTo>
                  <a:lnTo>
                    <a:pt x="10" y="67"/>
                  </a:lnTo>
                  <a:lnTo>
                    <a:pt x="4" y="66"/>
                  </a:lnTo>
                  <a:lnTo>
                    <a:pt x="0" y="60"/>
                  </a:lnTo>
                  <a:lnTo>
                    <a:pt x="3" y="58"/>
                  </a:lnTo>
                  <a:lnTo>
                    <a:pt x="3" y="56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0" y="43"/>
                  </a:lnTo>
                  <a:lnTo>
                    <a:pt x="4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4" name="Freeform 247"/>
            <p:cNvSpPr>
              <a:spLocks/>
            </p:cNvSpPr>
            <p:nvPr/>
          </p:nvSpPr>
          <p:spPr bwMode="gray">
            <a:xfrm>
              <a:off x="1752" y="2869"/>
              <a:ext cx="63" cy="78"/>
            </a:xfrm>
            <a:custGeom>
              <a:avLst/>
              <a:gdLst>
                <a:gd name="T0" fmla="*/ 2147483647 w 49"/>
                <a:gd name="T1" fmla="*/ 2147483647 h 60"/>
                <a:gd name="T2" fmla="*/ 2147483647 w 49"/>
                <a:gd name="T3" fmla="*/ 2147483647 h 60"/>
                <a:gd name="T4" fmla="*/ 2147483647 w 49"/>
                <a:gd name="T5" fmla="*/ 2147483647 h 60"/>
                <a:gd name="T6" fmla="*/ 2147483647 w 49"/>
                <a:gd name="T7" fmla="*/ 2147483647 h 60"/>
                <a:gd name="T8" fmla="*/ 2147483647 w 49"/>
                <a:gd name="T9" fmla="*/ 2147483647 h 60"/>
                <a:gd name="T10" fmla="*/ 2147483647 w 49"/>
                <a:gd name="T11" fmla="*/ 2147483647 h 60"/>
                <a:gd name="T12" fmla="*/ 2147483647 w 49"/>
                <a:gd name="T13" fmla="*/ 2147483647 h 60"/>
                <a:gd name="T14" fmla="*/ 2147483647 w 49"/>
                <a:gd name="T15" fmla="*/ 2147483647 h 60"/>
                <a:gd name="T16" fmla="*/ 2147483647 w 49"/>
                <a:gd name="T17" fmla="*/ 2147483647 h 60"/>
                <a:gd name="T18" fmla="*/ 2147483647 w 49"/>
                <a:gd name="T19" fmla="*/ 2147483647 h 60"/>
                <a:gd name="T20" fmla="*/ 0 w 49"/>
                <a:gd name="T21" fmla="*/ 2147483647 h 60"/>
                <a:gd name="T22" fmla="*/ 0 w 49"/>
                <a:gd name="T23" fmla="*/ 2147483647 h 60"/>
                <a:gd name="T24" fmla="*/ 2147483647 w 49"/>
                <a:gd name="T25" fmla="*/ 2147483647 h 60"/>
                <a:gd name="T26" fmla="*/ 2147483647 w 49"/>
                <a:gd name="T27" fmla="*/ 2147483647 h 60"/>
                <a:gd name="T28" fmla="*/ 2147483647 w 49"/>
                <a:gd name="T29" fmla="*/ 2147483647 h 60"/>
                <a:gd name="T30" fmla="*/ 2147483647 w 49"/>
                <a:gd name="T31" fmla="*/ 2147483647 h 60"/>
                <a:gd name="T32" fmla="*/ 2147483647 w 49"/>
                <a:gd name="T33" fmla="*/ 2147483647 h 60"/>
                <a:gd name="T34" fmla="*/ 2147483647 w 49"/>
                <a:gd name="T35" fmla="*/ 2147483647 h 60"/>
                <a:gd name="T36" fmla="*/ 0 w 49"/>
                <a:gd name="T37" fmla="*/ 2147483647 h 60"/>
                <a:gd name="T38" fmla="*/ 0 w 49"/>
                <a:gd name="T39" fmla="*/ 2147483647 h 60"/>
                <a:gd name="T40" fmla="*/ 2147483647 w 49"/>
                <a:gd name="T41" fmla="*/ 2147483647 h 60"/>
                <a:gd name="T42" fmla="*/ 2147483647 w 49"/>
                <a:gd name="T43" fmla="*/ 2147483647 h 60"/>
                <a:gd name="T44" fmla="*/ 2147483647 w 49"/>
                <a:gd name="T45" fmla="*/ 2147483647 h 60"/>
                <a:gd name="T46" fmla="*/ 2147483647 w 49"/>
                <a:gd name="T47" fmla="*/ 0 h 60"/>
                <a:gd name="T48" fmla="*/ 2147483647 w 49"/>
                <a:gd name="T49" fmla="*/ 0 h 60"/>
                <a:gd name="T50" fmla="*/ 2147483647 w 49"/>
                <a:gd name="T51" fmla="*/ 2147483647 h 60"/>
                <a:gd name="T52" fmla="*/ 2147483647 w 49"/>
                <a:gd name="T53" fmla="*/ 2147483647 h 60"/>
                <a:gd name="T54" fmla="*/ 2147483647 w 49"/>
                <a:gd name="T55" fmla="*/ 2147483647 h 60"/>
                <a:gd name="T56" fmla="*/ 2147483647 w 49"/>
                <a:gd name="T57" fmla="*/ 2147483647 h 60"/>
                <a:gd name="T58" fmla="*/ 2147483647 w 49"/>
                <a:gd name="T59" fmla="*/ 2147483647 h 60"/>
                <a:gd name="T60" fmla="*/ 2147483647 w 49"/>
                <a:gd name="T61" fmla="*/ 2147483647 h 6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60"/>
                <a:gd name="T95" fmla="*/ 49 w 49"/>
                <a:gd name="T96" fmla="*/ 60 h 6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60">
                  <a:moveTo>
                    <a:pt x="41" y="13"/>
                  </a:moveTo>
                  <a:lnTo>
                    <a:pt x="49" y="19"/>
                  </a:lnTo>
                  <a:lnTo>
                    <a:pt x="48" y="24"/>
                  </a:lnTo>
                  <a:lnTo>
                    <a:pt x="40" y="34"/>
                  </a:lnTo>
                  <a:lnTo>
                    <a:pt x="29" y="40"/>
                  </a:lnTo>
                  <a:lnTo>
                    <a:pt x="17" y="54"/>
                  </a:lnTo>
                  <a:lnTo>
                    <a:pt x="18" y="60"/>
                  </a:lnTo>
                  <a:lnTo>
                    <a:pt x="13" y="60"/>
                  </a:lnTo>
                  <a:lnTo>
                    <a:pt x="9" y="56"/>
                  </a:lnTo>
                  <a:lnTo>
                    <a:pt x="1" y="56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5" y="47"/>
                  </a:lnTo>
                  <a:lnTo>
                    <a:pt x="10" y="46"/>
                  </a:lnTo>
                  <a:lnTo>
                    <a:pt x="11" y="41"/>
                  </a:lnTo>
                  <a:lnTo>
                    <a:pt x="9" y="35"/>
                  </a:lnTo>
                  <a:lnTo>
                    <a:pt x="7" y="39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19"/>
                  </a:lnTo>
                  <a:lnTo>
                    <a:pt x="5" y="1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3" y="5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41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5" name="Freeform 248"/>
            <p:cNvSpPr>
              <a:spLocks/>
            </p:cNvSpPr>
            <p:nvPr/>
          </p:nvSpPr>
          <p:spPr bwMode="gray">
            <a:xfrm>
              <a:off x="1628" y="2881"/>
              <a:ext cx="7" cy="17"/>
            </a:xfrm>
            <a:custGeom>
              <a:avLst/>
              <a:gdLst>
                <a:gd name="T0" fmla="*/ 0 w 6"/>
                <a:gd name="T1" fmla="*/ 2147483647 h 13"/>
                <a:gd name="T2" fmla="*/ 2147483647 w 6"/>
                <a:gd name="T3" fmla="*/ 0 h 13"/>
                <a:gd name="T4" fmla="*/ 2147483647 w 6"/>
                <a:gd name="T5" fmla="*/ 2147483647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0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0" y="2"/>
                  </a:moveTo>
                  <a:lnTo>
                    <a:pt x="1" y="0"/>
                  </a:lnTo>
                  <a:lnTo>
                    <a:pt x="6" y="3"/>
                  </a:lnTo>
                  <a:lnTo>
                    <a:pt x="6" y="9"/>
                  </a:lnTo>
                  <a:lnTo>
                    <a:pt x="0" y="13"/>
                  </a:lnTo>
                  <a:lnTo>
                    <a:pt x="2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6" name="Freeform 249"/>
            <p:cNvSpPr>
              <a:spLocks/>
            </p:cNvSpPr>
            <p:nvPr/>
          </p:nvSpPr>
          <p:spPr bwMode="gray">
            <a:xfrm>
              <a:off x="1639" y="2887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7" name="Freeform 250"/>
            <p:cNvSpPr>
              <a:spLocks/>
            </p:cNvSpPr>
            <p:nvPr/>
          </p:nvSpPr>
          <p:spPr bwMode="gray">
            <a:xfrm>
              <a:off x="1810" y="3122"/>
              <a:ext cx="102" cy="576"/>
            </a:xfrm>
            <a:custGeom>
              <a:avLst/>
              <a:gdLst>
                <a:gd name="T0" fmla="*/ 2147483647 w 78"/>
                <a:gd name="T1" fmla="*/ 2147483647 h 442"/>
                <a:gd name="T2" fmla="*/ 2147483647 w 78"/>
                <a:gd name="T3" fmla="*/ 2147483647 h 442"/>
                <a:gd name="T4" fmla="*/ 2147483647 w 78"/>
                <a:gd name="T5" fmla="*/ 2147483647 h 442"/>
                <a:gd name="T6" fmla="*/ 2147483647 w 78"/>
                <a:gd name="T7" fmla="*/ 2147483647 h 442"/>
                <a:gd name="T8" fmla="*/ 2147483647 w 78"/>
                <a:gd name="T9" fmla="*/ 2147483647 h 442"/>
                <a:gd name="T10" fmla="*/ 2147483647 w 78"/>
                <a:gd name="T11" fmla="*/ 2147483647 h 442"/>
                <a:gd name="T12" fmla="*/ 2147483647 w 78"/>
                <a:gd name="T13" fmla="*/ 2147483647 h 442"/>
                <a:gd name="T14" fmla="*/ 2147483647 w 78"/>
                <a:gd name="T15" fmla="*/ 2147483647 h 442"/>
                <a:gd name="T16" fmla="*/ 2147483647 w 78"/>
                <a:gd name="T17" fmla="*/ 2147483647 h 442"/>
                <a:gd name="T18" fmla="*/ 2147483647 w 78"/>
                <a:gd name="T19" fmla="*/ 2147483647 h 442"/>
                <a:gd name="T20" fmla="*/ 2147483647 w 78"/>
                <a:gd name="T21" fmla="*/ 2147483647 h 442"/>
                <a:gd name="T22" fmla="*/ 2147483647 w 78"/>
                <a:gd name="T23" fmla="*/ 2147483647 h 442"/>
                <a:gd name="T24" fmla="*/ 2147483647 w 78"/>
                <a:gd name="T25" fmla="*/ 2147483647 h 442"/>
                <a:gd name="T26" fmla="*/ 2147483647 w 78"/>
                <a:gd name="T27" fmla="*/ 2147483647 h 442"/>
                <a:gd name="T28" fmla="*/ 2147483647 w 78"/>
                <a:gd name="T29" fmla="*/ 2147483647 h 442"/>
                <a:gd name="T30" fmla="*/ 2147483647 w 78"/>
                <a:gd name="T31" fmla="*/ 2147483647 h 442"/>
                <a:gd name="T32" fmla="*/ 0 w 78"/>
                <a:gd name="T33" fmla="*/ 2147483647 h 442"/>
                <a:gd name="T34" fmla="*/ 2147483647 w 78"/>
                <a:gd name="T35" fmla="*/ 2147483647 h 442"/>
                <a:gd name="T36" fmla="*/ 2147483647 w 78"/>
                <a:gd name="T37" fmla="*/ 2147483647 h 442"/>
                <a:gd name="T38" fmla="*/ 2147483647 w 78"/>
                <a:gd name="T39" fmla="*/ 2147483647 h 442"/>
                <a:gd name="T40" fmla="*/ 2147483647 w 78"/>
                <a:gd name="T41" fmla="*/ 2147483647 h 442"/>
                <a:gd name="T42" fmla="*/ 2147483647 w 78"/>
                <a:gd name="T43" fmla="*/ 2147483647 h 442"/>
                <a:gd name="T44" fmla="*/ 2147483647 w 78"/>
                <a:gd name="T45" fmla="*/ 2147483647 h 442"/>
                <a:gd name="T46" fmla="*/ 2147483647 w 78"/>
                <a:gd name="T47" fmla="*/ 2147483647 h 442"/>
                <a:gd name="T48" fmla="*/ 2147483647 w 78"/>
                <a:gd name="T49" fmla="*/ 2147483647 h 442"/>
                <a:gd name="T50" fmla="*/ 2147483647 w 78"/>
                <a:gd name="T51" fmla="*/ 2147483647 h 442"/>
                <a:gd name="T52" fmla="*/ 2147483647 w 78"/>
                <a:gd name="T53" fmla="*/ 2147483647 h 442"/>
                <a:gd name="T54" fmla="*/ 2147483647 w 78"/>
                <a:gd name="T55" fmla="*/ 2147483647 h 442"/>
                <a:gd name="T56" fmla="*/ 2147483647 w 78"/>
                <a:gd name="T57" fmla="*/ 2147483647 h 442"/>
                <a:gd name="T58" fmla="*/ 2147483647 w 78"/>
                <a:gd name="T59" fmla="*/ 2147483647 h 442"/>
                <a:gd name="T60" fmla="*/ 2147483647 w 78"/>
                <a:gd name="T61" fmla="*/ 2147483647 h 442"/>
                <a:gd name="T62" fmla="*/ 2147483647 w 78"/>
                <a:gd name="T63" fmla="*/ 2147483647 h 442"/>
                <a:gd name="T64" fmla="*/ 2147483647 w 78"/>
                <a:gd name="T65" fmla="*/ 2147483647 h 442"/>
                <a:gd name="T66" fmla="*/ 2147483647 w 78"/>
                <a:gd name="T67" fmla="*/ 2147483647 h 442"/>
                <a:gd name="T68" fmla="*/ 2147483647 w 78"/>
                <a:gd name="T69" fmla="*/ 2147483647 h 442"/>
                <a:gd name="T70" fmla="*/ 2147483647 w 78"/>
                <a:gd name="T71" fmla="*/ 2147483647 h 442"/>
                <a:gd name="T72" fmla="*/ 2147483647 w 78"/>
                <a:gd name="T73" fmla="*/ 2147483647 h 442"/>
                <a:gd name="T74" fmla="*/ 2147483647 w 78"/>
                <a:gd name="T75" fmla="*/ 2147483647 h 442"/>
                <a:gd name="T76" fmla="*/ 2147483647 w 78"/>
                <a:gd name="T77" fmla="*/ 2147483647 h 442"/>
                <a:gd name="T78" fmla="*/ 2147483647 w 78"/>
                <a:gd name="T79" fmla="*/ 2147483647 h 442"/>
                <a:gd name="T80" fmla="*/ 2147483647 w 78"/>
                <a:gd name="T81" fmla="*/ 2147483647 h 442"/>
                <a:gd name="T82" fmla="*/ 2147483647 w 78"/>
                <a:gd name="T83" fmla="*/ 2147483647 h 442"/>
                <a:gd name="T84" fmla="*/ 2147483647 w 78"/>
                <a:gd name="T85" fmla="*/ 2147483647 h 442"/>
                <a:gd name="T86" fmla="*/ 2147483647 w 78"/>
                <a:gd name="T87" fmla="*/ 2147483647 h 442"/>
                <a:gd name="T88" fmla="*/ 2147483647 w 78"/>
                <a:gd name="T89" fmla="*/ 2147483647 h 442"/>
                <a:gd name="T90" fmla="*/ 2147483647 w 78"/>
                <a:gd name="T91" fmla="*/ 2147483647 h 442"/>
                <a:gd name="T92" fmla="*/ 2147483647 w 78"/>
                <a:gd name="T93" fmla="*/ 2147483647 h 442"/>
                <a:gd name="T94" fmla="*/ 2147483647 w 78"/>
                <a:gd name="T95" fmla="*/ 2147483647 h 4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442"/>
                <a:gd name="T146" fmla="*/ 78 w 78"/>
                <a:gd name="T147" fmla="*/ 442 h 44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442">
                  <a:moveTo>
                    <a:pt x="56" y="419"/>
                  </a:moveTo>
                  <a:lnTo>
                    <a:pt x="55" y="423"/>
                  </a:lnTo>
                  <a:lnTo>
                    <a:pt x="52" y="425"/>
                  </a:lnTo>
                  <a:lnTo>
                    <a:pt x="47" y="425"/>
                  </a:lnTo>
                  <a:lnTo>
                    <a:pt x="43" y="428"/>
                  </a:lnTo>
                  <a:lnTo>
                    <a:pt x="45" y="432"/>
                  </a:lnTo>
                  <a:lnTo>
                    <a:pt x="42" y="436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29" y="439"/>
                  </a:lnTo>
                  <a:lnTo>
                    <a:pt x="29" y="436"/>
                  </a:lnTo>
                  <a:lnTo>
                    <a:pt x="37" y="436"/>
                  </a:lnTo>
                  <a:lnTo>
                    <a:pt x="38" y="433"/>
                  </a:lnTo>
                  <a:lnTo>
                    <a:pt x="38" y="428"/>
                  </a:lnTo>
                  <a:lnTo>
                    <a:pt x="33" y="424"/>
                  </a:lnTo>
                  <a:lnTo>
                    <a:pt x="26" y="425"/>
                  </a:lnTo>
                  <a:lnTo>
                    <a:pt x="22" y="430"/>
                  </a:lnTo>
                  <a:lnTo>
                    <a:pt x="19" y="430"/>
                  </a:lnTo>
                  <a:lnTo>
                    <a:pt x="18" y="421"/>
                  </a:lnTo>
                  <a:lnTo>
                    <a:pt x="26" y="419"/>
                  </a:lnTo>
                  <a:lnTo>
                    <a:pt x="25" y="415"/>
                  </a:lnTo>
                  <a:lnTo>
                    <a:pt x="23" y="415"/>
                  </a:lnTo>
                  <a:lnTo>
                    <a:pt x="21" y="417"/>
                  </a:lnTo>
                  <a:lnTo>
                    <a:pt x="17" y="415"/>
                  </a:lnTo>
                  <a:lnTo>
                    <a:pt x="17" y="408"/>
                  </a:lnTo>
                  <a:lnTo>
                    <a:pt x="13" y="404"/>
                  </a:lnTo>
                  <a:lnTo>
                    <a:pt x="16" y="402"/>
                  </a:lnTo>
                  <a:lnTo>
                    <a:pt x="14" y="397"/>
                  </a:lnTo>
                  <a:lnTo>
                    <a:pt x="10" y="396"/>
                  </a:lnTo>
                  <a:lnTo>
                    <a:pt x="12" y="392"/>
                  </a:lnTo>
                  <a:lnTo>
                    <a:pt x="10" y="383"/>
                  </a:lnTo>
                  <a:lnTo>
                    <a:pt x="11" y="376"/>
                  </a:lnTo>
                  <a:lnTo>
                    <a:pt x="12" y="370"/>
                  </a:lnTo>
                  <a:lnTo>
                    <a:pt x="10" y="366"/>
                  </a:lnTo>
                  <a:lnTo>
                    <a:pt x="10" y="365"/>
                  </a:lnTo>
                  <a:lnTo>
                    <a:pt x="11" y="364"/>
                  </a:lnTo>
                  <a:lnTo>
                    <a:pt x="12" y="364"/>
                  </a:lnTo>
                  <a:lnTo>
                    <a:pt x="14" y="366"/>
                  </a:lnTo>
                  <a:lnTo>
                    <a:pt x="15" y="368"/>
                  </a:lnTo>
                  <a:lnTo>
                    <a:pt x="18" y="366"/>
                  </a:lnTo>
                  <a:lnTo>
                    <a:pt x="18" y="361"/>
                  </a:lnTo>
                  <a:lnTo>
                    <a:pt x="16" y="358"/>
                  </a:lnTo>
                  <a:lnTo>
                    <a:pt x="13" y="361"/>
                  </a:lnTo>
                  <a:lnTo>
                    <a:pt x="10" y="361"/>
                  </a:lnTo>
                  <a:lnTo>
                    <a:pt x="8" y="360"/>
                  </a:lnTo>
                  <a:lnTo>
                    <a:pt x="10" y="357"/>
                  </a:lnTo>
                  <a:lnTo>
                    <a:pt x="13" y="353"/>
                  </a:lnTo>
                  <a:lnTo>
                    <a:pt x="12" y="350"/>
                  </a:lnTo>
                  <a:lnTo>
                    <a:pt x="7" y="349"/>
                  </a:lnTo>
                  <a:lnTo>
                    <a:pt x="6" y="347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5" y="341"/>
                  </a:lnTo>
                  <a:lnTo>
                    <a:pt x="6" y="336"/>
                  </a:lnTo>
                  <a:lnTo>
                    <a:pt x="12" y="337"/>
                  </a:lnTo>
                  <a:lnTo>
                    <a:pt x="12" y="343"/>
                  </a:lnTo>
                  <a:lnTo>
                    <a:pt x="13" y="347"/>
                  </a:lnTo>
                  <a:lnTo>
                    <a:pt x="16" y="346"/>
                  </a:lnTo>
                  <a:lnTo>
                    <a:pt x="18" y="340"/>
                  </a:lnTo>
                  <a:lnTo>
                    <a:pt x="18" y="334"/>
                  </a:lnTo>
                  <a:lnTo>
                    <a:pt x="20" y="332"/>
                  </a:lnTo>
                  <a:lnTo>
                    <a:pt x="23" y="330"/>
                  </a:lnTo>
                  <a:lnTo>
                    <a:pt x="23" y="325"/>
                  </a:lnTo>
                  <a:lnTo>
                    <a:pt x="27" y="322"/>
                  </a:lnTo>
                  <a:lnTo>
                    <a:pt x="26" y="319"/>
                  </a:lnTo>
                  <a:lnTo>
                    <a:pt x="23" y="317"/>
                  </a:lnTo>
                  <a:lnTo>
                    <a:pt x="21" y="311"/>
                  </a:lnTo>
                  <a:lnTo>
                    <a:pt x="26" y="303"/>
                  </a:lnTo>
                  <a:lnTo>
                    <a:pt x="25" y="293"/>
                  </a:lnTo>
                  <a:lnTo>
                    <a:pt x="28" y="289"/>
                  </a:lnTo>
                  <a:lnTo>
                    <a:pt x="26" y="283"/>
                  </a:lnTo>
                  <a:lnTo>
                    <a:pt x="27" y="280"/>
                  </a:lnTo>
                  <a:lnTo>
                    <a:pt x="24" y="279"/>
                  </a:lnTo>
                  <a:lnTo>
                    <a:pt x="20" y="282"/>
                  </a:lnTo>
                  <a:lnTo>
                    <a:pt x="14" y="274"/>
                  </a:lnTo>
                  <a:lnTo>
                    <a:pt x="16" y="267"/>
                  </a:lnTo>
                  <a:lnTo>
                    <a:pt x="17" y="257"/>
                  </a:lnTo>
                  <a:lnTo>
                    <a:pt x="21" y="252"/>
                  </a:lnTo>
                  <a:lnTo>
                    <a:pt x="21" y="242"/>
                  </a:lnTo>
                  <a:lnTo>
                    <a:pt x="18" y="231"/>
                  </a:lnTo>
                  <a:lnTo>
                    <a:pt x="18" y="220"/>
                  </a:lnTo>
                  <a:lnTo>
                    <a:pt x="21" y="217"/>
                  </a:lnTo>
                  <a:lnTo>
                    <a:pt x="22" y="209"/>
                  </a:lnTo>
                  <a:lnTo>
                    <a:pt x="26" y="203"/>
                  </a:lnTo>
                  <a:lnTo>
                    <a:pt x="29" y="196"/>
                  </a:lnTo>
                  <a:lnTo>
                    <a:pt x="31" y="188"/>
                  </a:lnTo>
                  <a:lnTo>
                    <a:pt x="34" y="178"/>
                  </a:lnTo>
                  <a:lnTo>
                    <a:pt x="39" y="170"/>
                  </a:lnTo>
                  <a:lnTo>
                    <a:pt x="39" y="153"/>
                  </a:lnTo>
                  <a:lnTo>
                    <a:pt x="36" y="138"/>
                  </a:lnTo>
                  <a:lnTo>
                    <a:pt x="40" y="134"/>
                  </a:lnTo>
                  <a:lnTo>
                    <a:pt x="39" y="124"/>
                  </a:lnTo>
                  <a:lnTo>
                    <a:pt x="38" y="121"/>
                  </a:lnTo>
                  <a:lnTo>
                    <a:pt x="45" y="92"/>
                  </a:lnTo>
                  <a:lnTo>
                    <a:pt x="47" y="82"/>
                  </a:lnTo>
                  <a:lnTo>
                    <a:pt x="46" y="57"/>
                  </a:lnTo>
                  <a:lnTo>
                    <a:pt x="49" y="54"/>
                  </a:lnTo>
                  <a:lnTo>
                    <a:pt x="51" y="27"/>
                  </a:lnTo>
                  <a:lnTo>
                    <a:pt x="49" y="24"/>
                  </a:lnTo>
                  <a:lnTo>
                    <a:pt x="49" y="8"/>
                  </a:lnTo>
                  <a:lnTo>
                    <a:pt x="56" y="0"/>
                  </a:lnTo>
                  <a:lnTo>
                    <a:pt x="61" y="2"/>
                  </a:lnTo>
                  <a:lnTo>
                    <a:pt x="65" y="14"/>
                  </a:lnTo>
                  <a:lnTo>
                    <a:pt x="66" y="29"/>
                  </a:lnTo>
                  <a:lnTo>
                    <a:pt x="72" y="52"/>
                  </a:lnTo>
                  <a:lnTo>
                    <a:pt x="75" y="54"/>
                  </a:lnTo>
                  <a:lnTo>
                    <a:pt x="78" y="62"/>
                  </a:lnTo>
                  <a:lnTo>
                    <a:pt x="76" y="69"/>
                  </a:lnTo>
                  <a:lnTo>
                    <a:pt x="71" y="71"/>
                  </a:lnTo>
                  <a:lnTo>
                    <a:pt x="67" y="74"/>
                  </a:lnTo>
                  <a:lnTo>
                    <a:pt x="67" y="96"/>
                  </a:lnTo>
                  <a:lnTo>
                    <a:pt x="68" y="101"/>
                  </a:lnTo>
                  <a:lnTo>
                    <a:pt x="60" y="110"/>
                  </a:lnTo>
                  <a:lnTo>
                    <a:pt x="52" y="127"/>
                  </a:lnTo>
                  <a:lnTo>
                    <a:pt x="51" y="134"/>
                  </a:lnTo>
                  <a:lnTo>
                    <a:pt x="48" y="152"/>
                  </a:lnTo>
                  <a:lnTo>
                    <a:pt x="52" y="172"/>
                  </a:lnTo>
                  <a:lnTo>
                    <a:pt x="52" y="188"/>
                  </a:lnTo>
                  <a:lnTo>
                    <a:pt x="45" y="197"/>
                  </a:lnTo>
                  <a:lnTo>
                    <a:pt x="46" y="207"/>
                  </a:lnTo>
                  <a:lnTo>
                    <a:pt x="41" y="221"/>
                  </a:lnTo>
                  <a:lnTo>
                    <a:pt x="42" y="240"/>
                  </a:lnTo>
                  <a:lnTo>
                    <a:pt x="38" y="249"/>
                  </a:lnTo>
                  <a:lnTo>
                    <a:pt x="33" y="267"/>
                  </a:lnTo>
                  <a:lnTo>
                    <a:pt x="35" y="289"/>
                  </a:lnTo>
                  <a:lnTo>
                    <a:pt x="32" y="293"/>
                  </a:lnTo>
                  <a:lnTo>
                    <a:pt x="33" y="304"/>
                  </a:lnTo>
                  <a:lnTo>
                    <a:pt x="37" y="319"/>
                  </a:lnTo>
                  <a:lnTo>
                    <a:pt x="32" y="323"/>
                  </a:lnTo>
                  <a:lnTo>
                    <a:pt x="34" y="328"/>
                  </a:lnTo>
                  <a:lnTo>
                    <a:pt x="35" y="328"/>
                  </a:lnTo>
                  <a:lnTo>
                    <a:pt x="37" y="348"/>
                  </a:lnTo>
                  <a:lnTo>
                    <a:pt x="33" y="353"/>
                  </a:lnTo>
                  <a:lnTo>
                    <a:pt x="34" y="357"/>
                  </a:lnTo>
                  <a:lnTo>
                    <a:pt x="28" y="360"/>
                  </a:lnTo>
                  <a:lnTo>
                    <a:pt x="29" y="371"/>
                  </a:lnTo>
                  <a:lnTo>
                    <a:pt x="19" y="381"/>
                  </a:lnTo>
                  <a:lnTo>
                    <a:pt x="17" y="388"/>
                  </a:lnTo>
                  <a:lnTo>
                    <a:pt x="21" y="399"/>
                  </a:lnTo>
                  <a:lnTo>
                    <a:pt x="25" y="399"/>
                  </a:lnTo>
                  <a:lnTo>
                    <a:pt x="28" y="401"/>
                  </a:lnTo>
                  <a:lnTo>
                    <a:pt x="29" y="412"/>
                  </a:lnTo>
                  <a:lnTo>
                    <a:pt x="35" y="417"/>
                  </a:lnTo>
                  <a:lnTo>
                    <a:pt x="55" y="417"/>
                  </a:lnTo>
                  <a:lnTo>
                    <a:pt x="56" y="4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8" name="Freeform 251"/>
            <p:cNvSpPr>
              <a:spLocks/>
            </p:cNvSpPr>
            <p:nvPr/>
          </p:nvSpPr>
          <p:spPr bwMode="gray">
            <a:xfrm>
              <a:off x="1832" y="3179"/>
              <a:ext cx="244" cy="491"/>
            </a:xfrm>
            <a:custGeom>
              <a:avLst/>
              <a:gdLst>
                <a:gd name="T0" fmla="*/ 2147483647 w 187"/>
                <a:gd name="T1" fmla="*/ 2147483647 h 377"/>
                <a:gd name="T2" fmla="*/ 2147483647 w 187"/>
                <a:gd name="T3" fmla="*/ 2147483647 h 377"/>
                <a:gd name="T4" fmla="*/ 2147483647 w 187"/>
                <a:gd name="T5" fmla="*/ 2147483647 h 377"/>
                <a:gd name="T6" fmla="*/ 2147483647 w 187"/>
                <a:gd name="T7" fmla="*/ 2147483647 h 377"/>
                <a:gd name="T8" fmla="*/ 2147483647 w 187"/>
                <a:gd name="T9" fmla="*/ 2147483647 h 377"/>
                <a:gd name="T10" fmla="*/ 2147483647 w 187"/>
                <a:gd name="T11" fmla="*/ 2147483647 h 377"/>
                <a:gd name="T12" fmla="*/ 2147483647 w 187"/>
                <a:gd name="T13" fmla="*/ 2147483647 h 377"/>
                <a:gd name="T14" fmla="*/ 2147483647 w 187"/>
                <a:gd name="T15" fmla="*/ 2147483647 h 377"/>
                <a:gd name="T16" fmla="*/ 2147483647 w 187"/>
                <a:gd name="T17" fmla="*/ 2147483647 h 377"/>
                <a:gd name="T18" fmla="*/ 2147483647 w 187"/>
                <a:gd name="T19" fmla="*/ 2147483647 h 377"/>
                <a:gd name="T20" fmla="*/ 2147483647 w 187"/>
                <a:gd name="T21" fmla="*/ 2147483647 h 377"/>
                <a:gd name="T22" fmla="*/ 2147483647 w 187"/>
                <a:gd name="T23" fmla="*/ 2147483647 h 377"/>
                <a:gd name="T24" fmla="*/ 2147483647 w 187"/>
                <a:gd name="T25" fmla="*/ 2147483647 h 377"/>
                <a:gd name="T26" fmla="*/ 2147483647 w 187"/>
                <a:gd name="T27" fmla="*/ 2147483647 h 377"/>
                <a:gd name="T28" fmla="*/ 2147483647 w 187"/>
                <a:gd name="T29" fmla="*/ 2147483647 h 377"/>
                <a:gd name="T30" fmla="*/ 2147483647 w 187"/>
                <a:gd name="T31" fmla="*/ 2147483647 h 377"/>
                <a:gd name="T32" fmla="*/ 2147483647 w 187"/>
                <a:gd name="T33" fmla="*/ 2147483647 h 377"/>
                <a:gd name="T34" fmla="*/ 2147483647 w 187"/>
                <a:gd name="T35" fmla="*/ 2147483647 h 377"/>
                <a:gd name="T36" fmla="*/ 2147483647 w 187"/>
                <a:gd name="T37" fmla="*/ 2147483647 h 377"/>
                <a:gd name="T38" fmla="*/ 2147483647 w 187"/>
                <a:gd name="T39" fmla="*/ 2147483647 h 377"/>
                <a:gd name="T40" fmla="*/ 2147483647 w 187"/>
                <a:gd name="T41" fmla="*/ 2147483647 h 377"/>
                <a:gd name="T42" fmla="*/ 2147483647 w 187"/>
                <a:gd name="T43" fmla="*/ 2147483647 h 377"/>
                <a:gd name="T44" fmla="*/ 2147483647 w 187"/>
                <a:gd name="T45" fmla="*/ 2147483647 h 377"/>
                <a:gd name="T46" fmla="*/ 2147483647 w 187"/>
                <a:gd name="T47" fmla="*/ 2147483647 h 377"/>
                <a:gd name="T48" fmla="*/ 2147483647 w 187"/>
                <a:gd name="T49" fmla="*/ 2147483647 h 377"/>
                <a:gd name="T50" fmla="*/ 2147483647 w 187"/>
                <a:gd name="T51" fmla="*/ 2147483647 h 377"/>
                <a:gd name="T52" fmla="*/ 2147483647 w 187"/>
                <a:gd name="T53" fmla="*/ 2147483647 h 377"/>
                <a:gd name="T54" fmla="*/ 2147483647 w 187"/>
                <a:gd name="T55" fmla="*/ 2147483647 h 377"/>
                <a:gd name="T56" fmla="*/ 2147483647 w 187"/>
                <a:gd name="T57" fmla="*/ 2147483647 h 377"/>
                <a:gd name="T58" fmla="*/ 2147483647 w 187"/>
                <a:gd name="T59" fmla="*/ 2147483647 h 377"/>
                <a:gd name="T60" fmla="*/ 2147483647 w 187"/>
                <a:gd name="T61" fmla="*/ 2147483647 h 377"/>
                <a:gd name="T62" fmla="*/ 2147483647 w 187"/>
                <a:gd name="T63" fmla="*/ 2147483647 h 377"/>
                <a:gd name="T64" fmla="*/ 2147483647 w 187"/>
                <a:gd name="T65" fmla="*/ 2147483647 h 377"/>
                <a:gd name="T66" fmla="*/ 2147483647 w 187"/>
                <a:gd name="T67" fmla="*/ 2147483647 h 377"/>
                <a:gd name="T68" fmla="*/ 2147483647 w 187"/>
                <a:gd name="T69" fmla="*/ 2147483647 h 377"/>
                <a:gd name="T70" fmla="*/ 2147483647 w 187"/>
                <a:gd name="T71" fmla="*/ 2147483647 h 377"/>
                <a:gd name="T72" fmla="*/ 2147483647 w 187"/>
                <a:gd name="T73" fmla="*/ 2147483647 h 377"/>
                <a:gd name="T74" fmla="*/ 2147483647 w 187"/>
                <a:gd name="T75" fmla="*/ 2147483647 h 377"/>
                <a:gd name="T76" fmla="*/ 2147483647 w 187"/>
                <a:gd name="T77" fmla="*/ 2147483647 h 377"/>
                <a:gd name="T78" fmla="*/ 2147483647 w 187"/>
                <a:gd name="T79" fmla="*/ 2147483647 h 377"/>
                <a:gd name="T80" fmla="*/ 2147483647 w 187"/>
                <a:gd name="T81" fmla="*/ 2147483647 h 377"/>
                <a:gd name="T82" fmla="*/ 2147483647 w 187"/>
                <a:gd name="T83" fmla="*/ 2147483647 h 377"/>
                <a:gd name="T84" fmla="*/ 2147483647 w 187"/>
                <a:gd name="T85" fmla="*/ 2147483647 h 377"/>
                <a:gd name="T86" fmla="*/ 2147483647 w 187"/>
                <a:gd name="T87" fmla="*/ 2147483647 h 377"/>
                <a:gd name="T88" fmla="*/ 2147483647 w 187"/>
                <a:gd name="T89" fmla="*/ 2147483647 h 377"/>
                <a:gd name="T90" fmla="*/ 2147483647 w 187"/>
                <a:gd name="T91" fmla="*/ 2147483647 h 37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377"/>
                <a:gd name="T140" fmla="*/ 187 w 187"/>
                <a:gd name="T141" fmla="*/ 377 h 37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377">
                  <a:moveTo>
                    <a:pt x="39" y="375"/>
                  </a:moveTo>
                  <a:lnTo>
                    <a:pt x="38" y="373"/>
                  </a:lnTo>
                  <a:lnTo>
                    <a:pt x="17" y="372"/>
                  </a:lnTo>
                  <a:lnTo>
                    <a:pt x="12" y="368"/>
                  </a:lnTo>
                  <a:lnTo>
                    <a:pt x="11" y="357"/>
                  </a:lnTo>
                  <a:lnTo>
                    <a:pt x="8" y="355"/>
                  </a:lnTo>
                  <a:lnTo>
                    <a:pt x="3" y="355"/>
                  </a:lnTo>
                  <a:lnTo>
                    <a:pt x="0" y="344"/>
                  </a:lnTo>
                  <a:lnTo>
                    <a:pt x="2" y="337"/>
                  </a:lnTo>
                  <a:lnTo>
                    <a:pt x="12" y="327"/>
                  </a:lnTo>
                  <a:lnTo>
                    <a:pt x="11" y="316"/>
                  </a:lnTo>
                  <a:lnTo>
                    <a:pt x="17" y="312"/>
                  </a:lnTo>
                  <a:lnTo>
                    <a:pt x="16" y="308"/>
                  </a:lnTo>
                  <a:lnTo>
                    <a:pt x="20" y="304"/>
                  </a:lnTo>
                  <a:lnTo>
                    <a:pt x="18" y="284"/>
                  </a:lnTo>
                  <a:lnTo>
                    <a:pt x="17" y="284"/>
                  </a:lnTo>
                  <a:lnTo>
                    <a:pt x="15" y="279"/>
                  </a:lnTo>
                  <a:lnTo>
                    <a:pt x="20" y="275"/>
                  </a:lnTo>
                  <a:lnTo>
                    <a:pt x="16" y="260"/>
                  </a:lnTo>
                  <a:lnTo>
                    <a:pt x="15" y="249"/>
                  </a:lnTo>
                  <a:lnTo>
                    <a:pt x="17" y="245"/>
                  </a:lnTo>
                  <a:lnTo>
                    <a:pt x="16" y="223"/>
                  </a:lnTo>
                  <a:lnTo>
                    <a:pt x="21" y="205"/>
                  </a:lnTo>
                  <a:lnTo>
                    <a:pt x="25" y="196"/>
                  </a:lnTo>
                  <a:lnTo>
                    <a:pt x="24" y="177"/>
                  </a:lnTo>
                  <a:lnTo>
                    <a:pt x="29" y="163"/>
                  </a:lnTo>
                  <a:lnTo>
                    <a:pt x="28" y="153"/>
                  </a:lnTo>
                  <a:lnTo>
                    <a:pt x="34" y="143"/>
                  </a:lnTo>
                  <a:lnTo>
                    <a:pt x="35" y="128"/>
                  </a:lnTo>
                  <a:lnTo>
                    <a:pt x="31" y="108"/>
                  </a:lnTo>
                  <a:lnTo>
                    <a:pt x="34" y="90"/>
                  </a:lnTo>
                  <a:lnTo>
                    <a:pt x="35" y="83"/>
                  </a:lnTo>
                  <a:lnTo>
                    <a:pt x="43" y="66"/>
                  </a:lnTo>
                  <a:lnTo>
                    <a:pt x="51" y="57"/>
                  </a:lnTo>
                  <a:lnTo>
                    <a:pt x="50" y="52"/>
                  </a:lnTo>
                  <a:lnTo>
                    <a:pt x="49" y="30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1" y="18"/>
                  </a:lnTo>
                  <a:lnTo>
                    <a:pt x="58" y="10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9" y="5"/>
                  </a:lnTo>
                  <a:lnTo>
                    <a:pt x="83" y="11"/>
                  </a:lnTo>
                  <a:lnTo>
                    <a:pt x="88" y="11"/>
                  </a:lnTo>
                  <a:lnTo>
                    <a:pt x="89" y="8"/>
                  </a:lnTo>
                  <a:lnTo>
                    <a:pt x="89" y="5"/>
                  </a:lnTo>
                  <a:lnTo>
                    <a:pt x="92" y="3"/>
                  </a:lnTo>
                  <a:lnTo>
                    <a:pt x="97" y="5"/>
                  </a:lnTo>
                  <a:lnTo>
                    <a:pt x="104" y="5"/>
                  </a:lnTo>
                  <a:lnTo>
                    <a:pt x="109" y="7"/>
                  </a:lnTo>
                  <a:lnTo>
                    <a:pt x="114" y="15"/>
                  </a:lnTo>
                  <a:lnTo>
                    <a:pt x="119" y="22"/>
                  </a:lnTo>
                  <a:lnTo>
                    <a:pt x="126" y="21"/>
                  </a:lnTo>
                  <a:lnTo>
                    <a:pt x="134" y="27"/>
                  </a:lnTo>
                  <a:lnTo>
                    <a:pt x="147" y="31"/>
                  </a:lnTo>
                  <a:lnTo>
                    <a:pt x="154" y="37"/>
                  </a:lnTo>
                  <a:lnTo>
                    <a:pt x="153" y="41"/>
                  </a:lnTo>
                  <a:lnTo>
                    <a:pt x="144" y="58"/>
                  </a:lnTo>
                  <a:lnTo>
                    <a:pt x="147" y="59"/>
                  </a:lnTo>
                  <a:lnTo>
                    <a:pt x="157" y="60"/>
                  </a:lnTo>
                  <a:lnTo>
                    <a:pt x="170" y="58"/>
                  </a:lnTo>
                  <a:lnTo>
                    <a:pt x="176" y="52"/>
                  </a:lnTo>
                  <a:lnTo>
                    <a:pt x="178" y="42"/>
                  </a:lnTo>
                  <a:lnTo>
                    <a:pt x="182" y="42"/>
                  </a:lnTo>
                  <a:lnTo>
                    <a:pt x="187" y="55"/>
                  </a:lnTo>
                  <a:lnTo>
                    <a:pt x="185" y="58"/>
                  </a:lnTo>
                  <a:lnTo>
                    <a:pt x="174" y="69"/>
                  </a:lnTo>
                  <a:lnTo>
                    <a:pt x="168" y="74"/>
                  </a:lnTo>
                  <a:lnTo>
                    <a:pt x="160" y="83"/>
                  </a:lnTo>
                  <a:lnTo>
                    <a:pt x="158" y="86"/>
                  </a:lnTo>
                  <a:lnTo>
                    <a:pt x="152" y="93"/>
                  </a:lnTo>
                  <a:lnTo>
                    <a:pt x="148" y="101"/>
                  </a:lnTo>
                  <a:lnTo>
                    <a:pt x="148" y="106"/>
                  </a:lnTo>
                  <a:lnTo>
                    <a:pt x="147" y="127"/>
                  </a:lnTo>
                  <a:lnTo>
                    <a:pt x="143" y="132"/>
                  </a:lnTo>
                  <a:lnTo>
                    <a:pt x="144" y="140"/>
                  </a:lnTo>
                  <a:lnTo>
                    <a:pt x="144" y="143"/>
                  </a:lnTo>
                  <a:lnTo>
                    <a:pt x="148" y="148"/>
                  </a:lnTo>
                  <a:lnTo>
                    <a:pt x="152" y="148"/>
                  </a:lnTo>
                  <a:lnTo>
                    <a:pt x="157" y="156"/>
                  </a:lnTo>
                  <a:lnTo>
                    <a:pt x="154" y="163"/>
                  </a:lnTo>
                  <a:lnTo>
                    <a:pt x="154" y="166"/>
                  </a:lnTo>
                  <a:lnTo>
                    <a:pt x="160" y="171"/>
                  </a:lnTo>
                  <a:lnTo>
                    <a:pt x="155" y="180"/>
                  </a:lnTo>
                  <a:lnTo>
                    <a:pt x="149" y="190"/>
                  </a:lnTo>
                  <a:lnTo>
                    <a:pt x="146" y="190"/>
                  </a:lnTo>
                  <a:lnTo>
                    <a:pt x="140" y="196"/>
                  </a:lnTo>
                  <a:lnTo>
                    <a:pt x="131" y="197"/>
                  </a:lnTo>
                  <a:lnTo>
                    <a:pt x="123" y="201"/>
                  </a:lnTo>
                  <a:lnTo>
                    <a:pt x="112" y="201"/>
                  </a:lnTo>
                  <a:lnTo>
                    <a:pt x="111" y="206"/>
                  </a:lnTo>
                  <a:lnTo>
                    <a:pt x="106" y="210"/>
                  </a:lnTo>
                  <a:lnTo>
                    <a:pt x="106" y="226"/>
                  </a:lnTo>
                  <a:lnTo>
                    <a:pt x="102" y="228"/>
                  </a:lnTo>
                  <a:lnTo>
                    <a:pt x="95" y="229"/>
                  </a:lnTo>
                  <a:lnTo>
                    <a:pt x="85" y="223"/>
                  </a:lnTo>
                  <a:lnTo>
                    <a:pt x="83" y="223"/>
                  </a:lnTo>
                  <a:lnTo>
                    <a:pt x="80" y="226"/>
                  </a:lnTo>
                  <a:lnTo>
                    <a:pt x="82" y="242"/>
                  </a:lnTo>
                  <a:lnTo>
                    <a:pt x="85" y="246"/>
                  </a:lnTo>
                  <a:lnTo>
                    <a:pt x="89" y="243"/>
                  </a:lnTo>
                  <a:lnTo>
                    <a:pt x="92" y="243"/>
                  </a:lnTo>
                  <a:lnTo>
                    <a:pt x="93" y="251"/>
                  </a:lnTo>
                  <a:lnTo>
                    <a:pt x="90" y="251"/>
                  </a:lnTo>
                  <a:lnTo>
                    <a:pt x="85" y="250"/>
                  </a:lnTo>
                  <a:lnTo>
                    <a:pt x="84" y="253"/>
                  </a:lnTo>
                  <a:lnTo>
                    <a:pt x="87" y="256"/>
                  </a:lnTo>
                  <a:lnTo>
                    <a:pt x="78" y="263"/>
                  </a:lnTo>
                  <a:lnTo>
                    <a:pt x="79" y="271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5" y="282"/>
                  </a:lnTo>
                  <a:lnTo>
                    <a:pt x="66" y="283"/>
                  </a:lnTo>
                  <a:lnTo>
                    <a:pt x="64" y="286"/>
                  </a:lnTo>
                  <a:lnTo>
                    <a:pt x="61" y="287"/>
                  </a:lnTo>
                  <a:lnTo>
                    <a:pt x="58" y="291"/>
                  </a:lnTo>
                  <a:lnTo>
                    <a:pt x="57" y="295"/>
                  </a:lnTo>
                  <a:lnTo>
                    <a:pt x="61" y="305"/>
                  </a:lnTo>
                  <a:lnTo>
                    <a:pt x="65" y="307"/>
                  </a:lnTo>
                  <a:lnTo>
                    <a:pt x="74" y="307"/>
                  </a:lnTo>
                  <a:lnTo>
                    <a:pt x="75" y="317"/>
                  </a:lnTo>
                  <a:lnTo>
                    <a:pt x="73" y="319"/>
                  </a:lnTo>
                  <a:lnTo>
                    <a:pt x="70" y="321"/>
                  </a:lnTo>
                  <a:lnTo>
                    <a:pt x="65" y="325"/>
                  </a:lnTo>
                  <a:lnTo>
                    <a:pt x="61" y="331"/>
                  </a:lnTo>
                  <a:lnTo>
                    <a:pt x="56" y="333"/>
                  </a:lnTo>
                  <a:lnTo>
                    <a:pt x="56" y="343"/>
                  </a:lnTo>
                  <a:lnTo>
                    <a:pt x="53" y="346"/>
                  </a:lnTo>
                  <a:lnTo>
                    <a:pt x="49" y="345"/>
                  </a:lnTo>
                  <a:lnTo>
                    <a:pt x="48" y="349"/>
                  </a:lnTo>
                  <a:lnTo>
                    <a:pt x="44" y="353"/>
                  </a:lnTo>
                  <a:lnTo>
                    <a:pt x="45" y="359"/>
                  </a:lnTo>
                  <a:lnTo>
                    <a:pt x="42" y="364"/>
                  </a:lnTo>
                  <a:lnTo>
                    <a:pt x="43" y="367"/>
                  </a:lnTo>
                  <a:lnTo>
                    <a:pt x="46" y="371"/>
                  </a:lnTo>
                  <a:lnTo>
                    <a:pt x="48" y="374"/>
                  </a:lnTo>
                  <a:lnTo>
                    <a:pt x="47" y="377"/>
                  </a:lnTo>
                  <a:lnTo>
                    <a:pt x="39" y="37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59" name="Freeform 252"/>
            <p:cNvSpPr>
              <a:spLocks/>
            </p:cNvSpPr>
            <p:nvPr/>
          </p:nvSpPr>
          <p:spPr bwMode="gray">
            <a:xfrm>
              <a:off x="2269" y="3702"/>
              <a:ext cx="29" cy="18"/>
            </a:xfrm>
            <a:custGeom>
              <a:avLst/>
              <a:gdLst>
                <a:gd name="T0" fmla="*/ 0 w 22"/>
                <a:gd name="T1" fmla="*/ 2147483647 h 14"/>
                <a:gd name="T2" fmla="*/ 2147483647 w 22"/>
                <a:gd name="T3" fmla="*/ 0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2147483647 w 22"/>
                <a:gd name="T13" fmla="*/ 2147483647 h 14"/>
                <a:gd name="T14" fmla="*/ 0 w 22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0" y="3"/>
                  </a:moveTo>
                  <a:lnTo>
                    <a:pt x="1" y="0"/>
                  </a:lnTo>
                  <a:lnTo>
                    <a:pt x="11" y="2"/>
                  </a:lnTo>
                  <a:lnTo>
                    <a:pt x="19" y="8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8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0" name="Freeform 253"/>
            <p:cNvSpPr>
              <a:spLocks/>
            </p:cNvSpPr>
            <p:nvPr/>
          </p:nvSpPr>
          <p:spPr bwMode="gray">
            <a:xfrm>
              <a:off x="2383" y="3752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1" name="Freeform 254"/>
            <p:cNvSpPr>
              <a:spLocks/>
            </p:cNvSpPr>
            <p:nvPr/>
          </p:nvSpPr>
          <p:spPr bwMode="gray">
            <a:xfrm>
              <a:off x="2389" y="3745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2" name="Freeform 255"/>
            <p:cNvSpPr>
              <a:spLocks/>
            </p:cNvSpPr>
            <p:nvPr/>
          </p:nvSpPr>
          <p:spPr bwMode="gray">
            <a:xfrm>
              <a:off x="2393" y="3752"/>
              <a:ext cx="7" cy="6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3" name="Freeform 256"/>
            <p:cNvSpPr>
              <a:spLocks/>
            </p:cNvSpPr>
            <p:nvPr/>
          </p:nvSpPr>
          <p:spPr bwMode="gray">
            <a:xfrm>
              <a:off x="2403" y="3765"/>
              <a:ext cx="6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2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4" name="Freeform 257"/>
            <p:cNvSpPr>
              <a:spLocks/>
            </p:cNvSpPr>
            <p:nvPr/>
          </p:nvSpPr>
          <p:spPr bwMode="gray">
            <a:xfrm>
              <a:off x="2405" y="3780"/>
              <a:ext cx="4" cy="2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0 h 2"/>
                <a:gd name="T4" fmla="*/ 2147483647 w 3"/>
                <a:gd name="T5" fmla="*/ 2147483646 h 2"/>
                <a:gd name="T6" fmla="*/ 0 w 3"/>
                <a:gd name="T7" fmla="*/ 2147483646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lnTo>
                    <a:pt x="3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5" name="Freeform 258"/>
            <p:cNvSpPr>
              <a:spLocks/>
            </p:cNvSpPr>
            <p:nvPr/>
          </p:nvSpPr>
          <p:spPr bwMode="gray">
            <a:xfrm>
              <a:off x="2406" y="3790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6" name="Freeform 259"/>
            <p:cNvSpPr>
              <a:spLocks/>
            </p:cNvSpPr>
            <p:nvPr/>
          </p:nvSpPr>
          <p:spPr bwMode="gray">
            <a:xfrm>
              <a:off x="2405" y="3805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2147483647 w 3"/>
                <a:gd name="T7" fmla="*/ 2147483646 h 3"/>
                <a:gd name="T8" fmla="*/ 0 w 3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7" name="Freeform 260"/>
            <p:cNvSpPr>
              <a:spLocks/>
            </p:cNvSpPr>
            <p:nvPr/>
          </p:nvSpPr>
          <p:spPr bwMode="gray">
            <a:xfrm>
              <a:off x="2397" y="381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2147483647 w 4"/>
                <a:gd name="T9" fmla="*/ 2147483647 h 2"/>
                <a:gd name="T10" fmla="*/ 0 w 4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2"/>
                <a:gd name="T20" fmla="*/ 4 w 4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1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8" name="Freeform 262"/>
            <p:cNvSpPr>
              <a:spLocks/>
            </p:cNvSpPr>
            <p:nvPr/>
          </p:nvSpPr>
          <p:spPr bwMode="gray">
            <a:xfrm>
              <a:off x="2437" y="1700"/>
              <a:ext cx="132" cy="97"/>
            </a:xfrm>
            <a:custGeom>
              <a:avLst/>
              <a:gdLst>
                <a:gd name="T0" fmla="*/ 2147483647 w 101"/>
                <a:gd name="T1" fmla="*/ 0 h 75"/>
                <a:gd name="T2" fmla="*/ 2147483647 w 101"/>
                <a:gd name="T3" fmla="*/ 2147483647 h 75"/>
                <a:gd name="T4" fmla="*/ 2147483647 w 101"/>
                <a:gd name="T5" fmla="*/ 2147483647 h 75"/>
                <a:gd name="T6" fmla="*/ 2147483647 w 101"/>
                <a:gd name="T7" fmla="*/ 2147483647 h 75"/>
                <a:gd name="T8" fmla="*/ 2147483647 w 101"/>
                <a:gd name="T9" fmla="*/ 2147483647 h 75"/>
                <a:gd name="T10" fmla="*/ 2147483647 w 101"/>
                <a:gd name="T11" fmla="*/ 2147483647 h 75"/>
                <a:gd name="T12" fmla="*/ 2147483647 w 101"/>
                <a:gd name="T13" fmla="*/ 2147483647 h 75"/>
                <a:gd name="T14" fmla="*/ 2147483647 w 101"/>
                <a:gd name="T15" fmla="*/ 2147483647 h 75"/>
                <a:gd name="T16" fmla="*/ 2147483647 w 101"/>
                <a:gd name="T17" fmla="*/ 2147483647 h 75"/>
                <a:gd name="T18" fmla="*/ 2147483647 w 101"/>
                <a:gd name="T19" fmla="*/ 2147483647 h 75"/>
                <a:gd name="T20" fmla="*/ 2147483647 w 101"/>
                <a:gd name="T21" fmla="*/ 2147483647 h 75"/>
                <a:gd name="T22" fmla="*/ 2147483647 w 101"/>
                <a:gd name="T23" fmla="*/ 2147483647 h 75"/>
                <a:gd name="T24" fmla="*/ 2147483647 w 101"/>
                <a:gd name="T25" fmla="*/ 2147483647 h 75"/>
                <a:gd name="T26" fmla="*/ 2147483647 w 101"/>
                <a:gd name="T27" fmla="*/ 2147483647 h 75"/>
                <a:gd name="T28" fmla="*/ 2147483647 w 101"/>
                <a:gd name="T29" fmla="*/ 2147483647 h 75"/>
                <a:gd name="T30" fmla="*/ 2147483647 w 101"/>
                <a:gd name="T31" fmla="*/ 2147483647 h 75"/>
                <a:gd name="T32" fmla="*/ 2147483647 w 101"/>
                <a:gd name="T33" fmla="*/ 2147483647 h 75"/>
                <a:gd name="T34" fmla="*/ 2147483647 w 101"/>
                <a:gd name="T35" fmla="*/ 2147483647 h 75"/>
                <a:gd name="T36" fmla="*/ 2147483647 w 101"/>
                <a:gd name="T37" fmla="*/ 2147483647 h 75"/>
                <a:gd name="T38" fmla="*/ 2147483647 w 101"/>
                <a:gd name="T39" fmla="*/ 2147483647 h 75"/>
                <a:gd name="T40" fmla="*/ 0 w 101"/>
                <a:gd name="T41" fmla="*/ 2147483647 h 75"/>
                <a:gd name="T42" fmla="*/ 2147483647 w 101"/>
                <a:gd name="T43" fmla="*/ 2147483647 h 75"/>
                <a:gd name="T44" fmla="*/ 2147483647 w 101"/>
                <a:gd name="T45" fmla="*/ 2147483647 h 75"/>
                <a:gd name="T46" fmla="*/ 2147483647 w 101"/>
                <a:gd name="T47" fmla="*/ 2147483647 h 75"/>
                <a:gd name="T48" fmla="*/ 2147483647 w 101"/>
                <a:gd name="T49" fmla="*/ 2147483647 h 75"/>
                <a:gd name="T50" fmla="*/ 2147483647 w 101"/>
                <a:gd name="T51" fmla="*/ 2147483647 h 75"/>
                <a:gd name="T52" fmla="*/ 2147483647 w 101"/>
                <a:gd name="T53" fmla="*/ 2147483647 h 75"/>
                <a:gd name="T54" fmla="*/ 2147483647 w 101"/>
                <a:gd name="T55" fmla="*/ 2147483647 h 75"/>
                <a:gd name="T56" fmla="*/ 2147483647 w 101"/>
                <a:gd name="T57" fmla="*/ 2147483647 h 75"/>
                <a:gd name="T58" fmla="*/ 2147483647 w 101"/>
                <a:gd name="T59" fmla="*/ 2147483647 h 75"/>
                <a:gd name="T60" fmla="*/ 2147483647 w 101"/>
                <a:gd name="T61" fmla="*/ 2147483647 h 75"/>
                <a:gd name="T62" fmla="*/ 2147483647 w 101"/>
                <a:gd name="T63" fmla="*/ 2147483647 h 75"/>
                <a:gd name="T64" fmla="*/ 2147483647 w 101"/>
                <a:gd name="T65" fmla="*/ 2147483647 h 75"/>
                <a:gd name="T66" fmla="*/ 2147483647 w 101"/>
                <a:gd name="T67" fmla="*/ 2147483647 h 75"/>
                <a:gd name="T68" fmla="*/ 2147483647 w 10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1"/>
                <a:gd name="T106" fmla="*/ 0 h 75"/>
                <a:gd name="T107" fmla="*/ 101 w 10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1" h="75">
                  <a:moveTo>
                    <a:pt x="74" y="9"/>
                  </a:moveTo>
                  <a:lnTo>
                    <a:pt x="74" y="0"/>
                  </a:lnTo>
                  <a:lnTo>
                    <a:pt x="81" y="0"/>
                  </a:lnTo>
                  <a:lnTo>
                    <a:pt x="83" y="4"/>
                  </a:lnTo>
                  <a:lnTo>
                    <a:pt x="89" y="4"/>
                  </a:lnTo>
                  <a:lnTo>
                    <a:pt x="92" y="3"/>
                  </a:lnTo>
                  <a:lnTo>
                    <a:pt x="93" y="6"/>
                  </a:lnTo>
                  <a:lnTo>
                    <a:pt x="89" y="9"/>
                  </a:lnTo>
                  <a:lnTo>
                    <a:pt x="91" y="13"/>
                  </a:lnTo>
                  <a:lnTo>
                    <a:pt x="90" y="20"/>
                  </a:lnTo>
                  <a:lnTo>
                    <a:pt x="93" y="21"/>
                  </a:lnTo>
                  <a:lnTo>
                    <a:pt x="95" y="25"/>
                  </a:lnTo>
                  <a:lnTo>
                    <a:pt x="99" y="25"/>
                  </a:lnTo>
                  <a:lnTo>
                    <a:pt x="101" y="32"/>
                  </a:lnTo>
                  <a:lnTo>
                    <a:pt x="97" y="43"/>
                  </a:lnTo>
                  <a:lnTo>
                    <a:pt x="89" y="49"/>
                  </a:lnTo>
                  <a:lnTo>
                    <a:pt x="87" y="56"/>
                  </a:lnTo>
                  <a:lnTo>
                    <a:pt x="78" y="56"/>
                  </a:lnTo>
                  <a:lnTo>
                    <a:pt x="72" y="65"/>
                  </a:lnTo>
                  <a:lnTo>
                    <a:pt x="65" y="66"/>
                  </a:lnTo>
                  <a:lnTo>
                    <a:pt x="58" y="74"/>
                  </a:lnTo>
                  <a:lnTo>
                    <a:pt x="41" y="75"/>
                  </a:lnTo>
                  <a:lnTo>
                    <a:pt x="31" y="67"/>
                  </a:lnTo>
                  <a:lnTo>
                    <a:pt x="21" y="65"/>
                  </a:lnTo>
                  <a:lnTo>
                    <a:pt x="16" y="63"/>
                  </a:lnTo>
                  <a:lnTo>
                    <a:pt x="17" y="59"/>
                  </a:lnTo>
                  <a:lnTo>
                    <a:pt x="23" y="59"/>
                  </a:lnTo>
                  <a:lnTo>
                    <a:pt x="24" y="53"/>
                  </a:lnTo>
                  <a:lnTo>
                    <a:pt x="20" y="47"/>
                  </a:lnTo>
                  <a:lnTo>
                    <a:pt x="20" y="44"/>
                  </a:lnTo>
                  <a:lnTo>
                    <a:pt x="16" y="42"/>
                  </a:lnTo>
                  <a:lnTo>
                    <a:pt x="4" y="44"/>
                  </a:lnTo>
                  <a:lnTo>
                    <a:pt x="5" y="39"/>
                  </a:lnTo>
                  <a:lnTo>
                    <a:pt x="12" y="38"/>
                  </a:lnTo>
                  <a:lnTo>
                    <a:pt x="19" y="37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18" y="31"/>
                  </a:lnTo>
                  <a:lnTo>
                    <a:pt x="22" y="29"/>
                  </a:lnTo>
                  <a:lnTo>
                    <a:pt x="20" y="25"/>
                  </a:lnTo>
                  <a:lnTo>
                    <a:pt x="6" y="25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8" y="11"/>
                  </a:lnTo>
                  <a:lnTo>
                    <a:pt x="11" y="12"/>
                  </a:lnTo>
                  <a:lnTo>
                    <a:pt x="13" y="15"/>
                  </a:lnTo>
                  <a:lnTo>
                    <a:pt x="17" y="14"/>
                  </a:lnTo>
                  <a:lnTo>
                    <a:pt x="14" y="9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6" y="10"/>
                  </a:lnTo>
                  <a:lnTo>
                    <a:pt x="25" y="17"/>
                  </a:lnTo>
                  <a:lnTo>
                    <a:pt x="28" y="26"/>
                  </a:lnTo>
                  <a:lnTo>
                    <a:pt x="31" y="29"/>
                  </a:lnTo>
                  <a:lnTo>
                    <a:pt x="33" y="26"/>
                  </a:lnTo>
                  <a:lnTo>
                    <a:pt x="32" y="24"/>
                  </a:lnTo>
                  <a:lnTo>
                    <a:pt x="37" y="22"/>
                  </a:lnTo>
                  <a:lnTo>
                    <a:pt x="39" y="19"/>
                  </a:lnTo>
                  <a:lnTo>
                    <a:pt x="35" y="16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5" y="19"/>
                  </a:lnTo>
                  <a:lnTo>
                    <a:pt x="45" y="13"/>
                  </a:lnTo>
                  <a:lnTo>
                    <a:pt x="53" y="11"/>
                  </a:lnTo>
                  <a:lnTo>
                    <a:pt x="55" y="16"/>
                  </a:lnTo>
                  <a:lnTo>
                    <a:pt x="58" y="15"/>
                  </a:lnTo>
                  <a:lnTo>
                    <a:pt x="57" y="11"/>
                  </a:lnTo>
                  <a:lnTo>
                    <a:pt x="62" y="9"/>
                  </a:lnTo>
                  <a:lnTo>
                    <a:pt x="66" y="13"/>
                  </a:lnTo>
                  <a:lnTo>
                    <a:pt x="74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69" name="Freeform 263"/>
            <p:cNvSpPr>
              <a:spLocks/>
            </p:cNvSpPr>
            <p:nvPr/>
          </p:nvSpPr>
          <p:spPr bwMode="gray">
            <a:xfrm>
              <a:off x="3303" y="1636"/>
              <a:ext cx="27" cy="18"/>
            </a:xfrm>
            <a:custGeom>
              <a:avLst/>
              <a:gdLst>
                <a:gd name="T0" fmla="*/ 2147483647 w 21"/>
                <a:gd name="T1" fmla="*/ 2147483647 h 14"/>
                <a:gd name="T2" fmla="*/ 2147483647 w 21"/>
                <a:gd name="T3" fmla="*/ 0 h 14"/>
                <a:gd name="T4" fmla="*/ 2147483647 w 21"/>
                <a:gd name="T5" fmla="*/ 2147483647 h 14"/>
                <a:gd name="T6" fmla="*/ 2147483647 w 21"/>
                <a:gd name="T7" fmla="*/ 2147483647 h 14"/>
                <a:gd name="T8" fmla="*/ 2147483647 w 21"/>
                <a:gd name="T9" fmla="*/ 2147483647 h 14"/>
                <a:gd name="T10" fmla="*/ 2147483647 w 21"/>
                <a:gd name="T11" fmla="*/ 2147483647 h 14"/>
                <a:gd name="T12" fmla="*/ 0 w 21"/>
                <a:gd name="T13" fmla="*/ 2147483647 h 14"/>
                <a:gd name="T14" fmla="*/ 0 w 21"/>
                <a:gd name="T15" fmla="*/ 2147483647 h 14"/>
                <a:gd name="T16" fmla="*/ 2147483647 w 2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4"/>
                <a:gd name="T29" fmla="*/ 21 w 2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4">
                  <a:moveTo>
                    <a:pt x="3" y="1"/>
                  </a:moveTo>
                  <a:lnTo>
                    <a:pt x="11" y="0"/>
                  </a:lnTo>
                  <a:lnTo>
                    <a:pt x="15" y="4"/>
                  </a:lnTo>
                  <a:lnTo>
                    <a:pt x="21" y="5"/>
                  </a:lnTo>
                  <a:lnTo>
                    <a:pt x="19" y="11"/>
                  </a:lnTo>
                  <a:lnTo>
                    <a:pt x="1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0" name="Freeform 264"/>
            <p:cNvSpPr>
              <a:spLocks/>
            </p:cNvSpPr>
            <p:nvPr/>
          </p:nvSpPr>
          <p:spPr bwMode="gray">
            <a:xfrm>
              <a:off x="3432" y="1617"/>
              <a:ext cx="18" cy="12"/>
            </a:xfrm>
            <a:custGeom>
              <a:avLst/>
              <a:gdLst>
                <a:gd name="T0" fmla="*/ 2147483647 w 14"/>
                <a:gd name="T1" fmla="*/ 0 h 9"/>
                <a:gd name="T2" fmla="*/ 2147483647 w 14"/>
                <a:gd name="T3" fmla="*/ 2147483647 h 9"/>
                <a:gd name="T4" fmla="*/ 2147483647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2147483647 h 9"/>
                <a:gd name="T10" fmla="*/ 0 w 14"/>
                <a:gd name="T11" fmla="*/ 2147483647 h 9"/>
                <a:gd name="T12" fmla="*/ 2147483647 w 14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4" y="0"/>
                  </a:moveTo>
                  <a:lnTo>
                    <a:pt x="14" y="5"/>
                  </a:lnTo>
                  <a:lnTo>
                    <a:pt x="14" y="9"/>
                  </a:lnTo>
                  <a:lnTo>
                    <a:pt x="10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1" name="Freeform 265"/>
            <p:cNvSpPr>
              <a:spLocks/>
            </p:cNvSpPr>
            <p:nvPr/>
          </p:nvSpPr>
          <p:spPr bwMode="gray">
            <a:xfrm>
              <a:off x="2996" y="2069"/>
              <a:ext cx="212" cy="157"/>
            </a:xfrm>
            <a:custGeom>
              <a:avLst/>
              <a:gdLst>
                <a:gd name="T0" fmla="*/ 0 w 162"/>
                <a:gd name="T1" fmla="*/ 2147483647 h 120"/>
                <a:gd name="T2" fmla="*/ 2147483647 w 162"/>
                <a:gd name="T3" fmla="*/ 2147483647 h 120"/>
                <a:gd name="T4" fmla="*/ 2147483647 w 162"/>
                <a:gd name="T5" fmla="*/ 2147483647 h 120"/>
                <a:gd name="T6" fmla="*/ 2147483647 w 162"/>
                <a:gd name="T7" fmla="*/ 2147483647 h 120"/>
                <a:gd name="T8" fmla="*/ 2147483647 w 162"/>
                <a:gd name="T9" fmla="*/ 2147483647 h 120"/>
                <a:gd name="T10" fmla="*/ 2147483647 w 162"/>
                <a:gd name="T11" fmla="*/ 2147483647 h 120"/>
                <a:gd name="T12" fmla="*/ 2147483647 w 162"/>
                <a:gd name="T13" fmla="*/ 2147483647 h 120"/>
                <a:gd name="T14" fmla="*/ 2147483647 w 162"/>
                <a:gd name="T15" fmla="*/ 2147483647 h 120"/>
                <a:gd name="T16" fmla="*/ 2147483647 w 162"/>
                <a:gd name="T17" fmla="*/ 0 h 120"/>
                <a:gd name="T18" fmla="*/ 2147483647 w 162"/>
                <a:gd name="T19" fmla="*/ 2147483647 h 120"/>
                <a:gd name="T20" fmla="*/ 2147483647 w 162"/>
                <a:gd name="T21" fmla="*/ 2147483647 h 120"/>
                <a:gd name="T22" fmla="*/ 2147483647 w 162"/>
                <a:gd name="T23" fmla="*/ 2147483647 h 120"/>
                <a:gd name="T24" fmla="*/ 2147483647 w 162"/>
                <a:gd name="T25" fmla="*/ 2147483647 h 120"/>
                <a:gd name="T26" fmla="*/ 2147483647 w 162"/>
                <a:gd name="T27" fmla="*/ 2147483647 h 120"/>
                <a:gd name="T28" fmla="*/ 2147483647 w 162"/>
                <a:gd name="T29" fmla="*/ 2147483647 h 120"/>
                <a:gd name="T30" fmla="*/ 2147483647 w 162"/>
                <a:gd name="T31" fmla="*/ 2147483647 h 120"/>
                <a:gd name="T32" fmla="*/ 2147483647 w 162"/>
                <a:gd name="T33" fmla="*/ 2147483647 h 120"/>
                <a:gd name="T34" fmla="*/ 2147483647 w 162"/>
                <a:gd name="T35" fmla="*/ 2147483647 h 120"/>
                <a:gd name="T36" fmla="*/ 2147483647 w 162"/>
                <a:gd name="T37" fmla="*/ 2147483647 h 120"/>
                <a:gd name="T38" fmla="*/ 2147483647 w 162"/>
                <a:gd name="T39" fmla="*/ 2147483647 h 120"/>
                <a:gd name="T40" fmla="*/ 2147483647 w 162"/>
                <a:gd name="T41" fmla="*/ 2147483647 h 120"/>
                <a:gd name="T42" fmla="*/ 2147483647 w 162"/>
                <a:gd name="T43" fmla="*/ 2147483647 h 120"/>
                <a:gd name="T44" fmla="*/ 2147483647 w 162"/>
                <a:gd name="T45" fmla="*/ 2147483647 h 120"/>
                <a:gd name="T46" fmla="*/ 2147483647 w 162"/>
                <a:gd name="T47" fmla="*/ 2147483647 h 120"/>
                <a:gd name="T48" fmla="*/ 2147483647 w 162"/>
                <a:gd name="T49" fmla="*/ 2147483647 h 120"/>
                <a:gd name="T50" fmla="*/ 2147483647 w 162"/>
                <a:gd name="T51" fmla="*/ 2147483647 h 120"/>
                <a:gd name="T52" fmla="*/ 2147483647 w 162"/>
                <a:gd name="T53" fmla="*/ 2147483647 h 120"/>
                <a:gd name="T54" fmla="*/ 2147483647 w 162"/>
                <a:gd name="T55" fmla="*/ 2147483647 h 120"/>
                <a:gd name="T56" fmla="*/ 2147483647 w 162"/>
                <a:gd name="T57" fmla="*/ 2147483647 h 120"/>
                <a:gd name="T58" fmla="*/ 2147483647 w 162"/>
                <a:gd name="T59" fmla="*/ 2147483647 h 120"/>
                <a:gd name="T60" fmla="*/ 2147483647 w 162"/>
                <a:gd name="T61" fmla="*/ 2147483647 h 120"/>
                <a:gd name="T62" fmla="*/ 2147483647 w 162"/>
                <a:gd name="T63" fmla="*/ 2147483647 h 120"/>
                <a:gd name="T64" fmla="*/ 2147483647 w 162"/>
                <a:gd name="T65" fmla="*/ 2147483647 h 120"/>
                <a:gd name="T66" fmla="*/ 2147483647 w 162"/>
                <a:gd name="T67" fmla="*/ 2147483647 h 120"/>
                <a:gd name="T68" fmla="*/ 2147483647 w 162"/>
                <a:gd name="T69" fmla="*/ 2147483647 h 120"/>
                <a:gd name="T70" fmla="*/ 2147483647 w 162"/>
                <a:gd name="T71" fmla="*/ 2147483647 h 120"/>
                <a:gd name="T72" fmla="*/ 2147483647 w 162"/>
                <a:gd name="T73" fmla="*/ 2147483647 h 120"/>
                <a:gd name="T74" fmla="*/ 2147483647 w 162"/>
                <a:gd name="T75" fmla="*/ 2147483647 h 120"/>
                <a:gd name="T76" fmla="*/ 2147483647 w 162"/>
                <a:gd name="T77" fmla="*/ 2147483647 h 1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2"/>
                <a:gd name="T118" fmla="*/ 0 h 120"/>
                <a:gd name="T119" fmla="*/ 162 w 162"/>
                <a:gd name="T120" fmla="*/ 120 h 12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2" h="120">
                  <a:moveTo>
                    <a:pt x="8" y="68"/>
                  </a:moveTo>
                  <a:lnTo>
                    <a:pt x="0" y="61"/>
                  </a:lnTo>
                  <a:lnTo>
                    <a:pt x="2" y="52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19" y="30"/>
                  </a:lnTo>
                  <a:lnTo>
                    <a:pt x="18" y="16"/>
                  </a:lnTo>
                  <a:lnTo>
                    <a:pt x="27" y="6"/>
                  </a:lnTo>
                  <a:lnTo>
                    <a:pt x="34" y="5"/>
                  </a:lnTo>
                  <a:lnTo>
                    <a:pt x="40" y="8"/>
                  </a:lnTo>
                  <a:lnTo>
                    <a:pt x="45" y="8"/>
                  </a:lnTo>
                  <a:lnTo>
                    <a:pt x="51" y="10"/>
                  </a:lnTo>
                  <a:lnTo>
                    <a:pt x="55" y="8"/>
                  </a:lnTo>
                  <a:lnTo>
                    <a:pt x="70" y="14"/>
                  </a:lnTo>
                  <a:lnTo>
                    <a:pt x="75" y="12"/>
                  </a:lnTo>
                  <a:lnTo>
                    <a:pt x="77" y="6"/>
                  </a:lnTo>
                  <a:lnTo>
                    <a:pt x="86" y="3"/>
                  </a:lnTo>
                  <a:lnTo>
                    <a:pt x="93" y="0"/>
                  </a:lnTo>
                  <a:lnTo>
                    <a:pt x="105" y="1"/>
                  </a:lnTo>
                  <a:lnTo>
                    <a:pt x="109" y="18"/>
                  </a:lnTo>
                  <a:lnTo>
                    <a:pt x="116" y="19"/>
                  </a:lnTo>
                  <a:lnTo>
                    <a:pt x="116" y="25"/>
                  </a:lnTo>
                  <a:lnTo>
                    <a:pt x="120" y="31"/>
                  </a:lnTo>
                  <a:lnTo>
                    <a:pt x="135" y="30"/>
                  </a:lnTo>
                  <a:lnTo>
                    <a:pt x="143" y="37"/>
                  </a:lnTo>
                  <a:lnTo>
                    <a:pt x="148" y="37"/>
                  </a:lnTo>
                  <a:lnTo>
                    <a:pt x="162" y="50"/>
                  </a:lnTo>
                  <a:lnTo>
                    <a:pt x="156" y="57"/>
                  </a:lnTo>
                  <a:lnTo>
                    <a:pt x="155" y="69"/>
                  </a:lnTo>
                  <a:lnTo>
                    <a:pt x="151" y="68"/>
                  </a:lnTo>
                  <a:lnTo>
                    <a:pt x="144" y="75"/>
                  </a:lnTo>
                  <a:lnTo>
                    <a:pt x="139" y="86"/>
                  </a:lnTo>
                  <a:lnTo>
                    <a:pt x="133" y="86"/>
                  </a:lnTo>
                  <a:lnTo>
                    <a:pt x="129" y="90"/>
                  </a:lnTo>
                  <a:lnTo>
                    <a:pt x="117" y="91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05" y="98"/>
                  </a:lnTo>
                  <a:lnTo>
                    <a:pt x="106" y="100"/>
                  </a:lnTo>
                  <a:lnTo>
                    <a:pt x="113" y="103"/>
                  </a:lnTo>
                  <a:lnTo>
                    <a:pt x="115" y="107"/>
                  </a:lnTo>
                  <a:lnTo>
                    <a:pt x="123" y="108"/>
                  </a:lnTo>
                  <a:lnTo>
                    <a:pt x="127" y="108"/>
                  </a:lnTo>
                  <a:lnTo>
                    <a:pt x="127" y="112"/>
                  </a:lnTo>
                  <a:lnTo>
                    <a:pt x="120" y="113"/>
                  </a:lnTo>
                  <a:lnTo>
                    <a:pt x="115" y="115"/>
                  </a:lnTo>
                  <a:lnTo>
                    <a:pt x="109" y="120"/>
                  </a:lnTo>
                  <a:lnTo>
                    <a:pt x="102" y="120"/>
                  </a:lnTo>
                  <a:lnTo>
                    <a:pt x="101" y="115"/>
                  </a:lnTo>
                  <a:lnTo>
                    <a:pt x="101" y="110"/>
                  </a:lnTo>
                  <a:lnTo>
                    <a:pt x="95" y="108"/>
                  </a:lnTo>
                  <a:lnTo>
                    <a:pt x="95" y="105"/>
                  </a:lnTo>
                  <a:lnTo>
                    <a:pt x="97" y="104"/>
                  </a:lnTo>
                  <a:lnTo>
                    <a:pt x="102" y="101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2" y="96"/>
                  </a:lnTo>
                  <a:lnTo>
                    <a:pt x="88" y="95"/>
                  </a:lnTo>
                  <a:lnTo>
                    <a:pt x="85" y="91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4" y="94"/>
                  </a:lnTo>
                  <a:lnTo>
                    <a:pt x="74" y="99"/>
                  </a:lnTo>
                  <a:lnTo>
                    <a:pt x="67" y="106"/>
                  </a:lnTo>
                  <a:lnTo>
                    <a:pt x="62" y="107"/>
                  </a:lnTo>
                  <a:lnTo>
                    <a:pt x="62" y="98"/>
                  </a:lnTo>
                  <a:lnTo>
                    <a:pt x="66" y="92"/>
                  </a:lnTo>
                  <a:lnTo>
                    <a:pt x="70" y="92"/>
                  </a:lnTo>
                  <a:lnTo>
                    <a:pt x="71" y="88"/>
                  </a:lnTo>
                  <a:lnTo>
                    <a:pt x="67" y="84"/>
                  </a:lnTo>
                  <a:lnTo>
                    <a:pt x="64" y="71"/>
                  </a:lnTo>
                  <a:lnTo>
                    <a:pt x="59" y="64"/>
                  </a:lnTo>
                  <a:lnTo>
                    <a:pt x="45" y="64"/>
                  </a:lnTo>
                  <a:lnTo>
                    <a:pt x="39" y="68"/>
                  </a:lnTo>
                  <a:lnTo>
                    <a:pt x="32" y="72"/>
                  </a:lnTo>
                  <a:lnTo>
                    <a:pt x="24" y="74"/>
                  </a:lnTo>
                  <a:lnTo>
                    <a:pt x="14" y="70"/>
                  </a:lnTo>
                  <a:lnTo>
                    <a:pt x="8" y="6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2" name="Freeform 266"/>
            <p:cNvSpPr>
              <a:spLocks/>
            </p:cNvSpPr>
            <p:nvPr/>
          </p:nvSpPr>
          <p:spPr bwMode="gray">
            <a:xfrm>
              <a:off x="3001" y="2232"/>
              <a:ext cx="70" cy="52"/>
            </a:xfrm>
            <a:custGeom>
              <a:avLst/>
              <a:gdLst>
                <a:gd name="T0" fmla="*/ 2147483647 w 54"/>
                <a:gd name="T1" fmla="*/ 2147483647 h 40"/>
                <a:gd name="T2" fmla="*/ 2147483647 w 54"/>
                <a:gd name="T3" fmla="*/ 2147483647 h 40"/>
                <a:gd name="T4" fmla="*/ 2147483647 w 54"/>
                <a:gd name="T5" fmla="*/ 2147483647 h 40"/>
                <a:gd name="T6" fmla="*/ 2147483647 w 54"/>
                <a:gd name="T7" fmla="*/ 2147483647 h 40"/>
                <a:gd name="T8" fmla="*/ 0 w 54"/>
                <a:gd name="T9" fmla="*/ 2147483647 h 40"/>
                <a:gd name="T10" fmla="*/ 2147483647 w 54"/>
                <a:gd name="T11" fmla="*/ 0 h 40"/>
                <a:gd name="T12" fmla="*/ 2147483647 w 54"/>
                <a:gd name="T13" fmla="*/ 2147483647 h 40"/>
                <a:gd name="T14" fmla="*/ 2147483647 w 54"/>
                <a:gd name="T15" fmla="*/ 2147483647 h 40"/>
                <a:gd name="T16" fmla="*/ 2147483647 w 54"/>
                <a:gd name="T17" fmla="*/ 2147483647 h 40"/>
                <a:gd name="T18" fmla="*/ 2147483647 w 54"/>
                <a:gd name="T19" fmla="*/ 0 h 40"/>
                <a:gd name="T20" fmla="*/ 2147483647 w 54"/>
                <a:gd name="T21" fmla="*/ 0 h 40"/>
                <a:gd name="T22" fmla="*/ 2147483647 w 54"/>
                <a:gd name="T23" fmla="*/ 2147483647 h 40"/>
                <a:gd name="T24" fmla="*/ 2147483647 w 54"/>
                <a:gd name="T25" fmla="*/ 2147483647 h 40"/>
                <a:gd name="T26" fmla="*/ 2147483647 w 54"/>
                <a:gd name="T27" fmla="*/ 2147483647 h 40"/>
                <a:gd name="T28" fmla="*/ 2147483647 w 54"/>
                <a:gd name="T29" fmla="*/ 2147483647 h 40"/>
                <a:gd name="T30" fmla="*/ 2147483647 w 54"/>
                <a:gd name="T31" fmla="*/ 2147483647 h 40"/>
                <a:gd name="T32" fmla="*/ 2147483647 w 54"/>
                <a:gd name="T33" fmla="*/ 2147483647 h 40"/>
                <a:gd name="T34" fmla="*/ 2147483647 w 54"/>
                <a:gd name="T35" fmla="*/ 2147483647 h 40"/>
                <a:gd name="T36" fmla="*/ 2147483647 w 54"/>
                <a:gd name="T37" fmla="*/ 2147483647 h 40"/>
                <a:gd name="T38" fmla="*/ 2147483647 w 54"/>
                <a:gd name="T39" fmla="*/ 2147483647 h 40"/>
                <a:gd name="T40" fmla="*/ 2147483647 w 54"/>
                <a:gd name="T41" fmla="*/ 2147483647 h 40"/>
                <a:gd name="T42" fmla="*/ 2147483647 w 54"/>
                <a:gd name="T43" fmla="*/ 2147483647 h 40"/>
                <a:gd name="T44" fmla="*/ 2147483647 w 54"/>
                <a:gd name="T45" fmla="*/ 2147483647 h 40"/>
                <a:gd name="T46" fmla="*/ 2147483647 w 54"/>
                <a:gd name="T47" fmla="*/ 2147483647 h 4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"/>
                <a:gd name="T73" fmla="*/ 0 h 40"/>
                <a:gd name="T74" fmla="*/ 54 w 54"/>
                <a:gd name="T75" fmla="*/ 40 h 4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" h="40">
                  <a:moveTo>
                    <a:pt x="5" y="40"/>
                  </a:moveTo>
                  <a:lnTo>
                    <a:pt x="5" y="31"/>
                  </a:lnTo>
                  <a:lnTo>
                    <a:pt x="1" y="21"/>
                  </a:lnTo>
                  <a:lnTo>
                    <a:pt x="5" y="13"/>
                  </a:lnTo>
                  <a:lnTo>
                    <a:pt x="0" y="7"/>
                  </a:lnTo>
                  <a:lnTo>
                    <a:pt x="3" y="0"/>
                  </a:lnTo>
                  <a:lnTo>
                    <a:pt x="9" y="4"/>
                  </a:lnTo>
                  <a:lnTo>
                    <a:pt x="20" y="7"/>
                  </a:lnTo>
                  <a:lnTo>
                    <a:pt x="30" y="5"/>
                  </a:lnTo>
                  <a:lnTo>
                    <a:pt x="37" y="0"/>
                  </a:lnTo>
                  <a:lnTo>
                    <a:pt x="42" y="0"/>
                  </a:lnTo>
                  <a:lnTo>
                    <a:pt x="54" y="5"/>
                  </a:lnTo>
                  <a:lnTo>
                    <a:pt x="54" y="11"/>
                  </a:lnTo>
                  <a:lnTo>
                    <a:pt x="50" y="14"/>
                  </a:lnTo>
                  <a:lnTo>
                    <a:pt x="49" y="25"/>
                  </a:lnTo>
                  <a:lnTo>
                    <a:pt x="47" y="31"/>
                  </a:lnTo>
                  <a:lnTo>
                    <a:pt x="41" y="29"/>
                  </a:lnTo>
                  <a:lnTo>
                    <a:pt x="35" y="31"/>
                  </a:lnTo>
                  <a:lnTo>
                    <a:pt x="33" y="39"/>
                  </a:lnTo>
                  <a:lnTo>
                    <a:pt x="28" y="40"/>
                  </a:lnTo>
                  <a:lnTo>
                    <a:pt x="23" y="37"/>
                  </a:lnTo>
                  <a:lnTo>
                    <a:pt x="17" y="36"/>
                  </a:lnTo>
                  <a:lnTo>
                    <a:pt x="11" y="38"/>
                  </a:lnTo>
                  <a:lnTo>
                    <a:pt x="5" y="4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3" name="Freeform 267"/>
            <p:cNvSpPr>
              <a:spLocks/>
            </p:cNvSpPr>
            <p:nvPr/>
          </p:nvSpPr>
          <p:spPr bwMode="gray">
            <a:xfrm>
              <a:off x="2975" y="2158"/>
              <a:ext cx="111" cy="84"/>
            </a:xfrm>
            <a:custGeom>
              <a:avLst/>
              <a:gdLst>
                <a:gd name="T0" fmla="*/ 2147483647 w 85"/>
                <a:gd name="T1" fmla="*/ 2147483647 h 64"/>
                <a:gd name="T2" fmla="*/ 2147483647 w 85"/>
                <a:gd name="T3" fmla="*/ 2147483647 h 64"/>
                <a:gd name="T4" fmla="*/ 2147483647 w 85"/>
                <a:gd name="T5" fmla="*/ 2147483647 h 64"/>
                <a:gd name="T6" fmla="*/ 2147483647 w 85"/>
                <a:gd name="T7" fmla="*/ 2147483647 h 64"/>
                <a:gd name="T8" fmla="*/ 0 w 85"/>
                <a:gd name="T9" fmla="*/ 2147483647 h 64"/>
                <a:gd name="T10" fmla="*/ 2147483647 w 85"/>
                <a:gd name="T11" fmla="*/ 2147483647 h 64"/>
                <a:gd name="T12" fmla="*/ 2147483647 w 85"/>
                <a:gd name="T13" fmla="*/ 2147483647 h 64"/>
                <a:gd name="T14" fmla="*/ 2147483647 w 85"/>
                <a:gd name="T15" fmla="*/ 2147483647 h 64"/>
                <a:gd name="T16" fmla="*/ 2147483647 w 85"/>
                <a:gd name="T17" fmla="*/ 0 h 64"/>
                <a:gd name="T18" fmla="*/ 2147483647 w 85"/>
                <a:gd name="T19" fmla="*/ 2147483647 h 64"/>
                <a:gd name="T20" fmla="*/ 2147483647 w 85"/>
                <a:gd name="T21" fmla="*/ 2147483647 h 64"/>
                <a:gd name="T22" fmla="*/ 2147483647 w 85"/>
                <a:gd name="T23" fmla="*/ 2147483647 h 64"/>
                <a:gd name="T24" fmla="*/ 2147483647 w 85"/>
                <a:gd name="T25" fmla="*/ 0 h 64"/>
                <a:gd name="T26" fmla="*/ 2147483647 w 85"/>
                <a:gd name="T27" fmla="*/ 2147483647 h 64"/>
                <a:gd name="T28" fmla="*/ 2147483647 w 85"/>
                <a:gd name="T29" fmla="*/ 2147483647 h 64"/>
                <a:gd name="T30" fmla="*/ 2147483647 w 85"/>
                <a:gd name="T31" fmla="*/ 2147483647 h 64"/>
                <a:gd name="T32" fmla="*/ 2147483647 w 85"/>
                <a:gd name="T33" fmla="*/ 2147483647 h 64"/>
                <a:gd name="T34" fmla="*/ 2147483647 w 85"/>
                <a:gd name="T35" fmla="*/ 2147483647 h 64"/>
                <a:gd name="T36" fmla="*/ 2147483647 w 85"/>
                <a:gd name="T37" fmla="*/ 2147483647 h 64"/>
                <a:gd name="T38" fmla="*/ 2147483647 w 85"/>
                <a:gd name="T39" fmla="*/ 2147483647 h 64"/>
                <a:gd name="T40" fmla="*/ 2147483647 w 85"/>
                <a:gd name="T41" fmla="*/ 2147483647 h 64"/>
                <a:gd name="T42" fmla="*/ 2147483647 w 85"/>
                <a:gd name="T43" fmla="*/ 2147483647 h 64"/>
                <a:gd name="T44" fmla="*/ 2147483647 w 85"/>
                <a:gd name="T45" fmla="*/ 2147483647 h 64"/>
                <a:gd name="T46" fmla="*/ 2147483647 w 85"/>
                <a:gd name="T47" fmla="*/ 2147483647 h 64"/>
                <a:gd name="T48" fmla="*/ 2147483647 w 85"/>
                <a:gd name="T49" fmla="*/ 2147483647 h 64"/>
                <a:gd name="T50" fmla="*/ 2147483647 w 85"/>
                <a:gd name="T51" fmla="*/ 2147483647 h 64"/>
                <a:gd name="T52" fmla="*/ 2147483647 w 85"/>
                <a:gd name="T53" fmla="*/ 2147483647 h 64"/>
                <a:gd name="T54" fmla="*/ 2147483647 w 85"/>
                <a:gd name="T55" fmla="*/ 2147483647 h 64"/>
                <a:gd name="T56" fmla="*/ 2147483647 w 85"/>
                <a:gd name="T57" fmla="*/ 2147483647 h 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4"/>
                <a:gd name="T89" fmla="*/ 85 w 85"/>
                <a:gd name="T90" fmla="*/ 64 h 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4">
                  <a:moveTo>
                    <a:pt x="23" y="57"/>
                  </a:moveTo>
                  <a:lnTo>
                    <a:pt x="18" y="50"/>
                  </a:lnTo>
                  <a:lnTo>
                    <a:pt x="6" y="48"/>
                  </a:lnTo>
                  <a:lnTo>
                    <a:pt x="5" y="37"/>
                  </a:lnTo>
                  <a:lnTo>
                    <a:pt x="0" y="28"/>
                  </a:lnTo>
                  <a:lnTo>
                    <a:pt x="8" y="26"/>
                  </a:lnTo>
                  <a:lnTo>
                    <a:pt x="10" y="14"/>
                  </a:lnTo>
                  <a:lnTo>
                    <a:pt x="17" y="5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41" y="6"/>
                  </a:lnTo>
                  <a:lnTo>
                    <a:pt x="49" y="4"/>
                  </a:lnTo>
                  <a:lnTo>
                    <a:pt x="56" y="0"/>
                  </a:lnTo>
                  <a:lnTo>
                    <a:pt x="62" y="2"/>
                  </a:lnTo>
                  <a:lnTo>
                    <a:pt x="67" y="10"/>
                  </a:lnTo>
                  <a:lnTo>
                    <a:pt x="71" y="27"/>
                  </a:lnTo>
                  <a:lnTo>
                    <a:pt x="74" y="31"/>
                  </a:lnTo>
                  <a:lnTo>
                    <a:pt x="74" y="37"/>
                  </a:lnTo>
                  <a:lnTo>
                    <a:pt x="79" y="39"/>
                  </a:lnTo>
                  <a:lnTo>
                    <a:pt x="84" y="38"/>
                  </a:lnTo>
                  <a:lnTo>
                    <a:pt x="85" y="43"/>
                  </a:lnTo>
                  <a:lnTo>
                    <a:pt x="76" y="53"/>
                  </a:lnTo>
                  <a:lnTo>
                    <a:pt x="74" y="62"/>
                  </a:lnTo>
                  <a:lnTo>
                    <a:pt x="62" y="57"/>
                  </a:lnTo>
                  <a:lnTo>
                    <a:pt x="57" y="57"/>
                  </a:lnTo>
                  <a:lnTo>
                    <a:pt x="50" y="62"/>
                  </a:lnTo>
                  <a:lnTo>
                    <a:pt x="40" y="64"/>
                  </a:lnTo>
                  <a:lnTo>
                    <a:pt x="29" y="61"/>
                  </a:lnTo>
                  <a:lnTo>
                    <a:pt x="23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4" name="Freeform 268"/>
            <p:cNvSpPr>
              <a:spLocks/>
            </p:cNvSpPr>
            <p:nvPr/>
          </p:nvSpPr>
          <p:spPr bwMode="gray">
            <a:xfrm>
              <a:off x="2878" y="2338"/>
              <a:ext cx="35" cy="24"/>
            </a:xfrm>
            <a:custGeom>
              <a:avLst/>
              <a:gdLst>
                <a:gd name="T0" fmla="*/ 2147483647 w 27"/>
                <a:gd name="T1" fmla="*/ 0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2147483647 h 18"/>
                <a:gd name="T10" fmla="*/ 0 w 27"/>
                <a:gd name="T11" fmla="*/ 2147483647 h 18"/>
                <a:gd name="T12" fmla="*/ 0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2147483647 w 27"/>
                <a:gd name="T21" fmla="*/ 2147483647 h 18"/>
                <a:gd name="T22" fmla="*/ 2147483647 w 27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8"/>
                <a:gd name="T38" fmla="*/ 27 w 27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8">
                  <a:moveTo>
                    <a:pt x="27" y="0"/>
                  </a:moveTo>
                  <a:lnTo>
                    <a:pt x="24" y="7"/>
                  </a:lnTo>
                  <a:lnTo>
                    <a:pt x="24" y="18"/>
                  </a:lnTo>
                  <a:lnTo>
                    <a:pt x="12" y="12"/>
                  </a:lnTo>
                  <a:lnTo>
                    <a:pt x="7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1"/>
                  </a:lnTo>
                  <a:lnTo>
                    <a:pt x="7" y="1"/>
                  </a:lnTo>
                  <a:lnTo>
                    <a:pt x="11" y="2"/>
                  </a:lnTo>
                  <a:lnTo>
                    <a:pt x="21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5" name="Freeform 269"/>
            <p:cNvSpPr>
              <a:spLocks/>
            </p:cNvSpPr>
            <p:nvPr/>
          </p:nvSpPr>
          <p:spPr bwMode="gray">
            <a:xfrm>
              <a:off x="2899" y="2367"/>
              <a:ext cx="7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0 w 5"/>
                <a:gd name="T9" fmla="*/ 2147483647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6" name="Freeform 270"/>
            <p:cNvSpPr>
              <a:spLocks/>
            </p:cNvSpPr>
            <p:nvPr/>
          </p:nvSpPr>
          <p:spPr bwMode="gray">
            <a:xfrm>
              <a:off x="3044" y="2270"/>
              <a:ext cx="32" cy="33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2147483647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2147483647 w 25"/>
                <a:gd name="T17" fmla="*/ 2147483647 h 25"/>
                <a:gd name="T18" fmla="*/ 0 w 25"/>
                <a:gd name="T19" fmla="*/ 2147483647 h 25"/>
                <a:gd name="T20" fmla="*/ 0 w 25"/>
                <a:gd name="T21" fmla="*/ 2147483647 h 25"/>
                <a:gd name="T22" fmla="*/ 2147483647 w 25"/>
                <a:gd name="T23" fmla="*/ 2147483647 h 25"/>
                <a:gd name="T24" fmla="*/ 0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5"/>
                <a:gd name="T50" fmla="*/ 25 w 25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5">
                  <a:moveTo>
                    <a:pt x="2" y="2"/>
                  </a:moveTo>
                  <a:lnTo>
                    <a:pt x="8" y="0"/>
                  </a:lnTo>
                  <a:lnTo>
                    <a:pt x="14" y="2"/>
                  </a:lnTo>
                  <a:lnTo>
                    <a:pt x="25" y="12"/>
                  </a:lnTo>
                  <a:lnTo>
                    <a:pt x="24" y="16"/>
                  </a:lnTo>
                  <a:lnTo>
                    <a:pt x="19" y="16"/>
                  </a:lnTo>
                  <a:lnTo>
                    <a:pt x="13" y="15"/>
                  </a:lnTo>
                  <a:lnTo>
                    <a:pt x="12" y="19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4" y="13"/>
                  </a:lnTo>
                  <a:lnTo>
                    <a:pt x="5" y="7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7" name="Freeform 271"/>
            <p:cNvSpPr>
              <a:spLocks/>
            </p:cNvSpPr>
            <p:nvPr/>
          </p:nvSpPr>
          <p:spPr bwMode="gray">
            <a:xfrm>
              <a:off x="3013" y="2381"/>
              <a:ext cx="31" cy="11"/>
            </a:xfrm>
            <a:custGeom>
              <a:avLst/>
              <a:gdLst>
                <a:gd name="T0" fmla="*/ 0 w 23"/>
                <a:gd name="T1" fmla="*/ 2147483647 h 8"/>
                <a:gd name="T2" fmla="*/ 2147483647 w 23"/>
                <a:gd name="T3" fmla="*/ 0 h 8"/>
                <a:gd name="T4" fmla="*/ 2147483647 w 23"/>
                <a:gd name="T5" fmla="*/ 0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2147483647 h 8"/>
                <a:gd name="T20" fmla="*/ 2147483647 w 23"/>
                <a:gd name="T21" fmla="*/ 2147483647 h 8"/>
                <a:gd name="T22" fmla="*/ 2147483647 w 23"/>
                <a:gd name="T23" fmla="*/ 2147483647 h 8"/>
                <a:gd name="T24" fmla="*/ 2147483647 w 23"/>
                <a:gd name="T25" fmla="*/ 2147483647 h 8"/>
                <a:gd name="T26" fmla="*/ 2147483647 w 23"/>
                <a:gd name="T27" fmla="*/ 2147483647 h 8"/>
                <a:gd name="T28" fmla="*/ 2147483647 w 23"/>
                <a:gd name="T29" fmla="*/ 2147483647 h 8"/>
                <a:gd name="T30" fmla="*/ 0 w 23"/>
                <a:gd name="T31" fmla="*/ 2147483647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3"/>
                <a:gd name="T49" fmla="*/ 0 h 8"/>
                <a:gd name="T50" fmla="*/ 23 w 23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3" h="8">
                  <a:moveTo>
                    <a:pt x="0" y="2"/>
                  </a:moveTo>
                  <a:lnTo>
                    <a:pt x="1" y="0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9" y="8"/>
                  </a:lnTo>
                  <a:lnTo>
                    <a:pt x="12" y="8"/>
                  </a:lnTo>
                  <a:lnTo>
                    <a:pt x="7" y="5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8" name="Freeform 272"/>
            <p:cNvSpPr>
              <a:spLocks/>
            </p:cNvSpPr>
            <p:nvPr/>
          </p:nvSpPr>
          <p:spPr bwMode="gray">
            <a:xfrm>
              <a:off x="3033" y="2355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79" name="Freeform 273"/>
            <p:cNvSpPr>
              <a:spLocks/>
            </p:cNvSpPr>
            <p:nvPr/>
          </p:nvSpPr>
          <p:spPr bwMode="gray">
            <a:xfrm>
              <a:off x="3054" y="2377"/>
              <a:ext cx="5" cy="6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0" name="Freeform 274"/>
            <p:cNvSpPr>
              <a:spLocks/>
            </p:cNvSpPr>
            <p:nvPr/>
          </p:nvSpPr>
          <p:spPr bwMode="gray">
            <a:xfrm>
              <a:off x="2744" y="2256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0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1" name="Freeform 275"/>
            <p:cNvSpPr>
              <a:spLocks/>
            </p:cNvSpPr>
            <p:nvPr/>
          </p:nvSpPr>
          <p:spPr bwMode="gray">
            <a:xfrm>
              <a:off x="2894" y="2187"/>
              <a:ext cx="66" cy="77"/>
            </a:xfrm>
            <a:custGeom>
              <a:avLst/>
              <a:gdLst>
                <a:gd name="T0" fmla="*/ 2147483647 w 51"/>
                <a:gd name="T1" fmla="*/ 2147483647 h 59"/>
                <a:gd name="T2" fmla="*/ 2147483647 w 51"/>
                <a:gd name="T3" fmla="*/ 2147483647 h 59"/>
                <a:gd name="T4" fmla="*/ 2147483647 w 51"/>
                <a:gd name="T5" fmla="*/ 2147483647 h 59"/>
                <a:gd name="T6" fmla="*/ 2147483647 w 51"/>
                <a:gd name="T7" fmla="*/ 2147483647 h 59"/>
                <a:gd name="T8" fmla="*/ 2147483647 w 51"/>
                <a:gd name="T9" fmla="*/ 2147483647 h 59"/>
                <a:gd name="T10" fmla="*/ 2147483647 w 51"/>
                <a:gd name="T11" fmla="*/ 2147483647 h 59"/>
                <a:gd name="T12" fmla="*/ 2147483647 w 51"/>
                <a:gd name="T13" fmla="*/ 2147483647 h 59"/>
                <a:gd name="T14" fmla="*/ 2147483647 w 51"/>
                <a:gd name="T15" fmla="*/ 2147483647 h 59"/>
                <a:gd name="T16" fmla="*/ 2147483647 w 51"/>
                <a:gd name="T17" fmla="*/ 2147483647 h 59"/>
                <a:gd name="T18" fmla="*/ 2147483647 w 51"/>
                <a:gd name="T19" fmla="*/ 2147483647 h 59"/>
                <a:gd name="T20" fmla="*/ 2147483647 w 51"/>
                <a:gd name="T21" fmla="*/ 2147483647 h 59"/>
                <a:gd name="T22" fmla="*/ 0 w 51"/>
                <a:gd name="T23" fmla="*/ 2147483647 h 59"/>
                <a:gd name="T24" fmla="*/ 2147483647 w 51"/>
                <a:gd name="T25" fmla="*/ 2147483647 h 59"/>
                <a:gd name="T26" fmla="*/ 2147483647 w 51"/>
                <a:gd name="T27" fmla="*/ 2147483647 h 59"/>
                <a:gd name="T28" fmla="*/ 2147483647 w 51"/>
                <a:gd name="T29" fmla="*/ 2147483647 h 59"/>
                <a:gd name="T30" fmla="*/ 2147483647 w 51"/>
                <a:gd name="T31" fmla="*/ 2147483647 h 59"/>
                <a:gd name="T32" fmla="*/ 2147483647 w 51"/>
                <a:gd name="T33" fmla="*/ 2147483647 h 59"/>
                <a:gd name="T34" fmla="*/ 2147483647 w 51"/>
                <a:gd name="T35" fmla="*/ 0 h 59"/>
                <a:gd name="T36" fmla="*/ 2147483647 w 51"/>
                <a:gd name="T37" fmla="*/ 2147483647 h 59"/>
                <a:gd name="T38" fmla="*/ 2147483647 w 51"/>
                <a:gd name="T39" fmla="*/ 2147483647 h 59"/>
                <a:gd name="T40" fmla="*/ 2147483647 w 51"/>
                <a:gd name="T41" fmla="*/ 2147483647 h 59"/>
                <a:gd name="T42" fmla="*/ 2147483647 w 51"/>
                <a:gd name="T43" fmla="*/ 2147483647 h 59"/>
                <a:gd name="T44" fmla="*/ 2147483647 w 51"/>
                <a:gd name="T45" fmla="*/ 2147483647 h 59"/>
                <a:gd name="T46" fmla="*/ 2147483647 w 51"/>
                <a:gd name="T47" fmla="*/ 2147483647 h 59"/>
                <a:gd name="T48" fmla="*/ 2147483647 w 51"/>
                <a:gd name="T49" fmla="*/ 2147483647 h 59"/>
                <a:gd name="T50" fmla="*/ 2147483647 w 51"/>
                <a:gd name="T51" fmla="*/ 2147483647 h 59"/>
                <a:gd name="T52" fmla="*/ 2147483647 w 51"/>
                <a:gd name="T53" fmla="*/ 2147483647 h 59"/>
                <a:gd name="T54" fmla="*/ 2147483647 w 51"/>
                <a:gd name="T55" fmla="*/ 2147483647 h 59"/>
                <a:gd name="T56" fmla="*/ 2147483647 w 51"/>
                <a:gd name="T57" fmla="*/ 2147483647 h 59"/>
                <a:gd name="T58" fmla="*/ 2147483647 w 51"/>
                <a:gd name="T59" fmla="*/ 2147483647 h 59"/>
                <a:gd name="T60" fmla="*/ 2147483647 w 51"/>
                <a:gd name="T61" fmla="*/ 2147483647 h 59"/>
                <a:gd name="T62" fmla="*/ 2147483647 w 51"/>
                <a:gd name="T63" fmla="*/ 2147483647 h 59"/>
                <a:gd name="T64" fmla="*/ 2147483647 w 51"/>
                <a:gd name="T65" fmla="*/ 2147483647 h 59"/>
                <a:gd name="T66" fmla="*/ 2147483647 w 51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"/>
                <a:gd name="T103" fmla="*/ 0 h 59"/>
                <a:gd name="T104" fmla="*/ 51 w 51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" h="59">
                  <a:moveTo>
                    <a:pt x="43" y="59"/>
                  </a:moveTo>
                  <a:lnTo>
                    <a:pt x="37" y="57"/>
                  </a:lnTo>
                  <a:lnTo>
                    <a:pt x="35" y="52"/>
                  </a:lnTo>
                  <a:lnTo>
                    <a:pt x="27" y="47"/>
                  </a:lnTo>
                  <a:lnTo>
                    <a:pt x="20" y="42"/>
                  </a:lnTo>
                  <a:lnTo>
                    <a:pt x="15" y="36"/>
                  </a:lnTo>
                  <a:lnTo>
                    <a:pt x="14" y="31"/>
                  </a:lnTo>
                  <a:lnTo>
                    <a:pt x="11" y="28"/>
                  </a:lnTo>
                  <a:lnTo>
                    <a:pt x="8" y="22"/>
                  </a:lnTo>
                  <a:lnTo>
                    <a:pt x="5" y="24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3" y="14"/>
                  </a:lnTo>
                  <a:lnTo>
                    <a:pt x="18" y="13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5" y="10"/>
                  </a:lnTo>
                  <a:lnTo>
                    <a:pt x="48" y="12"/>
                  </a:lnTo>
                  <a:lnTo>
                    <a:pt x="51" y="22"/>
                  </a:lnTo>
                  <a:lnTo>
                    <a:pt x="39" y="23"/>
                  </a:lnTo>
                  <a:lnTo>
                    <a:pt x="32" y="18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4" y="24"/>
                  </a:lnTo>
                  <a:lnTo>
                    <a:pt x="21" y="26"/>
                  </a:lnTo>
                  <a:lnTo>
                    <a:pt x="23" y="35"/>
                  </a:lnTo>
                  <a:lnTo>
                    <a:pt x="30" y="42"/>
                  </a:lnTo>
                  <a:lnTo>
                    <a:pt x="38" y="50"/>
                  </a:lnTo>
                  <a:lnTo>
                    <a:pt x="39" y="55"/>
                  </a:lnTo>
                  <a:lnTo>
                    <a:pt x="43" y="57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2" name="Freeform 276"/>
            <p:cNvSpPr>
              <a:spLocks/>
            </p:cNvSpPr>
            <p:nvPr/>
          </p:nvSpPr>
          <p:spPr bwMode="gray">
            <a:xfrm>
              <a:off x="2921" y="2211"/>
              <a:ext cx="42" cy="50"/>
            </a:xfrm>
            <a:custGeom>
              <a:avLst/>
              <a:gdLst>
                <a:gd name="T0" fmla="*/ 2147483647 w 32"/>
                <a:gd name="T1" fmla="*/ 2147483647 h 39"/>
                <a:gd name="T2" fmla="*/ 2147483647 w 32"/>
                <a:gd name="T3" fmla="*/ 2147483647 h 39"/>
                <a:gd name="T4" fmla="*/ 2147483647 w 32"/>
                <a:gd name="T5" fmla="*/ 2147483647 h 39"/>
                <a:gd name="T6" fmla="*/ 2147483647 w 32"/>
                <a:gd name="T7" fmla="*/ 2147483647 h 39"/>
                <a:gd name="T8" fmla="*/ 2147483647 w 32"/>
                <a:gd name="T9" fmla="*/ 2147483647 h 39"/>
                <a:gd name="T10" fmla="*/ 0 w 32"/>
                <a:gd name="T11" fmla="*/ 2147483647 h 39"/>
                <a:gd name="T12" fmla="*/ 2147483647 w 32"/>
                <a:gd name="T13" fmla="*/ 2147483647 h 39"/>
                <a:gd name="T14" fmla="*/ 2147483647 w 32"/>
                <a:gd name="T15" fmla="*/ 2147483647 h 39"/>
                <a:gd name="T16" fmla="*/ 2147483647 w 32"/>
                <a:gd name="T17" fmla="*/ 2147483647 h 39"/>
                <a:gd name="T18" fmla="*/ 2147483647 w 32"/>
                <a:gd name="T19" fmla="*/ 0 h 39"/>
                <a:gd name="T20" fmla="*/ 2147483647 w 32"/>
                <a:gd name="T21" fmla="*/ 2147483647 h 39"/>
                <a:gd name="T22" fmla="*/ 2147483647 w 32"/>
                <a:gd name="T23" fmla="*/ 2147483647 h 39"/>
                <a:gd name="T24" fmla="*/ 2147483647 w 32"/>
                <a:gd name="T25" fmla="*/ 2147483647 h 39"/>
                <a:gd name="T26" fmla="*/ 2147483647 w 32"/>
                <a:gd name="T27" fmla="*/ 2147483647 h 39"/>
                <a:gd name="T28" fmla="*/ 2147483647 w 32"/>
                <a:gd name="T29" fmla="*/ 2147483647 h 39"/>
                <a:gd name="T30" fmla="*/ 2147483647 w 32"/>
                <a:gd name="T31" fmla="*/ 2147483647 h 3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39"/>
                <a:gd name="T50" fmla="*/ 32 w 32"/>
                <a:gd name="T51" fmla="*/ 39 h 3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39">
                  <a:moveTo>
                    <a:pt x="22" y="39"/>
                  </a:moveTo>
                  <a:lnTo>
                    <a:pt x="18" y="37"/>
                  </a:lnTo>
                  <a:lnTo>
                    <a:pt x="17" y="32"/>
                  </a:lnTo>
                  <a:lnTo>
                    <a:pt x="9" y="24"/>
                  </a:lnTo>
                  <a:lnTo>
                    <a:pt x="2" y="17"/>
                  </a:lnTo>
                  <a:lnTo>
                    <a:pt x="0" y="8"/>
                  </a:lnTo>
                  <a:lnTo>
                    <a:pt x="3" y="6"/>
                  </a:lnTo>
                  <a:lnTo>
                    <a:pt x="6" y="7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8" y="5"/>
                  </a:lnTo>
                  <a:lnTo>
                    <a:pt x="30" y="4"/>
                  </a:lnTo>
                  <a:lnTo>
                    <a:pt x="32" y="12"/>
                  </a:lnTo>
                  <a:lnTo>
                    <a:pt x="32" y="25"/>
                  </a:lnTo>
                  <a:lnTo>
                    <a:pt x="25" y="35"/>
                  </a:lnTo>
                  <a:lnTo>
                    <a:pt x="22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3" name="Freeform 277"/>
            <p:cNvSpPr>
              <a:spLocks/>
            </p:cNvSpPr>
            <p:nvPr/>
          </p:nvSpPr>
          <p:spPr bwMode="gray">
            <a:xfrm>
              <a:off x="2950" y="2194"/>
              <a:ext cx="57" cy="79"/>
            </a:xfrm>
            <a:custGeom>
              <a:avLst/>
              <a:gdLst>
                <a:gd name="T0" fmla="*/ 2147483647 w 44"/>
                <a:gd name="T1" fmla="*/ 2147483647 h 61"/>
                <a:gd name="T2" fmla="*/ 2147483647 w 44"/>
                <a:gd name="T3" fmla="*/ 2147483647 h 61"/>
                <a:gd name="T4" fmla="*/ 2147483647 w 44"/>
                <a:gd name="T5" fmla="*/ 2147483647 h 61"/>
                <a:gd name="T6" fmla="*/ 2147483647 w 44"/>
                <a:gd name="T7" fmla="*/ 2147483647 h 61"/>
                <a:gd name="T8" fmla="*/ 2147483647 w 44"/>
                <a:gd name="T9" fmla="*/ 2147483647 h 61"/>
                <a:gd name="T10" fmla="*/ 2147483647 w 44"/>
                <a:gd name="T11" fmla="*/ 2147483647 h 61"/>
                <a:gd name="T12" fmla="*/ 2147483647 w 44"/>
                <a:gd name="T13" fmla="*/ 2147483647 h 61"/>
                <a:gd name="T14" fmla="*/ 2147483647 w 44"/>
                <a:gd name="T15" fmla="*/ 2147483647 h 61"/>
                <a:gd name="T16" fmla="*/ 2147483647 w 44"/>
                <a:gd name="T17" fmla="*/ 2147483647 h 61"/>
                <a:gd name="T18" fmla="*/ 2147483647 w 44"/>
                <a:gd name="T19" fmla="*/ 2147483647 h 61"/>
                <a:gd name="T20" fmla="*/ 2147483647 w 44"/>
                <a:gd name="T21" fmla="*/ 2147483647 h 61"/>
                <a:gd name="T22" fmla="*/ 2147483647 w 44"/>
                <a:gd name="T23" fmla="*/ 2147483647 h 61"/>
                <a:gd name="T24" fmla="*/ 2147483647 w 44"/>
                <a:gd name="T25" fmla="*/ 2147483647 h 61"/>
                <a:gd name="T26" fmla="*/ 2147483647 w 44"/>
                <a:gd name="T27" fmla="*/ 2147483647 h 61"/>
                <a:gd name="T28" fmla="*/ 0 w 44"/>
                <a:gd name="T29" fmla="*/ 2147483647 h 61"/>
                <a:gd name="T30" fmla="*/ 0 w 44"/>
                <a:gd name="T31" fmla="*/ 2147483647 h 61"/>
                <a:gd name="T32" fmla="*/ 2147483647 w 44"/>
                <a:gd name="T33" fmla="*/ 2147483647 h 61"/>
                <a:gd name="T34" fmla="*/ 2147483647 w 44"/>
                <a:gd name="T35" fmla="*/ 2147483647 h 61"/>
                <a:gd name="T36" fmla="*/ 2147483647 w 44"/>
                <a:gd name="T37" fmla="*/ 2147483647 h 61"/>
                <a:gd name="T38" fmla="*/ 2147483647 w 44"/>
                <a:gd name="T39" fmla="*/ 2147483647 h 61"/>
                <a:gd name="T40" fmla="*/ 2147483647 w 44"/>
                <a:gd name="T41" fmla="*/ 2147483647 h 61"/>
                <a:gd name="T42" fmla="*/ 2147483647 w 44"/>
                <a:gd name="T43" fmla="*/ 2147483647 h 61"/>
                <a:gd name="T44" fmla="*/ 2147483647 w 44"/>
                <a:gd name="T45" fmla="*/ 0 h 61"/>
                <a:gd name="T46" fmla="*/ 2147483647 w 44"/>
                <a:gd name="T47" fmla="*/ 214748364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61"/>
                <a:gd name="T74" fmla="*/ 44 w 44"/>
                <a:gd name="T75" fmla="*/ 61 h 6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61">
                  <a:moveTo>
                    <a:pt x="19" y="1"/>
                  </a:moveTo>
                  <a:lnTo>
                    <a:pt x="24" y="10"/>
                  </a:lnTo>
                  <a:lnTo>
                    <a:pt x="25" y="21"/>
                  </a:lnTo>
                  <a:lnTo>
                    <a:pt x="37" y="23"/>
                  </a:lnTo>
                  <a:lnTo>
                    <a:pt x="42" y="30"/>
                  </a:lnTo>
                  <a:lnTo>
                    <a:pt x="39" y="37"/>
                  </a:lnTo>
                  <a:lnTo>
                    <a:pt x="44" y="43"/>
                  </a:lnTo>
                  <a:lnTo>
                    <a:pt x="40" y="51"/>
                  </a:lnTo>
                  <a:lnTo>
                    <a:pt x="31" y="55"/>
                  </a:lnTo>
                  <a:lnTo>
                    <a:pt x="23" y="61"/>
                  </a:lnTo>
                  <a:lnTo>
                    <a:pt x="20" y="53"/>
                  </a:lnTo>
                  <a:lnTo>
                    <a:pt x="14" y="51"/>
                  </a:lnTo>
                  <a:lnTo>
                    <a:pt x="10" y="54"/>
                  </a:lnTo>
                  <a:lnTo>
                    <a:pt x="8" y="60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3" y="48"/>
                  </a:lnTo>
                  <a:lnTo>
                    <a:pt x="10" y="38"/>
                  </a:lnTo>
                  <a:lnTo>
                    <a:pt x="10" y="25"/>
                  </a:lnTo>
                  <a:lnTo>
                    <a:pt x="8" y="17"/>
                  </a:lnTo>
                  <a:lnTo>
                    <a:pt x="5" y="7"/>
                  </a:lnTo>
                  <a:lnTo>
                    <a:pt x="6" y="4"/>
                  </a:lnTo>
                  <a:lnTo>
                    <a:pt x="17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4" name="Freeform 278"/>
            <p:cNvSpPr>
              <a:spLocks/>
            </p:cNvSpPr>
            <p:nvPr/>
          </p:nvSpPr>
          <p:spPr bwMode="gray">
            <a:xfrm>
              <a:off x="2977" y="2260"/>
              <a:ext cx="30" cy="31"/>
            </a:xfrm>
            <a:custGeom>
              <a:avLst/>
              <a:gdLst>
                <a:gd name="T0" fmla="*/ 2147483647 w 23"/>
                <a:gd name="T1" fmla="*/ 2147483647 h 24"/>
                <a:gd name="T2" fmla="*/ 2147483647 w 23"/>
                <a:gd name="T3" fmla="*/ 2147483647 h 24"/>
                <a:gd name="T4" fmla="*/ 2147483647 w 23"/>
                <a:gd name="T5" fmla="*/ 0 h 24"/>
                <a:gd name="T6" fmla="*/ 2147483647 w 23"/>
                <a:gd name="T7" fmla="*/ 2147483647 h 24"/>
                <a:gd name="T8" fmla="*/ 2147483647 w 23"/>
                <a:gd name="T9" fmla="*/ 2147483647 h 24"/>
                <a:gd name="T10" fmla="*/ 2147483647 w 23"/>
                <a:gd name="T11" fmla="*/ 2147483647 h 24"/>
                <a:gd name="T12" fmla="*/ 2147483647 w 23"/>
                <a:gd name="T13" fmla="*/ 2147483647 h 24"/>
                <a:gd name="T14" fmla="*/ 2147483647 w 23"/>
                <a:gd name="T15" fmla="*/ 2147483647 h 24"/>
                <a:gd name="T16" fmla="*/ 0 w 23"/>
                <a:gd name="T17" fmla="*/ 2147483647 h 24"/>
                <a:gd name="T18" fmla="*/ 2147483647 w 23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2" y="10"/>
                  </a:moveTo>
                  <a:lnTo>
                    <a:pt x="10" y="4"/>
                  </a:lnTo>
                  <a:lnTo>
                    <a:pt x="19" y="0"/>
                  </a:lnTo>
                  <a:lnTo>
                    <a:pt x="23" y="10"/>
                  </a:lnTo>
                  <a:lnTo>
                    <a:pt x="23" y="19"/>
                  </a:lnTo>
                  <a:lnTo>
                    <a:pt x="19" y="19"/>
                  </a:lnTo>
                  <a:lnTo>
                    <a:pt x="15" y="24"/>
                  </a:lnTo>
                  <a:lnTo>
                    <a:pt x="4" y="24"/>
                  </a:lnTo>
                  <a:lnTo>
                    <a:pt x="0" y="1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5" name="Freeform 279"/>
            <p:cNvSpPr>
              <a:spLocks/>
            </p:cNvSpPr>
            <p:nvPr/>
          </p:nvSpPr>
          <p:spPr bwMode="gray">
            <a:xfrm>
              <a:off x="2834" y="2253"/>
              <a:ext cx="9" cy="28"/>
            </a:xfrm>
            <a:custGeom>
              <a:avLst/>
              <a:gdLst>
                <a:gd name="T0" fmla="*/ 2147483647 w 7"/>
                <a:gd name="T1" fmla="*/ 0 h 22"/>
                <a:gd name="T2" fmla="*/ 2147483647 w 7"/>
                <a:gd name="T3" fmla="*/ 2147483647 h 22"/>
                <a:gd name="T4" fmla="*/ 2147483647 w 7"/>
                <a:gd name="T5" fmla="*/ 2147483647 h 22"/>
                <a:gd name="T6" fmla="*/ 2147483647 w 7"/>
                <a:gd name="T7" fmla="*/ 2147483647 h 22"/>
                <a:gd name="T8" fmla="*/ 2147483647 w 7"/>
                <a:gd name="T9" fmla="*/ 2147483647 h 22"/>
                <a:gd name="T10" fmla="*/ 0 w 7"/>
                <a:gd name="T11" fmla="*/ 2147483647 h 22"/>
                <a:gd name="T12" fmla="*/ 0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0 h 22"/>
                <a:gd name="T20" fmla="*/ 2147483647 w 7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22"/>
                <a:gd name="T35" fmla="*/ 7 w 7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22">
                  <a:moveTo>
                    <a:pt x="6" y="0"/>
                  </a:moveTo>
                  <a:lnTo>
                    <a:pt x="6" y="4"/>
                  </a:lnTo>
                  <a:lnTo>
                    <a:pt x="7" y="8"/>
                  </a:lnTo>
                  <a:lnTo>
                    <a:pt x="5" y="20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1" y="7"/>
                  </a:lnTo>
                  <a:lnTo>
                    <a:pt x="5" y="4"/>
                  </a:lnTo>
                  <a:lnTo>
                    <a:pt x="5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6" name="Freeform 280"/>
            <p:cNvSpPr>
              <a:spLocks/>
            </p:cNvSpPr>
            <p:nvPr/>
          </p:nvSpPr>
          <p:spPr bwMode="gray">
            <a:xfrm>
              <a:off x="2747" y="2324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7" name="Freeform 281"/>
            <p:cNvSpPr>
              <a:spLocks/>
            </p:cNvSpPr>
            <p:nvPr/>
          </p:nvSpPr>
          <p:spPr bwMode="gray">
            <a:xfrm>
              <a:off x="2759" y="2315"/>
              <a:ext cx="11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0 h 7"/>
                <a:gd name="T4" fmla="*/ 2147483647 w 8"/>
                <a:gd name="T5" fmla="*/ 0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8" name="Freeform 282"/>
            <p:cNvSpPr>
              <a:spLocks/>
            </p:cNvSpPr>
            <p:nvPr/>
          </p:nvSpPr>
          <p:spPr bwMode="gray">
            <a:xfrm>
              <a:off x="2774" y="230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1"/>
                  </a:lnTo>
                  <a:lnTo>
                    <a:pt x="5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89" name="Freeform 283"/>
            <p:cNvSpPr>
              <a:spLocks/>
            </p:cNvSpPr>
            <p:nvPr/>
          </p:nvSpPr>
          <p:spPr bwMode="gray">
            <a:xfrm>
              <a:off x="2674" y="2100"/>
              <a:ext cx="156" cy="163"/>
            </a:xfrm>
            <a:custGeom>
              <a:avLst/>
              <a:gdLst>
                <a:gd name="T0" fmla="*/ 2147483647 w 119"/>
                <a:gd name="T1" fmla="*/ 2147483647 h 125"/>
                <a:gd name="T2" fmla="*/ 2147483647 w 119"/>
                <a:gd name="T3" fmla="*/ 2147483647 h 125"/>
                <a:gd name="T4" fmla="*/ 2147483647 w 119"/>
                <a:gd name="T5" fmla="*/ 2147483647 h 125"/>
                <a:gd name="T6" fmla="*/ 2147483647 w 119"/>
                <a:gd name="T7" fmla="*/ 2147483647 h 125"/>
                <a:gd name="T8" fmla="*/ 2147483647 w 119"/>
                <a:gd name="T9" fmla="*/ 2147483647 h 125"/>
                <a:gd name="T10" fmla="*/ 2147483647 w 119"/>
                <a:gd name="T11" fmla="*/ 2147483647 h 125"/>
                <a:gd name="T12" fmla="*/ 2147483647 w 119"/>
                <a:gd name="T13" fmla="*/ 2147483647 h 125"/>
                <a:gd name="T14" fmla="*/ 2147483647 w 119"/>
                <a:gd name="T15" fmla="*/ 2147483647 h 125"/>
                <a:gd name="T16" fmla="*/ 2147483647 w 119"/>
                <a:gd name="T17" fmla="*/ 2147483647 h 125"/>
                <a:gd name="T18" fmla="*/ 2147483647 w 119"/>
                <a:gd name="T19" fmla="*/ 2147483647 h 125"/>
                <a:gd name="T20" fmla="*/ 2147483647 w 119"/>
                <a:gd name="T21" fmla="*/ 2147483647 h 125"/>
                <a:gd name="T22" fmla="*/ 2147483647 w 119"/>
                <a:gd name="T23" fmla="*/ 2147483647 h 125"/>
                <a:gd name="T24" fmla="*/ 2147483647 w 119"/>
                <a:gd name="T25" fmla="*/ 2147483647 h 125"/>
                <a:gd name="T26" fmla="*/ 2147483647 w 119"/>
                <a:gd name="T27" fmla="*/ 2147483647 h 125"/>
                <a:gd name="T28" fmla="*/ 2147483647 w 119"/>
                <a:gd name="T29" fmla="*/ 2147483647 h 125"/>
                <a:gd name="T30" fmla="*/ 2147483647 w 119"/>
                <a:gd name="T31" fmla="*/ 2147483647 h 125"/>
                <a:gd name="T32" fmla="*/ 2147483647 w 119"/>
                <a:gd name="T33" fmla="*/ 2147483647 h 125"/>
                <a:gd name="T34" fmla="*/ 2147483647 w 119"/>
                <a:gd name="T35" fmla="*/ 2147483647 h 125"/>
                <a:gd name="T36" fmla="*/ 2147483647 w 119"/>
                <a:gd name="T37" fmla="*/ 2147483647 h 125"/>
                <a:gd name="T38" fmla="*/ 2147483647 w 119"/>
                <a:gd name="T39" fmla="*/ 2147483647 h 125"/>
                <a:gd name="T40" fmla="*/ 2147483647 w 119"/>
                <a:gd name="T41" fmla="*/ 2147483647 h 125"/>
                <a:gd name="T42" fmla="*/ 2147483647 w 119"/>
                <a:gd name="T43" fmla="*/ 2147483647 h 125"/>
                <a:gd name="T44" fmla="*/ 2147483647 w 119"/>
                <a:gd name="T45" fmla="*/ 2147483647 h 125"/>
                <a:gd name="T46" fmla="*/ 2147483647 w 119"/>
                <a:gd name="T47" fmla="*/ 2147483647 h 125"/>
                <a:gd name="T48" fmla="*/ 2147483647 w 119"/>
                <a:gd name="T49" fmla="*/ 0 h 125"/>
                <a:gd name="T50" fmla="*/ 2147483647 w 119"/>
                <a:gd name="T51" fmla="*/ 2147483647 h 125"/>
                <a:gd name="T52" fmla="*/ 2147483647 w 119"/>
                <a:gd name="T53" fmla="*/ 2147483647 h 125"/>
                <a:gd name="T54" fmla="*/ 2147483647 w 119"/>
                <a:gd name="T55" fmla="*/ 2147483647 h 125"/>
                <a:gd name="T56" fmla="*/ 2147483647 w 119"/>
                <a:gd name="T57" fmla="*/ 2147483647 h 125"/>
                <a:gd name="T58" fmla="*/ 2147483647 w 119"/>
                <a:gd name="T59" fmla="*/ 2147483647 h 125"/>
                <a:gd name="T60" fmla="*/ 2147483647 w 119"/>
                <a:gd name="T61" fmla="*/ 2147483647 h 125"/>
                <a:gd name="T62" fmla="*/ 2147483647 w 119"/>
                <a:gd name="T63" fmla="*/ 2147483647 h 125"/>
                <a:gd name="T64" fmla="*/ 2147483647 w 119"/>
                <a:gd name="T65" fmla="*/ 2147483647 h 125"/>
                <a:gd name="T66" fmla="*/ 2147483647 w 119"/>
                <a:gd name="T67" fmla="*/ 2147483647 h 125"/>
                <a:gd name="T68" fmla="*/ 2147483647 w 119"/>
                <a:gd name="T69" fmla="*/ 2147483647 h 125"/>
                <a:gd name="T70" fmla="*/ 2147483647 w 119"/>
                <a:gd name="T71" fmla="*/ 2147483647 h 125"/>
                <a:gd name="T72" fmla="*/ 2147483647 w 119"/>
                <a:gd name="T73" fmla="*/ 2147483647 h 125"/>
                <a:gd name="T74" fmla="*/ 2147483647 w 119"/>
                <a:gd name="T75" fmla="*/ 2147483647 h 125"/>
                <a:gd name="T76" fmla="*/ 2147483647 w 119"/>
                <a:gd name="T77" fmla="*/ 2147483647 h 125"/>
                <a:gd name="T78" fmla="*/ 2147483647 w 119"/>
                <a:gd name="T79" fmla="*/ 2147483647 h 125"/>
                <a:gd name="T80" fmla="*/ 2147483647 w 119"/>
                <a:gd name="T81" fmla="*/ 2147483647 h 1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9"/>
                <a:gd name="T124" fmla="*/ 0 h 125"/>
                <a:gd name="T125" fmla="*/ 119 w 119"/>
                <a:gd name="T126" fmla="*/ 125 h 12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9" h="125">
                  <a:moveTo>
                    <a:pt x="70" y="125"/>
                  </a:moveTo>
                  <a:lnTo>
                    <a:pt x="60" y="125"/>
                  </a:lnTo>
                  <a:lnTo>
                    <a:pt x="56" y="123"/>
                  </a:lnTo>
                  <a:lnTo>
                    <a:pt x="57" y="121"/>
                  </a:lnTo>
                  <a:lnTo>
                    <a:pt x="56" y="120"/>
                  </a:lnTo>
                  <a:lnTo>
                    <a:pt x="54" y="121"/>
                  </a:lnTo>
                  <a:lnTo>
                    <a:pt x="53" y="122"/>
                  </a:lnTo>
                  <a:lnTo>
                    <a:pt x="41" y="123"/>
                  </a:lnTo>
                  <a:lnTo>
                    <a:pt x="38" y="120"/>
                  </a:lnTo>
                  <a:lnTo>
                    <a:pt x="35" y="120"/>
                  </a:lnTo>
                  <a:lnTo>
                    <a:pt x="28" y="115"/>
                  </a:lnTo>
                  <a:lnTo>
                    <a:pt x="31" y="107"/>
                  </a:lnTo>
                  <a:lnTo>
                    <a:pt x="33" y="99"/>
                  </a:lnTo>
                  <a:lnTo>
                    <a:pt x="33" y="92"/>
                  </a:lnTo>
                  <a:lnTo>
                    <a:pt x="36" y="95"/>
                  </a:lnTo>
                  <a:lnTo>
                    <a:pt x="35" y="91"/>
                  </a:lnTo>
                  <a:lnTo>
                    <a:pt x="32" y="90"/>
                  </a:lnTo>
                  <a:lnTo>
                    <a:pt x="31" y="85"/>
                  </a:lnTo>
                  <a:lnTo>
                    <a:pt x="30" y="78"/>
                  </a:lnTo>
                  <a:lnTo>
                    <a:pt x="32" y="77"/>
                  </a:lnTo>
                  <a:lnTo>
                    <a:pt x="32" y="73"/>
                  </a:lnTo>
                  <a:lnTo>
                    <a:pt x="23" y="66"/>
                  </a:lnTo>
                  <a:lnTo>
                    <a:pt x="25" y="61"/>
                  </a:lnTo>
                  <a:lnTo>
                    <a:pt x="21" y="57"/>
                  </a:lnTo>
                  <a:lnTo>
                    <a:pt x="17" y="57"/>
                  </a:lnTo>
                  <a:lnTo>
                    <a:pt x="16" y="54"/>
                  </a:lnTo>
                  <a:lnTo>
                    <a:pt x="11" y="53"/>
                  </a:lnTo>
                  <a:lnTo>
                    <a:pt x="6" y="52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0" y="43"/>
                  </a:lnTo>
                  <a:lnTo>
                    <a:pt x="2" y="39"/>
                  </a:lnTo>
                  <a:lnTo>
                    <a:pt x="7" y="40"/>
                  </a:lnTo>
                  <a:lnTo>
                    <a:pt x="11" y="36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3" y="38"/>
                  </a:lnTo>
                  <a:lnTo>
                    <a:pt x="27" y="40"/>
                  </a:lnTo>
                  <a:lnTo>
                    <a:pt x="30" y="36"/>
                  </a:lnTo>
                  <a:lnTo>
                    <a:pt x="28" y="32"/>
                  </a:lnTo>
                  <a:lnTo>
                    <a:pt x="24" y="26"/>
                  </a:lnTo>
                  <a:lnTo>
                    <a:pt x="24" y="23"/>
                  </a:lnTo>
                  <a:lnTo>
                    <a:pt x="30" y="23"/>
                  </a:lnTo>
                  <a:lnTo>
                    <a:pt x="33" y="27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7" y="21"/>
                  </a:lnTo>
                  <a:lnTo>
                    <a:pt x="55" y="15"/>
                  </a:lnTo>
                  <a:lnTo>
                    <a:pt x="58" y="2"/>
                  </a:lnTo>
                  <a:lnTo>
                    <a:pt x="65" y="0"/>
                  </a:lnTo>
                  <a:lnTo>
                    <a:pt x="72" y="9"/>
                  </a:lnTo>
                  <a:lnTo>
                    <a:pt x="80" y="15"/>
                  </a:lnTo>
                  <a:lnTo>
                    <a:pt x="84" y="17"/>
                  </a:lnTo>
                  <a:lnTo>
                    <a:pt x="90" y="19"/>
                  </a:lnTo>
                  <a:lnTo>
                    <a:pt x="97" y="25"/>
                  </a:lnTo>
                  <a:lnTo>
                    <a:pt x="103" y="27"/>
                  </a:lnTo>
                  <a:lnTo>
                    <a:pt x="112" y="27"/>
                  </a:lnTo>
                  <a:lnTo>
                    <a:pt x="119" y="29"/>
                  </a:lnTo>
                  <a:lnTo>
                    <a:pt x="114" y="42"/>
                  </a:lnTo>
                  <a:lnTo>
                    <a:pt x="111" y="55"/>
                  </a:lnTo>
                  <a:lnTo>
                    <a:pt x="106" y="54"/>
                  </a:lnTo>
                  <a:lnTo>
                    <a:pt x="104" y="59"/>
                  </a:lnTo>
                  <a:lnTo>
                    <a:pt x="104" y="63"/>
                  </a:lnTo>
                  <a:lnTo>
                    <a:pt x="101" y="64"/>
                  </a:lnTo>
                  <a:lnTo>
                    <a:pt x="99" y="69"/>
                  </a:lnTo>
                  <a:lnTo>
                    <a:pt x="95" y="74"/>
                  </a:lnTo>
                  <a:lnTo>
                    <a:pt x="97" y="77"/>
                  </a:lnTo>
                  <a:lnTo>
                    <a:pt x="101" y="74"/>
                  </a:lnTo>
                  <a:lnTo>
                    <a:pt x="104" y="75"/>
                  </a:lnTo>
                  <a:lnTo>
                    <a:pt x="103" y="80"/>
                  </a:lnTo>
                  <a:lnTo>
                    <a:pt x="104" y="91"/>
                  </a:lnTo>
                  <a:lnTo>
                    <a:pt x="106" y="101"/>
                  </a:lnTo>
                  <a:lnTo>
                    <a:pt x="111" y="102"/>
                  </a:lnTo>
                  <a:lnTo>
                    <a:pt x="115" y="107"/>
                  </a:lnTo>
                  <a:lnTo>
                    <a:pt x="110" y="111"/>
                  </a:lnTo>
                  <a:lnTo>
                    <a:pt x="105" y="112"/>
                  </a:lnTo>
                  <a:lnTo>
                    <a:pt x="101" y="115"/>
                  </a:lnTo>
                  <a:lnTo>
                    <a:pt x="96" y="117"/>
                  </a:lnTo>
                  <a:lnTo>
                    <a:pt x="91" y="115"/>
                  </a:lnTo>
                  <a:lnTo>
                    <a:pt x="86" y="116"/>
                  </a:lnTo>
                  <a:lnTo>
                    <a:pt x="79" y="112"/>
                  </a:lnTo>
                  <a:lnTo>
                    <a:pt x="72" y="117"/>
                  </a:lnTo>
                  <a:lnTo>
                    <a:pt x="70" y="1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0" name="Freeform 284"/>
            <p:cNvSpPr>
              <a:spLocks/>
            </p:cNvSpPr>
            <p:nvPr/>
          </p:nvSpPr>
          <p:spPr bwMode="gray">
            <a:xfrm>
              <a:off x="2993" y="1925"/>
              <a:ext cx="15" cy="14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0 h 11"/>
                <a:gd name="T6" fmla="*/ 0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2147483647 h 11"/>
                <a:gd name="T14" fmla="*/ 2147483647 w 12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1"/>
                <a:gd name="T26" fmla="*/ 12 w 12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1">
                  <a:moveTo>
                    <a:pt x="12" y="4"/>
                  </a:moveTo>
                  <a:lnTo>
                    <a:pt x="11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1" y="11"/>
                  </a:lnTo>
                  <a:lnTo>
                    <a:pt x="4" y="11"/>
                  </a:lnTo>
                  <a:lnTo>
                    <a:pt x="6" y="8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1" name="Freeform 285"/>
            <p:cNvSpPr>
              <a:spLocks noEditPoints="1"/>
            </p:cNvSpPr>
            <p:nvPr/>
          </p:nvSpPr>
          <p:spPr bwMode="gray">
            <a:xfrm>
              <a:off x="2993" y="1913"/>
              <a:ext cx="15" cy="26"/>
            </a:xfrm>
            <a:custGeom>
              <a:avLst/>
              <a:gdLst>
                <a:gd name="T0" fmla="*/ 2147483647 w 12"/>
                <a:gd name="T1" fmla="*/ 2147483647 h 20"/>
                <a:gd name="T2" fmla="*/ 2147483647 w 12"/>
                <a:gd name="T3" fmla="*/ 2147483647 h 20"/>
                <a:gd name="T4" fmla="*/ 2147483647 w 12"/>
                <a:gd name="T5" fmla="*/ 2147483647 h 20"/>
                <a:gd name="T6" fmla="*/ 2147483647 w 12"/>
                <a:gd name="T7" fmla="*/ 2147483647 h 20"/>
                <a:gd name="T8" fmla="*/ 2147483647 w 12"/>
                <a:gd name="T9" fmla="*/ 2147483647 h 20"/>
                <a:gd name="T10" fmla="*/ 2147483647 w 12"/>
                <a:gd name="T11" fmla="*/ 2147483647 h 20"/>
                <a:gd name="T12" fmla="*/ 0 w 12"/>
                <a:gd name="T13" fmla="*/ 2147483647 h 20"/>
                <a:gd name="T14" fmla="*/ 2147483647 w 12"/>
                <a:gd name="T15" fmla="*/ 2147483647 h 20"/>
                <a:gd name="T16" fmla="*/ 2147483647 w 12"/>
                <a:gd name="T17" fmla="*/ 0 h 20"/>
                <a:gd name="T18" fmla="*/ 2147483647 w 12"/>
                <a:gd name="T19" fmla="*/ 0 h 20"/>
                <a:gd name="T20" fmla="*/ 2147483647 w 12"/>
                <a:gd name="T21" fmla="*/ 2147483647 h 20"/>
                <a:gd name="T22" fmla="*/ 2147483647 w 12"/>
                <a:gd name="T23" fmla="*/ 2147483647 h 20"/>
                <a:gd name="T24" fmla="*/ 2147483647 w 12"/>
                <a:gd name="T25" fmla="*/ 2147483647 h 20"/>
                <a:gd name="T26" fmla="*/ 2147483647 w 12"/>
                <a:gd name="T27" fmla="*/ 0 h 2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20"/>
                <a:gd name="T44" fmla="*/ 12 w 12"/>
                <a:gd name="T45" fmla="*/ 20 h 2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20">
                  <a:moveTo>
                    <a:pt x="1" y="20"/>
                  </a:moveTo>
                  <a:lnTo>
                    <a:pt x="4" y="20"/>
                  </a:lnTo>
                  <a:lnTo>
                    <a:pt x="6" y="17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6" y="9"/>
                  </a:lnTo>
                  <a:lnTo>
                    <a:pt x="0" y="13"/>
                  </a:lnTo>
                  <a:lnTo>
                    <a:pt x="1" y="20"/>
                  </a:lnTo>
                  <a:close/>
                  <a:moveTo>
                    <a:pt x="8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4" y="5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2" name="Freeform 286"/>
            <p:cNvSpPr>
              <a:spLocks noEditPoints="1"/>
            </p:cNvSpPr>
            <p:nvPr/>
          </p:nvSpPr>
          <p:spPr bwMode="gray">
            <a:xfrm>
              <a:off x="2655" y="1929"/>
              <a:ext cx="251" cy="195"/>
            </a:xfrm>
            <a:custGeom>
              <a:avLst/>
              <a:gdLst>
                <a:gd name="T0" fmla="*/ 2147483647 w 192"/>
                <a:gd name="T1" fmla="*/ 2147483647 h 150"/>
                <a:gd name="T2" fmla="*/ 2147483647 w 192"/>
                <a:gd name="T3" fmla="*/ 2147483647 h 150"/>
                <a:gd name="T4" fmla="*/ 2147483647 w 192"/>
                <a:gd name="T5" fmla="*/ 2147483647 h 150"/>
                <a:gd name="T6" fmla="*/ 2147483647 w 192"/>
                <a:gd name="T7" fmla="*/ 2147483647 h 150"/>
                <a:gd name="T8" fmla="*/ 2147483647 w 192"/>
                <a:gd name="T9" fmla="*/ 2147483647 h 150"/>
                <a:gd name="T10" fmla="*/ 2147483647 w 192"/>
                <a:gd name="T11" fmla="*/ 2147483647 h 150"/>
                <a:gd name="T12" fmla="*/ 0 w 192"/>
                <a:gd name="T13" fmla="*/ 2147483647 h 150"/>
                <a:gd name="T14" fmla="*/ 2147483647 w 192"/>
                <a:gd name="T15" fmla="*/ 2147483647 h 150"/>
                <a:gd name="T16" fmla="*/ 2147483647 w 192"/>
                <a:gd name="T17" fmla="*/ 2147483647 h 150"/>
                <a:gd name="T18" fmla="*/ 2147483647 w 192"/>
                <a:gd name="T19" fmla="*/ 2147483647 h 150"/>
                <a:gd name="T20" fmla="*/ 2147483647 w 192"/>
                <a:gd name="T21" fmla="*/ 2147483647 h 150"/>
                <a:gd name="T22" fmla="*/ 2147483647 w 192"/>
                <a:gd name="T23" fmla="*/ 2147483647 h 150"/>
                <a:gd name="T24" fmla="*/ 2147483647 w 192"/>
                <a:gd name="T25" fmla="*/ 2147483647 h 150"/>
                <a:gd name="T26" fmla="*/ 2147483647 w 192"/>
                <a:gd name="T27" fmla="*/ 2147483647 h 150"/>
                <a:gd name="T28" fmla="*/ 2147483647 w 192"/>
                <a:gd name="T29" fmla="*/ 2147483647 h 150"/>
                <a:gd name="T30" fmla="*/ 2147483647 w 192"/>
                <a:gd name="T31" fmla="*/ 2147483647 h 150"/>
                <a:gd name="T32" fmla="*/ 2147483647 w 192"/>
                <a:gd name="T33" fmla="*/ 2147483647 h 150"/>
                <a:gd name="T34" fmla="*/ 2147483647 w 192"/>
                <a:gd name="T35" fmla="*/ 2147483647 h 150"/>
                <a:gd name="T36" fmla="*/ 2147483647 w 192"/>
                <a:gd name="T37" fmla="*/ 2147483647 h 150"/>
                <a:gd name="T38" fmla="*/ 2147483647 w 192"/>
                <a:gd name="T39" fmla="*/ 2147483647 h 150"/>
                <a:gd name="T40" fmla="*/ 2147483647 w 192"/>
                <a:gd name="T41" fmla="*/ 2147483647 h 150"/>
                <a:gd name="T42" fmla="*/ 2147483647 w 192"/>
                <a:gd name="T43" fmla="*/ 2147483647 h 150"/>
                <a:gd name="T44" fmla="*/ 2147483647 w 192"/>
                <a:gd name="T45" fmla="*/ 2147483647 h 150"/>
                <a:gd name="T46" fmla="*/ 2147483647 w 192"/>
                <a:gd name="T47" fmla="*/ 2147483647 h 150"/>
                <a:gd name="T48" fmla="*/ 2147483647 w 192"/>
                <a:gd name="T49" fmla="*/ 2147483647 h 150"/>
                <a:gd name="T50" fmla="*/ 2147483647 w 192"/>
                <a:gd name="T51" fmla="*/ 2147483647 h 150"/>
                <a:gd name="T52" fmla="*/ 2147483647 w 192"/>
                <a:gd name="T53" fmla="*/ 2147483647 h 150"/>
                <a:gd name="T54" fmla="*/ 2147483647 w 192"/>
                <a:gd name="T55" fmla="*/ 2147483647 h 150"/>
                <a:gd name="T56" fmla="*/ 2147483647 w 192"/>
                <a:gd name="T57" fmla="*/ 2147483647 h 150"/>
                <a:gd name="T58" fmla="*/ 2147483647 w 192"/>
                <a:gd name="T59" fmla="*/ 2147483647 h 150"/>
                <a:gd name="T60" fmla="*/ 2147483647 w 192"/>
                <a:gd name="T61" fmla="*/ 2147483647 h 150"/>
                <a:gd name="T62" fmla="*/ 2147483647 w 192"/>
                <a:gd name="T63" fmla="*/ 2147483647 h 150"/>
                <a:gd name="T64" fmla="*/ 2147483647 w 192"/>
                <a:gd name="T65" fmla="*/ 2147483647 h 150"/>
                <a:gd name="T66" fmla="*/ 2147483647 w 192"/>
                <a:gd name="T67" fmla="*/ 2147483647 h 150"/>
                <a:gd name="T68" fmla="*/ 2147483647 w 192"/>
                <a:gd name="T69" fmla="*/ 2147483647 h 150"/>
                <a:gd name="T70" fmla="*/ 2147483647 w 192"/>
                <a:gd name="T71" fmla="*/ 2147483647 h 150"/>
                <a:gd name="T72" fmla="*/ 2147483647 w 192"/>
                <a:gd name="T73" fmla="*/ 2147483647 h 150"/>
                <a:gd name="T74" fmla="*/ 2147483647 w 192"/>
                <a:gd name="T75" fmla="*/ 2147483647 h 150"/>
                <a:gd name="T76" fmla="*/ 2147483647 w 192"/>
                <a:gd name="T77" fmla="*/ 2147483647 h 150"/>
                <a:gd name="T78" fmla="*/ 2147483647 w 192"/>
                <a:gd name="T79" fmla="*/ 2147483647 h 150"/>
                <a:gd name="T80" fmla="*/ 2147483647 w 192"/>
                <a:gd name="T81" fmla="*/ 2147483647 h 150"/>
                <a:gd name="T82" fmla="*/ 2147483647 w 192"/>
                <a:gd name="T83" fmla="*/ 2147483647 h 150"/>
                <a:gd name="T84" fmla="*/ 2147483647 w 192"/>
                <a:gd name="T85" fmla="*/ 2147483647 h 150"/>
                <a:gd name="T86" fmla="*/ 2147483647 w 192"/>
                <a:gd name="T87" fmla="*/ 2147483647 h 150"/>
                <a:gd name="T88" fmla="*/ 2147483647 w 192"/>
                <a:gd name="T89" fmla="*/ 2147483647 h 150"/>
                <a:gd name="T90" fmla="*/ 2147483647 w 192"/>
                <a:gd name="T91" fmla="*/ 2147483647 h 150"/>
                <a:gd name="T92" fmla="*/ 2147483647 w 192"/>
                <a:gd name="T93" fmla="*/ 2147483647 h 150"/>
                <a:gd name="T94" fmla="*/ 2147483647 w 192"/>
                <a:gd name="T95" fmla="*/ 2147483647 h 150"/>
                <a:gd name="T96" fmla="*/ 2147483647 w 192"/>
                <a:gd name="T97" fmla="*/ 2147483647 h 150"/>
                <a:gd name="T98" fmla="*/ 2147483647 w 192"/>
                <a:gd name="T99" fmla="*/ 2147483647 h 150"/>
                <a:gd name="T100" fmla="*/ 2147483647 w 192"/>
                <a:gd name="T101" fmla="*/ 2147483647 h 150"/>
                <a:gd name="T102" fmla="*/ 2147483647 w 192"/>
                <a:gd name="T103" fmla="*/ 2147483647 h 150"/>
                <a:gd name="T104" fmla="*/ 2147483647 w 192"/>
                <a:gd name="T105" fmla="*/ 2147483647 h 150"/>
                <a:gd name="T106" fmla="*/ 2147483647 w 192"/>
                <a:gd name="T107" fmla="*/ 2147483647 h 150"/>
                <a:gd name="T108" fmla="*/ 2147483647 w 192"/>
                <a:gd name="T109" fmla="*/ 2147483647 h 1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2"/>
                <a:gd name="T166" fmla="*/ 0 h 150"/>
                <a:gd name="T167" fmla="*/ 192 w 192"/>
                <a:gd name="T168" fmla="*/ 150 h 15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2" h="150">
                  <a:moveTo>
                    <a:pt x="147" y="57"/>
                  </a:moveTo>
                  <a:lnTo>
                    <a:pt x="149" y="62"/>
                  </a:lnTo>
                  <a:lnTo>
                    <a:pt x="154" y="63"/>
                  </a:lnTo>
                  <a:lnTo>
                    <a:pt x="157" y="59"/>
                  </a:lnTo>
                  <a:lnTo>
                    <a:pt x="156" y="56"/>
                  </a:lnTo>
                  <a:lnTo>
                    <a:pt x="151" y="55"/>
                  </a:lnTo>
                  <a:lnTo>
                    <a:pt x="147" y="57"/>
                  </a:lnTo>
                  <a:close/>
                  <a:moveTo>
                    <a:pt x="189" y="81"/>
                  </a:moveTo>
                  <a:lnTo>
                    <a:pt x="192" y="79"/>
                  </a:lnTo>
                  <a:lnTo>
                    <a:pt x="190" y="78"/>
                  </a:lnTo>
                  <a:lnTo>
                    <a:pt x="189" y="81"/>
                  </a:lnTo>
                  <a:close/>
                  <a:moveTo>
                    <a:pt x="6" y="30"/>
                  </a:moveTo>
                  <a:lnTo>
                    <a:pt x="2" y="35"/>
                  </a:lnTo>
                  <a:lnTo>
                    <a:pt x="0" y="39"/>
                  </a:lnTo>
                  <a:lnTo>
                    <a:pt x="1" y="44"/>
                  </a:lnTo>
                  <a:lnTo>
                    <a:pt x="2" y="46"/>
                  </a:lnTo>
                  <a:lnTo>
                    <a:pt x="4" y="43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9" y="38"/>
                  </a:lnTo>
                  <a:lnTo>
                    <a:pt x="8" y="41"/>
                  </a:lnTo>
                  <a:lnTo>
                    <a:pt x="6" y="46"/>
                  </a:lnTo>
                  <a:lnTo>
                    <a:pt x="5" y="51"/>
                  </a:lnTo>
                  <a:lnTo>
                    <a:pt x="5" y="57"/>
                  </a:lnTo>
                  <a:lnTo>
                    <a:pt x="6" y="61"/>
                  </a:lnTo>
                  <a:lnTo>
                    <a:pt x="8" y="58"/>
                  </a:lnTo>
                  <a:lnTo>
                    <a:pt x="8" y="53"/>
                  </a:lnTo>
                  <a:lnTo>
                    <a:pt x="12" y="51"/>
                  </a:lnTo>
                  <a:lnTo>
                    <a:pt x="13" y="53"/>
                  </a:lnTo>
                  <a:lnTo>
                    <a:pt x="13" y="57"/>
                  </a:lnTo>
                  <a:lnTo>
                    <a:pt x="14" y="60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11" y="71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7" y="81"/>
                  </a:lnTo>
                  <a:lnTo>
                    <a:pt x="29" y="85"/>
                  </a:lnTo>
                  <a:lnTo>
                    <a:pt x="31" y="86"/>
                  </a:lnTo>
                  <a:lnTo>
                    <a:pt x="31" y="91"/>
                  </a:lnTo>
                  <a:lnTo>
                    <a:pt x="29" y="94"/>
                  </a:lnTo>
                  <a:lnTo>
                    <a:pt x="24" y="97"/>
                  </a:lnTo>
                  <a:lnTo>
                    <a:pt x="18" y="98"/>
                  </a:lnTo>
                  <a:lnTo>
                    <a:pt x="17" y="103"/>
                  </a:lnTo>
                  <a:lnTo>
                    <a:pt x="19" y="104"/>
                  </a:lnTo>
                  <a:lnTo>
                    <a:pt x="18" y="116"/>
                  </a:lnTo>
                  <a:lnTo>
                    <a:pt x="14" y="116"/>
                  </a:lnTo>
                  <a:lnTo>
                    <a:pt x="11" y="118"/>
                  </a:lnTo>
                  <a:lnTo>
                    <a:pt x="10" y="121"/>
                  </a:lnTo>
                  <a:lnTo>
                    <a:pt x="11" y="123"/>
                  </a:lnTo>
                  <a:lnTo>
                    <a:pt x="21" y="124"/>
                  </a:lnTo>
                  <a:lnTo>
                    <a:pt x="24" y="126"/>
                  </a:lnTo>
                  <a:lnTo>
                    <a:pt x="28" y="127"/>
                  </a:lnTo>
                  <a:lnTo>
                    <a:pt x="29" y="126"/>
                  </a:lnTo>
                  <a:lnTo>
                    <a:pt x="32" y="126"/>
                  </a:lnTo>
                  <a:lnTo>
                    <a:pt x="30" y="129"/>
                  </a:lnTo>
                  <a:lnTo>
                    <a:pt x="26" y="130"/>
                  </a:lnTo>
                  <a:lnTo>
                    <a:pt x="20" y="132"/>
                  </a:lnTo>
                  <a:lnTo>
                    <a:pt x="19" y="136"/>
                  </a:lnTo>
                  <a:lnTo>
                    <a:pt x="16" y="138"/>
                  </a:lnTo>
                  <a:lnTo>
                    <a:pt x="14" y="143"/>
                  </a:lnTo>
                  <a:lnTo>
                    <a:pt x="9" y="148"/>
                  </a:lnTo>
                  <a:lnTo>
                    <a:pt x="10" y="150"/>
                  </a:lnTo>
                  <a:lnTo>
                    <a:pt x="13" y="149"/>
                  </a:lnTo>
                  <a:lnTo>
                    <a:pt x="16" y="145"/>
                  </a:lnTo>
                  <a:lnTo>
                    <a:pt x="26" y="145"/>
                  </a:lnTo>
                  <a:lnTo>
                    <a:pt x="27" y="142"/>
                  </a:lnTo>
                  <a:lnTo>
                    <a:pt x="34" y="139"/>
                  </a:lnTo>
                  <a:lnTo>
                    <a:pt x="35" y="141"/>
                  </a:lnTo>
                  <a:lnTo>
                    <a:pt x="48" y="137"/>
                  </a:lnTo>
                  <a:lnTo>
                    <a:pt x="53" y="138"/>
                  </a:lnTo>
                  <a:lnTo>
                    <a:pt x="61" y="138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64" y="128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5" y="125"/>
                  </a:lnTo>
                  <a:lnTo>
                    <a:pt x="70" y="119"/>
                  </a:lnTo>
                  <a:lnTo>
                    <a:pt x="72" y="114"/>
                  </a:lnTo>
                  <a:lnTo>
                    <a:pt x="71" y="104"/>
                  </a:lnTo>
                  <a:lnTo>
                    <a:pt x="63" y="105"/>
                  </a:lnTo>
                  <a:lnTo>
                    <a:pt x="58" y="103"/>
                  </a:lnTo>
                  <a:lnTo>
                    <a:pt x="57" y="86"/>
                  </a:lnTo>
                  <a:lnTo>
                    <a:pt x="55" y="82"/>
                  </a:lnTo>
                  <a:lnTo>
                    <a:pt x="49" y="74"/>
                  </a:lnTo>
                  <a:lnTo>
                    <a:pt x="46" y="72"/>
                  </a:lnTo>
                  <a:lnTo>
                    <a:pt x="44" y="60"/>
                  </a:lnTo>
                  <a:lnTo>
                    <a:pt x="40" y="51"/>
                  </a:lnTo>
                  <a:lnTo>
                    <a:pt x="35" y="49"/>
                  </a:lnTo>
                  <a:lnTo>
                    <a:pt x="30" y="51"/>
                  </a:lnTo>
                  <a:lnTo>
                    <a:pt x="29" y="49"/>
                  </a:lnTo>
                  <a:lnTo>
                    <a:pt x="33" y="45"/>
                  </a:lnTo>
                  <a:lnTo>
                    <a:pt x="33" y="37"/>
                  </a:lnTo>
                  <a:lnTo>
                    <a:pt x="40" y="23"/>
                  </a:lnTo>
                  <a:lnTo>
                    <a:pt x="39" y="18"/>
                  </a:lnTo>
                  <a:lnTo>
                    <a:pt x="30" y="17"/>
                  </a:lnTo>
                  <a:lnTo>
                    <a:pt x="21" y="18"/>
                  </a:lnTo>
                  <a:lnTo>
                    <a:pt x="23" y="10"/>
                  </a:lnTo>
                  <a:lnTo>
                    <a:pt x="29" y="4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3" y="1"/>
                  </a:lnTo>
                  <a:lnTo>
                    <a:pt x="10" y="5"/>
                  </a:lnTo>
                  <a:lnTo>
                    <a:pt x="9" y="14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3" name="Freeform 287"/>
            <p:cNvSpPr>
              <a:spLocks/>
            </p:cNvSpPr>
            <p:nvPr/>
          </p:nvSpPr>
          <p:spPr bwMode="gray">
            <a:xfrm>
              <a:off x="2655" y="1929"/>
              <a:ext cx="94" cy="195"/>
            </a:xfrm>
            <a:custGeom>
              <a:avLst/>
              <a:gdLst>
                <a:gd name="T0" fmla="*/ 2147483647 w 72"/>
                <a:gd name="T1" fmla="*/ 2147483647 h 150"/>
                <a:gd name="T2" fmla="*/ 2147483647 w 72"/>
                <a:gd name="T3" fmla="*/ 2147483647 h 150"/>
                <a:gd name="T4" fmla="*/ 2147483647 w 72"/>
                <a:gd name="T5" fmla="*/ 2147483647 h 150"/>
                <a:gd name="T6" fmla="*/ 2147483647 w 72"/>
                <a:gd name="T7" fmla="*/ 2147483647 h 150"/>
                <a:gd name="T8" fmla="*/ 2147483647 w 72"/>
                <a:gd name="T9" fmla="*/ 2147483647 h 150"/>
                <a:gd name="T10" fmla="*/ 2147483647 w 72"/>
                <a:gd name="T11" fmla="*/ 2147483647 h 150"/>
                <a:gd name="T12" fmla="*/ 2147483647 w 72"/>
                <a:gd name="T13" fmla="*/ 2147483647 h 150"/>
                <a:gd name="T14" fmla="*/ 2147483647 w 72"/>
                <a:gd name="T15" fmla="*/ 2147483647 h 150"/>
                <a:gd name="T16" fmla="*/ 2147483647 w 72"/>
                <a:gd name="T17" fmla="*/ 2147483647 h 150"/>
                <a:gd name="T18" fmla="*/ 2147483647 w 72"/>
                <a:gd name="T19" fmla="*/ 2147483647 h 150"/>
                <a:gd name="T20" fmla="*/ 2147483647 w 72"/>
                <a:gd name="T21" fmla="*/ 2147483647 h 150"/>
                <a:gd name="T22" fmla="*/ 2147483647 w 72"/>
                <a:gd name="T23" fmla="*/ 2147483647 h 150"/>
                <a:gd name="T24" fmla="*/ 2147483647 w 72"/>
                <a:gd name="T25" fmla="*/ 2147483647 h 150"/>
                <a:gd name="T26" fmla="*/ 2147483647 w 72"/>
                <a:gd name="T27" fmla="*/ 2147483647 h 150"/>
                <a:gd name="T28" fmla="*/ 2147483647 w 72"/>
                <a:gd name="T29" fmla="*/ 2147483647 h 150"/>
                <a:gd name="T30" fmla="*/ 2147483647 w 72"/>
                <a:gd name="T31" fmla="*/ 2147483647 h 150"/>
                <a:gd name="T32" fmla="*/ 2147483647 w 72"/>
                <a:gd name="T33" fmla="*/ 2147483647 h 150"/>
                <a:gd name="T34" fmla="*/ 2147483647 w 72"/>
                <a:gd name="T35" fmla="*/ 2147483647 h 150"/>
                <a:gd name="T36" fmla="*/ 2147483647 w 72"/>
                <a:gd name="T37" fmla="*/ 2147483647 h 150"/>
                <a:gd name="T38" fmla="*/ 2147483647 w 72"/>
                <a:gd name="T39" fmla="*/ 2147483647 h 150"/>
                <a:gd name="T40" fmla="*/ 2147483647 w 72"/>
                <a:gd name="T41" fmla="*/ 2147483647 h 150"/>
                <a:gd name="T42" fmla="*/ 2147483647 w 72"/>
                <a:gd name="T43" fmla="*/ 2147483647 h 150"/>
                <a:gd name="T44" fmla="*/ 2147483647 w 72"/>
                <a:gd name="T45" fmla="*/ 2147483647 h 150"/>
                <a:gd name="T46" fmla="*/ 2147483647 w 72"/>
                <a:gd name="T47" fmla="*/ 2147483647 h 150"/>
                <a:gd name="T48" fmla="*/ 2147483647 w 72"/>
                <a:gd name="T49" fmla="*/ 2147483647 h 150"/>
                <a:gd name="T50" fmla="*/ 2147483647 w 72"/>
                <a:gd name="T51" fmla="*/ 2147483647 h 150"/>
                <a:gd name="T52" fmla="*/ 2147483647 w 72"/>
                <a:gd name="T53" fmla="*/ 2147483647 h 150"/>
                <a:gd name="T54" fmla="*/ 2147483647 w 72"/>
                <a:gd name="T55" fmla="*/ 2147483647 h 150"/>
                <a:gd name="T56" fmla="*/ 2147483647 w 72"/>
                <a:gd name="T57" fmla="*/ 2147483647 h 150"/>
                <a:gd name="T58" fmla="*/ 2147483647 w 72"/>
                <a:gd name="T59" fmla="*/ 2147483647 h 150"/>
                <a:gd name="T60" fmla="*/ 2147483647 w 72"/>
                <a:gd name="T61" fmla="*/ 2147483647 h 150"/>
                <a:gd name="T62" fmla="*/ 2147483647 w 72"/>
                <a:gd name="T63" fmla="*/ 2147483647 h 150"/>
                <a:gd name="T64" fmla="*/ 2147483647 w 72"/>
                <a:gd name="T65" fmla="*/ 2147483647 h 150"/>
                <a:gd name="T66" fmla="*/ 2147483647 w 72"/>
                <a:gd name="T67" fmla="*/ 2147483647 h 150"/>
                <a:gd name="T68" fmla="*/ 2147483647 w 72"/>
                <a:gd name="T69" fmla="*/ 2147483647 h 150"/>
                <a:gd name="T70" fmla="*/ 2147483647 w 72"/>
                <a:gd name="T71" fmla="*/ 2147483647 h 150"/>
                <a:gd name="T72" fmla="*/ 2147483647 w 72"/>
                <a:gd name="T73" fmla="*/ 2147483647 h 150"/>
                <a:gd name="T74" fmla="*/ 2147483647 w 72"/>
                <a:gd name="T75" fmla="*/ 2147483647 h 150"/>
                <a:gd name="T76" fmla="*/ 2147483647 w 72"/>
                <a:gd name="T77" fmla="*/ 2147483647 h 150"/>
                <a:gd name="T78" fmla="*/ 2147483647 w 72"/>
                <a:gd name="T79" fmla="*/ 2147483647 h 150"/>
                <a:gd name="T80" fmla="*/ 2147483647 w 72"/>
                <a:gd name="T81" fmla="*/ 2147483647 h 150"/>
                <a:gd name="T82" fmla="*/ 2147483647 w 72"/>
                <a:gd name="T83" fmla="*/ 2147483647 h 150"/>
                <a:gd name="T84" fmla="*/ 2147483647 w 72"/>
                <a:gd name="T85" fmla="*/ 2147483647 h 150"/>
                <a:gd name="T86" fmla="*/ 2147483647 w 72"/>
                <a:gd name="T87" fmla="*/ 2147483647 h 150"/>
                <a:gd name="T88" fmla="*/ 0 w 72"/>
                <a:gd name="T89" fmla="*/ 2147483647 h 150"/>
                <a:gd name="T90" fmla="*/ 2147483647 w 72"/>
                <a:gd name="T91" fmla="*/ 2147483647 h 150"/>
                <a:gd name="T92" fmla="*/ 2147483647 w 72"/>
                <a:gd name="T93" fmla="*/ 2147483647 h 150"/>
                <a:gd name="T94" fmla="*/ 2147483647 w 72"/>
                <a:gd name="T95" fmla="*/ 2147483647 h 150"/>
                <a:gd name="T96" fmla="*/ 2147483647 w 72"/>
                <a:gd name="T97" fmla="*/ 2147483647 h 150"/>
                <a:gd name="T98" fmla="*/ 2147483647 w 72"/>
                <a:gd name="T99" fmla="*/ 0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2"/>
                <a:gd name="T151" fmla="*/ 0 h 150"/>
                <a:gd name="T152" fmla="*/ 72 w 72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2" h="150">
                  <a:moveTo>
                    <a:pt x="30" y="0"/>
                  </a:moveTo>
                  <a:lnTo>
                    <a:pt x="29" y="4"/>
                  </a:lnTo>
                  <a:lnTo>
                    <a:pt x="23" y="10"/>
                  </a:lnTo>
                  <a:lnTo>
                    <a:pt x="21" y="18"/>
                  </a:lnTo>
                  <a:lnTo>
                    <a:pt x="30" y="17"/>
                  </a:lnTo>
                  <a:lnTo>
                    <a:pt x="39" y="18"/>
                  </a:lnTo>
                  <a:lnTo>
                    <a:pt x="40" y="23"/>
                  </a:lnTo>
                  <a:lnTo>
                    <a:pt x="33" y="37"/>
                  </a:lnTo>
                  <a:lnTo>
                    <a:pt x="33" y="45"/>
                  </a:lnTo>
                  <a:lnTo>
                    <a:pt x="29" y="49"/>
                  </a:lnTo>
                  <a:lnTo>
                    <a:pt x="30" y="51"/>
                  </a:lnTo>
                  <a:lnTo>
                    <a:pt x="35" y="49"/>
                  </a:lnTo>
                  <a:lnTo>
                    <a:pt x="40" y="51"/>
                  </a:lnTo>
                  <a:lnTo>
                    <a:pt x="44" y="60"/>
                  </a:lnTo>
                  <a:lnTo>
                    <a:pt x="46" y="72"/>
                  </a:lnTo>
                  <a:lnTo>
                    <a:pt x="49" y="74"/>
                  </a:lnTo>
                  <a:lnTo>
                    <a:pt x="55" y="82"/>
                  </a:lnTo>
                  <a:lnTo>
                    <a:pt x="57" y="86"/>
                  </a:lnTo>
                  <a:lnTo>
                    <a:pt x="58" y="103"/>
                  </a:lnTo>
                  <a:lnTo>
                    <a:pt x="63" y="105"/>
                  </a:lnTo>
                  <a:lnTo>
                    <a:pt x="71" y="104"/>
                  </a:lnTo>
                  <a:lnTo>
                    <a:pt x="72" y="114"/>
                  </a:lnTo>
                  <a:lnTo>
                    <a:pt x="70" y="119"/>
                  </a:lnTo>
                  <a:lnTo>
                    <a:pt x="65" y="125"/>
                  </a:lnTo>
                  <a:lnTo>
                    <a:pt x="61" y="125"/>
                  </a:lnTo>
                  <a:lnTo>
                    <a:pt x="59" y="127"/>
                  </a:lnTo>
                  <a:lnTo>
                    <a:pt x="64" y="128"/>
                  </a:lnTo>
                  <a:lnTo>
                    <a:pt x="69" y="128"/>
                  </a:lnTo>
                  <a:lnTo>
                    <a:pt x="69" y="131"/>
                  </a:lnTo>
                  <a:lnTo>
                    <a:pt x="61" y="138"/>
                  </a:lnTo>
                  <a:lnTo>
                    <a:pt x="53" y="138"/>
                  </a:lnTo>
                  <a:lnTo>
                    <a:pt x="48" y="137"/>
                  </a:lnTo>
                  <a:lnTo>
                    <a:pt x="35" y="141"/>
                  </a:lnTo>
                  <a:lnTo>
                    <a:pt x="34" y="139"/>
                  </a:lnTo>
                  <a:lnTo>
                    <a:pt x="27" y="142"/>
                  </a:lnTo>
                  <a:lnTo>
                    <a:pt x="26" y="145"/>
                  </a:lnTo>
                  <a:lnTo>
                    <a:pt x="16" y="145"/>
                  </a:lnTo>
                  <a:lnTo>
                    <a:pt x="13" y="149"/>
                  </a:lnTo>
                  <a:lnTo>
                    <a:pt x="10" y="150"/>
                  </a:lnTo>
                  <a:lnTo>
                    <a:pt x="9" y="148"/>
                  </a:lnTo>
                  <a:lnTo>
                    <a:pt x="14" y="143"/>
                  </a:lnTo>
                  <a:lnTo>
                    <a:pt x="16" y="138"/>
                  </a:lnTo>
                  <a:lnTo>
                    <a:pt x="19" y="136"/>
                  </a:lnTo>
                  <a:lnTo>
                    <a:pt x="20" y="132"/>
                  </a:lnTo>
                  <a:lnTo>
                    <a:pt x="26" y="130"/>
                  </a:lnTo>
                  <a:lnTo>
                    <a:pt x="30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8" y="127"/>
                  </a:lnTo>
                  <a:lnTo>
                    <a:pt x="24" y="126"/>
                  </a:lnTo>
                  <a:lnTo>
                    <a:pt x="21" y="124"/>
                  </a:lnTo>
                  <a:lnTo>
                    <a:pt x="11" y="123"/>
                  </a:lnTo>
                  <a:lnTo>
                    <a:pt x="10" y="121"/>
                  </a:lnTo>
                  <a:lnTo>
                    <a:pt x="11" y="118"/>
                  </a:lnTo>
                  <a:lnTo>
                    <a:pt x="14" y="116"/>
                  </a:lnTo>
                  <a:lnTo>
                    <a:pt x="18" y="116"/>
                  </a:lnTo>
                  <a:lnTo>
                    <a:pt x="19" y="104"/>
                  </a:lnTo>
                  <a:lnTo>
                    <a:pt x="17" y="103"/>
                  </a:lnTo>
                  <a:lnTo>
                    <a:pt x="18" y="98"/>
                  </a:lnTo>
                  <a:lnTo>
                    <a:pt x="24" y="97"/>
                  </a:lnTo>
                  <a:lnTo>
                    <a:pt x="29" y="94"/>
                  </a:lnTo>
                  <a:lnTo>
                    <a:pt x="31" y="91"/>
                  </a:lnTo>
                  <a:lnTo>
                    <a:pt x="31" y="86"/>
                  </a:lnTo>
                  <a:lnTo>
                    <a:pt x="29" y="85"/>
                  </a:lnTo>
                  <a:lnTo>
                    <a:pt x="27" y="81"/>
                  </a:lnTo>
                  <a:lnTo>
                    <a:pt x="26" y="76"/>
                  </a:lnTo>
                  <a:lnTo>
                    <a:pt x="26" y="70"/>
                  </a:lnTo>
                  <a:lnTo>
                    <a:pt x="22" y="72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4" y="63"/>
                  </a:lnTo>
                  <a:lnTo>
                    <a:pt x="14" y="60"/>
                  </a:lnTo>
                  <a:lnTo>
                    <a:pt x="13" y="57"/>
                  </a:lnTo>
                  <a:lnTo>
                    <a:pt x="13" y="53"/>
                  </a:lnTo>
                  <a:lnTo>
                    <a:pt x="12" y="51"/>
                  </a:lnTo>
                  <a:lnTo>
                    <a:pt x="8" y="53"/>
                  </a:lnTo>
                  <a:lnTo>
                    <a:pt x="8" y="58"/>
                  </a:lnTo>
                  <a:lnTo>
                    <a:pt x="6" y="61"/>
                  </a:lnTo>
                  <a:lnTo>
                    <a:pt x="5" y="57"/>
                  </a:lnTo>
                  <a:lnTo>
                    <a:pt x="5" y="51"/>
                  </a:lnTo>
                  <a:lnTo>
                    <a:pt x="6" y="46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5" y="40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4"/>
                  </a:lnTo>
                  <a:lnTo>
                    <a:pt x="0" y="39"/>
                  </a:lnTo>
                  <a:lnTo>
                    <a:pt x="2" y="35"/>
                  </a:lnTo>
                  <a:lnTo>
                    <a:pt x="6" y="30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0" y="5"/>
                  </a:lnTo>
                  <a:lnTo>
                    <a:pt x="13" y="1"/>
                  </a:lnTo>
                  <a:lnTo>
                    <a:pt x="25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4" name="Freeform 288"/>
            <p:cNvSpPr>
              <a:spLocks/>
            </p:cNvSpPr>
            <p:nvPr/>
          </p:nvSpPr>
          <p:spPr bwMode="gray">
            <a:xfrm>
              <a:off x="2633" y="2010"/>
              <a:ext cx="33" cy="28"/>
            </a:xfrm>
            <a:custGeom>
              <a:avLst/>
              <a:gdLst>
                <a:gd name="T0" fmla="*/ 2147483647 w 25"/>
                <a:gd name="T1" fmla="*/ 2147483647 h 22"/>
                <a:gd name="T2" fmla="*/ 2147483647 w 25"/>
                <a:gd name="T3" fmla="*/ 0 h 22"/>
                <a:gd name="T4" fmla="*/ 2147483647 w 25"/>
                <a:gd name="T5" fmla="*/ 2147483647 h 22"/>
                <a:gd name="T6" fmla="*/ 2147483647 w 25"/>
                <a:gd name="T7" fmla="*/ 2147483647 h 22"/>
                <a:gd name="T8" fmla="*/ 2147483647 w 25"/>
                <a:gd name="T9" fmla="*/ 2147483647 h 22"/>
                <a:gd name="T10" fmla="*/ 2147483647 w 25"/>
                <a:gd name="T11" fmla="*/ 2147483647 h 22"/>
                <a:gd name="T12" fmla="*/ 2147483647 w 25"/>
                <a:gd name="T13" fmla="*/ 2147483647 h 22"/>
                <a:gd name="T14" fmla="*/ 2147483647 w 25"/>
                <a:gd name="T15" fmla="*/ 2147483647 h 22"/>
                <a:gd name="T16" fmla="*/ 2147483647 w 25"/>
                <a:gd name="T17" fmla="*/ 2147483647 h 22"/>
                <a:gd name="T18" fmla="*/ 2147483647 w 25"/>
                <a:gd name="T19" fmla="*/ 2147483647 h 22"/>
                <a:gd name="T20" fmla="*/ 2147483647 w 25"/>
                <a:gd name="T21" fmla="*/ 2147483647 h 22"/>
                <a:gd name="T22" fmla="*/ 0 w 25"/>
                <a:gd name="T23" fmla="*/ 2147483647 h 22"/>
                <a:gd name="T24" fmla="*/ 0 w 25"/>
                <a:gd name="T25" fmla="*/ 2147483647 h 22"/>
                <a:gd name="T26" fmla="*/ 2147483647 w 25"/>
                <a:gd name="T27" fmla="*/ 2147483647 h 22"/>
                <a:gd name="T28" fmla="*/ 2147483647 w 25"/>
                <a:gd name="T29" fmla="*/ 2147483647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22"/>
                <a:gd name="T47" fmla="*/ 25 w 25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22">
                  <a:moveTo>
                    <a:pt x="6" y="1"/>
                  </a:moveTo>
                  <a:lnTo>
                    <a:pt x="11" y="0"/>
                  </a:lnTo>
                  <a:lnTo>
                    <a:pt x="12" y="2"/>
                  </a:lnTo>
                  <a:lnTo>
                    <a:pt x="18" y="3"/>
                  </a:lnTo>
                  <a:lnTo>
                    <a:pt x="22" y="11"/>
                  </a:lnTo>
                  <a:lnTo>
                    <a:pt x="25" y="12"/>
                  </a:lnTo>
                  <a:lnTo>
                    <a:pt x="23" y="19"/>
                  </a:lnTo>
                  <a:lnTo>
                    <a:pt x="17" y="22"/>
                  </a:lnTo>
                  <a:lnTo>
                    <a:pt x="14" y="20"/>
                  </a:lnTo>
                  <a:lnTo>
                    <a:pt x="9" y="18"/>
                  </a:lnTo>
                  <a:lnTo>
                    <a:pt x="5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6" y="8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5" name="Freeform 289"/>
            <p:cNvSpPr>
              <a:spLocks/>
            </p:cNvSpPr>
            <p:nvPr/>
          </p:nvSpPr>
          <p:spPr bwMode="gray">
            <a:xfrm>
              <a:off x="2768" y="2048"/>
              <a:ext cx="48" cy="57"/>
            </a:xfrm>
            <a:custGeom>
              <a:avLst/>
              <a:gdLst>
                <a:gd name="T0" fmla="*/ 2147483647 w 37"/>
                <a:gd name="T1" fmla="*/ 2147483647 h 43"/>
                <a:gd name="T2" fmla="*/ 2147483647 w 37"/>
                <a:gd name="T3" fmla="*/ 2147483647 h 43"/>
                <a:gd name="T4" fmla="*/ 2147483647 w 37"/>
                <a:gd name="T5" fmla="*/ 2147483647 h 43"/>
                <a:gd name="T6" fmla="*/ 2147483647 w 37"/>
                <a:gd name="T7" fmla="*/ 2147483647 h 43"/>
                <a:gd name="T8" fmla="*/ 2147483647 w 37"/>
                <a:gd name="T9" fmla="*/ 2147483647 h 43"/>
                <a:gd name="T10" fmla="*/ 2147483647 w 37"/>
                <a:gd name="T11" fmla="*/ 2147483647 h 43"/>
                <a:gd name="T12" fmla="*/ 2147483647 w 37"/>
                <a:gd name="T13" fmla="*/ 2147483647 h 43"/>
                <a:gd name="T14" fmla="*/ 2147483647 w 37"/>
                <a:gd name="T15" fmla="*/ 2147483647 h 43"/>
                <a:gd name="T16" fmla="*/ 2147483647 w 37"/>
                <a:gd name="T17" fmla="*/ 2147483647 h 43"/>
                <a:gd name="T18" fmla="*/ 2147483647 w 37"/>
                <a:gd name="T19" fmla="*/ 2147483647 h 43"/>
                <a:gd name="T20" fmla="*/ 2147483647 w 37"/>
                <a:gd name="T21" fmla="*/ 2147483647 h 43"/>
                <a:gd name="T22" fmla="*/ 0 w 37"/>
                <a:gd name="T23" fmla="*/ 2147483647 h 43"/>
                <a:gd name="T24" fmla="*/ 2147483647 w 37"/>
                <a:gd name="T25" fmla="*/ 2147483647 h 43"/>
                <a:gd name="T26" fmla="*/ 2147483647 w 37"/>
                <a:gd name="T27" fmla="*/ 2147483647 h 43"/>
                <a:gd name="T28" fmla="*/ 2147483647 w 37"/>
                <a:gd name="T29" fmla="*/ 2147483647 h 43"/>
                <a:gd name="T30" fmla="*/ 2147483647 w 37"/>
                <a:gd name="T31" fmla="*/ 2147483647 h 43"/>
                <a:gd name="T32" fmla="*/ 2147483647 w 37"/>
                <a:gd name="T33" fmla="*/ 2147483647 h 43"/>
                <a:gd name="T34" fmla="*/ 2147483647 w 37"/>
                <a:gd name="T35" fmla="*/ 2147483647 h 43"/>
                <a:gd name="T36" fmla="*/ 2147483647 w 37"/>
                <a:gd name="T37" fmla="*/ 2147483647 h 43"/>
                <a:gd name="T38" fmla="*/ 2147483647 w 37"/>
                <a:gd name="T39" fmla="*/ 2147483647 h 43"/>
                <a:gd name="T40" fmla="*/ 2147483647 w 37"/>
                <a:gd name="T41" fmla="*/ 2147483647 h 43"/>
                <a:gd name="T42" fmla="*/ 2147483647 w 37"/>
                <a:gd name="T43" fmla="*/ 2147483647 h 43"/>
                <a:gd name="T44" fmla="*/ 2147483647 w 37"/>
                <a:gd name="T45" fmla="*/ 2147483647 h 43"/>
                <a:gd name="T46" fmla="*/ 2147483647 w 37"/>
                <a:gd name="T47" fmla="*/ 2147483647 h 43"/>
                <a:gd name="T48" fmla="*/ 2147483647 w 37"/>
                <a:gd name="T49" fmla="*/ 2147483647 h 43"/>
                <a:gd name="T50" fmla="*/ 2147483647 w 37"/>
                <a:gd name="T51" fmla="*/ 2147483647 h 43"/>
                <a:gd name="T52" fmla="*/ 2147483647 w 37"/>
                <a:gd name="T53" fmla="*/ 2147483647 h 43"/>
                <a:gd name="T54" fmla="*/ 2147483647 w 37"/>
                <a:gd name="T55" fmla="*/ 2147483647 h 43"/>
                <a:gd name="T56" fmla="*/ 2147483647 w 37"/>
                <a:gd name="T57" fmla="*/ 0 h 43"/>
                <a:gd name="T58" fmla="*/ 2147483647 w 37"/>
                <a:gd name="T59" fmla="*/ 2147483647 h 43"/>
                <a:gd name="T60" fmla="*/ 2147483647 w 37"/>
                <a:gd name="T61" fmla="*/ 2147483647 h 43"/>
                <a:gd name="T62" fmla="*/ 2147483647 w 37"/>
                <a:gd name="T63" fmla="*/ 2147483647 h 43"/>
                <a:gd name="T64" fmla="*/ 2147483647 w 37"/>
                <a:gd name="T65" fmla="*/ 2147483647 h 43"/>
                <a:gd name="T66" fmla="*/ 2147483647 w 37"/>
                <a:gd name="T67" fmla="*/ 2147483647 h 43"/>
                <a:gd name="T68" fmla="*/ 2147483647 w 37"/>
                <a:gd name="T69" fmla="*/ 2147483647 h 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7"/>
                <a:gd name="T106" fmla="*/ 0 h 43"/>
                <a:gd name="T107" fmla="*/ 37 w 37"/>
                <a:gd name="T108" fmla="*/ 43 h 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7" h="43">
                  <a:moveTo>
                    <a:pt x="26" y="28"/>
                  </a:moveTo>
                  <a:lnTo>
                    <a:pt x="28" y="31"/>
                  </a:lnTo>
                  <a:lnTo>
                    <a:pt x="25" y="37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22" y="39"/>
                  </a:lnTo>
                  <a:lnTo>
                    <a:pt x="21" y="33"/>
                  </a:lnTo>
                  <a:lnTo>
                    <a:pt x="16" y="33"/>
                  </a:lnTo>
                  <a:lnTo>
                    <a:pt x="13" y="32"/>
                  </a:lnTo>
                  <a:lnTo>
                    <a:pt x="9" y="34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7" y="29"/>
                  </a:lnTo>
                  <a:lnTo>
                    <a:pt x="8" y="24"/>
                  </a:lnTo>
                  <a:lnTo>
                    <a:pt x="12" y="19"/>
                  </a:lnTo>
                  <a:lnTo>
                    <a:pt x="15" y="10"/>
                  </a:lnTo>
                  <a:lnTo>
                    <a:pt x="19" y="9"/>
                  </a:lnTo>
                  <a:lnTo>
                    <a:pt x="20" y="11"/>
                  </a:lnTo>
                  <a:lnTo>
                    <a:pt x="18" y="14"/>
                  </a:lnTo>
                  <a:lnTo>
                    <a:pt x="19" y="18"/>
                  </a:lnTo>
                  <a:lnTo>
                    <a:pt x="23" y="14"/>
                  </a:lnTo>
                  <a:lnTo>
                    <a:pt x="24" y="11"/>
                  </a:lnTo>
                  <a:lnTo>
                    <a:pt x="20" y="8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5" y="0"/>
                  </a:lnTo>
                  <a:lnTo>
                    <a:pt x="37" y="3"/>
                  </a:lnTo>
                  <a:lnTo>
                    <a:pt x="34" y="9"/>
                  </a:lnTo>
                  <a:lnTo>
                    <a:pt x="36" y="13"/>
                  </a:lnTo>
                  <a:lnTo>
                    <a:pt x="35" y="19"/>
                  </a:lnTo>
                  <a:lnTo>
                    <a:pt x="28" y="25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6" name="Freeform 290"/>
            <p:cNvSpPr>
              <a:spLocks/>
            </p:cNvSpPr>
            <p:nvPr/>
          </p:nvSpPr>
          <p:spPr bwMode="gray">
            <a:xfrm>
              <a:off x="2801" y="2115"/>
              <a:ext cx="8" cy="20"/>
            </a:xfrm>
            <a:custGeom>
              <a:avLst/>
              <a:gdLst>
                <a:gd name="T0" fmla="*/ 2147483647 w 6"/>
                <a:gd name="T1" fmla="*/ 2147483647 h 15"/>
                <a:gd name="T2" fmla="*/ 0 w 6"/>
                <a:gd name="T3" fmla="*/ 2147483647 h 15"/>
                <a:gd name="T4" fmla="*/ 0 w 6"/>
                <a:gd name="T5" fmla="*/ 2147483647 h 15"/>
                <a:gd name="T6" fmla="*/ 0 w 6"/>
                <a:gd name="T7" fmla="*/ 2147483647 h 15"/>
                <a:gd name="T8" fmla="*/ 2147483647 w 6"/>
                <a:gd name="T9" fmla="*/ 0 h 15"/>
                <a:gd name="T10" fmla="*/ 2147483647 w 6"/>
                <a:gd name="T11" fmla="*/ 2147483647 h 15"/>
                <a:gd name="T12" fmla="*/ 2147483647 w 6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5"/>
                <a:gd name="T23" fmla="*/ 6 w 6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5">
                  <a:moveTo>
                    <a:pt x="6" y="15"/>
                  </a:moveTo>
                  <a:lnTo>
                    <a:pt x="0" y="13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5" y="5"/>
                  </a:lnTo>
                  <a:lnTo>
                    <a:pt x="6" y="1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7" name="Freeform 291"/>
            <p:cNvSpPr>
              <a:spLocks/>
            </p:cNvSpPr>
            <p:nvPr/>
          </p:nvSpPr>
          <p:spPr bwMode="gray">
            <a:xfrm>
              <a:off x="2759" y="2090"/>
              <a:ext cx="45" cy="42"/>
            </a:xfrm>
            <a:custGeom>
              <a:avLst/>
              <a:gdLst>
                <a:gd name="T0" fmla="*/ 2147483647 w 34"/>
                <a:gd name="T1" fmla="*/ 2147483647 h 32"/>
                <a:gd name="T2" fmla="*/ 2147483647 w 34"/>
                <a:gd name="T3" fmla="*/ 2147483647 h 32"/>
                <a:gd name="T4" fmla="*/ 2147483647 w 34"/>
                <a:gd name="T5" fmla="*/ 2147483647 h 32"/>
                <a:gd name="T6" fmla="*/ 2147483647 w 34"/>
                <a:gd name="T7" fmla="*/ 2147483647 h 32"/>
                <a:gd name="T8" fmla="*/ 2147483647 w 34"/>
                <a:gd name="T9" fmla="*/ 2147483647 h 32"/>
                <a:gd name="T10" fmla="*/ 2147483647 w 34"/>
                <a:gd name="T11" fmla="*/ 2147483647 h 32"/>
                <a:gd name="T12" fmla="*/ 2147483647 w 34"/>
                <a:gd name="T13" fmla="*/ 2147483647 h 32"/>
                <a:gd name="T14" fmla="*/ 2147483647 w 34"/>
                <a:gd name="T15" fmla="*/ 2147483647 h 32"/>
                <a:gd name="T16" fmla="*/ 0 w 34"/>
                <a:gd name="T17" fmla="*/ 2147483647 h 32"/>
                <a:gd name="T18" fmla="*/ 2147483647 w 34"/>
                <a:gd name="T19" fmla="*/ 2147483647 h 32"/>
                <a:gd name="T20" fmla="*/ 2147483647 w 34"/>
                <a:gd name="T21" fmla="*/ 2147483647 h 32"/>
                <a:gd name="T22" fmla="*/ 2147483647 w 34"/>
                <a:gd name="T23" fmla="*/ 2147483647 h 32"/>
                <a:gd name="T24" fmla="*/ 2147483647 w 34"/>
                <a:gd name="T25" fmla="*/ 2147483647 h 32"/>
                <a:gd name="T26" fmla="*/ 2147483647 w 34"/>
                <a:gd name="T27" fmla="*/ 0 h 32"/>
                <a:gd name="T28" fmla="*/ 2147483647 w 34"/>
                <a:gd name="T29" fmla="*/ 2147483647 h 32"/>
                <a:gd name="T30" fmla="*/ 2147483647 w 34"/>
                <a:gd name="T31" fmla="*/ 2147483647 h 32"/>
                <a:gd name="T32" fmla="*/ 2147483647 w 34"/>
                <a:gd name="T33" fmla="*/ 2147483647 h 32"/>
                <a:gd name="T34" fmla="*/ 2147483647 w 34"/>
                <a:gd name="T35" fmla="*/ 2147483647 h 32"/>
                <a:gd name="T36" fmla="*/ 2147483647 w 34"/>
                <a:gd name="T37" fmla="*/ 2147483647 h 32"/>
                <a:gd name="T38" fmla="*/ 2147483647 w 34"/>
                <a:gd name="T39" fmla="*/ 2147483647 h 32"/>
                <a:gd name="T40" fmla="*/ 2147483647 w 34"/>
                <a:gd name="T41" fmla="*/ 2147483647 h 3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"/>
                <a:gd name="T64" fmla="*/ 0 h 32"/>
                <a:gd name="T65" fmla="*/ 34 w 34"/>
                <a:gd name="T66" fmla="*/ 32 h 3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" h="32">
                  <a:moveTo>
                    <a:pt x="34" y="19"/>
                  </a:moveTo>
                  <a:lnTo>
                    <a:pt x="32" y="22"/>
                  </a:lnTo>
                  <a:lnTo>
                    <a:pt x="32" y="26"/>
                  </a:lnTo>
                  <a:lnTo>
                    <a:pt x="32" y="32"/>
                  </a:lnTo>
                  <a:lnTo>
                    <a:pt x="25" y="26"/>
                  </a:lnTo>
                  <a:lnTo>
                    <a:pt x="19" y="24"/>
                  </a:lnTo>
                  <a:lnTo>
                    <a:pt x="15" y="22"/>
                  </a:lnTo>
                  <a:lnTo>
                    <a:pt x="7" y="16"/>
                  </a:lnTo>
                  <a:lnTo>
                    <a:pt x="0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8" y="7"/>
                  </a:lnTo>
                  <a:lnTo>
                    <a:pt x="30" y="11"/>
                  </a:lnTo>
                  <a:lnTo>
                    <a:pt x="31" y="8"/>
                  </a:lnTo>
                  <a:lnTo>
                    <a:pt x="33" y="12"/>
                  </a:lnTo>
                  <a:lnTo>
                    <a:pt x="34" y="1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8" name="Freeform 292"/>
            <p:cNvSpPr>
              <a:spLocks/>
            </p:cNvSpPr>
            <p:nvPr/>
          </p:nvSpPr>
          <p:spPr bwMode="gray">
            <a:xfrm>
              <a:off x="2676" y="2033"/>
              <a:ext cx="4" cy="8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1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099" name="Freeform 293"/>
            <p:cNvSpPr>
              <a:spLocks/>
            </p:cNvSpPr>
            <p:nvPr/>
          </p:nvSpPr>
          <p:spPr bwMode="gray">
            <a:xfrm>
              <a:off x="2654" y="1996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0 w 3"/>
                <a:gd name="T5" fmla="*/ 2147483647 h 5"/>
                <a:gd name="T6" fmla="*/ 2147483647 w 3"/>
                <a:gd name="T7" fmla="*/ 0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3" y="4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0" name="Freeform 294"/>
            <p:cNvSpPr>
              <a:spLocks/>
            </p:cNvSpPr>
            <p:nvPr/>
          </p:nvSpPr>
          <p:spPr bwMode="gray">
            <a:xfrm>
              <a:off x="2652" y="1953"/>
              <a:ext cx="6" cy="7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5" y="0"/>
                  </a:moveTo>
                  <a:lnTo>
                    <a:pt x="4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1" name="Freeform 295"/>
            <p:cNvSpPr>
              <a:spLocks/>
            </p:cNvSpPr>
            <p:nvPr/>
          </p:nvSpPr>
          <p:spPr bwMode="gray">
            <a:xfrm>
              <a:off x="2647" y="1932"/>
              <a:ext cx="8" cy="15"/>
            </a:xfrm>
            <a:custGeom>
              <a:avLst/>
              <a:gdLst>
                <a:gd name="T0" fmla="*/ 2147483647 w 7"/>
                <a:gd name="T1" fmla="*/ 0 h 11"/>
                <a:gd name="T2" fmla="*/ 2147483647 w 7"/>
                <a:gd name="T3" fmla="*/ 2147483647 h 11"/>
                <a:gd name="T4" fmla="*/ 2147483647 w 7"/>
                <a:gd name="T5" fmla="*/ 2147483647 h 11"/>
                <a:gd name="T6" fmla="*/ 0 w 7"/>
                <a:gd name="T7" fmla="*/ 2147483647 h 11"/>
                <a:gd name="T8" fmla="*/ 0 w 7"/>
                <a:gd name="T9" fmla="*/ 2147483647 h 11"/>
                <a:gd name="T10" fmla="*/ 2147483647 w 7"/>
                <a:gd name="T11" fmla="*/ 2147483647 h 11"/>
                <a:gd name="T12" fmla="*/ 2147483647 w 7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1"/>
                <a:gd name="T23" fmla="*/ 7 w 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1">
                  <a:moveTo>
                    <a:pt x="7" y="0"/>
                  </a:moveTo>
                  <a:lnTo>
                    <a:pt x="7" y="5"/>
                  </a:lnTo>
                  <a:lnTo>
                    <a:pt x="4" y="9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2" name="Freeform 296"/>
            <p:cNvSpPr>
              <a:spLocks/>
            </p:cNvSpPr>
            <p:nvPr/>
          </p:nvSpPr>
          <p:spPr bwMode="gray">
            <a:xfrm>
              <a:off x="2716" y="2109"/>
              <a:ext cx="5" cy="2"/>
            </a:xfrm>
            <a:custGeom>
              <a:avLst/>
              <a:gdLst>
                <a:gd name="T0" fmla="*/ 0 w 4"/>
                <a:gd name="T1" fmla="*/ 2147483646 h 2"/>
                <a:gd name="T2" fmla="*/ 2147483647 w 4"/>
                <a:gd name="T3" fmla="*/ 0 h 2"/>
                <a:gd name="T4" fmla="*/ 2147483647 w 4"/>
                <a:gd name="T5" fmla="*/ 2147483646 h 2"/>
                <a:gd name="T6" fmla="*/ 2147483647 w 4"/>
                <a:gd name="T7" fmla="*/ 2147483646 h 2"/>
                <a:gd name="T8" fmla="*/ 0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3" name="Freeform 297"/>
            <p:cNvSpPr>
              <a:spLocks/>
            </p:cNvSpPr>
            <p:nvPr/>
          </p:nvSpPr>
          <p:spPr bwMode="gray">
            <a:xfrm>
              <a:off x="2605" y="2010"/>
              <a:ext cx="52" cy="85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2147483647 h 64"/>
                <a:gd name="T6" fmla="*/ 2147483647 w 40"/>
                <a:gd name="T7" fmla="*/ 2147483647 h 64"/>
                <a:gd name="T8" fmla="*/ 2147483647 w 40"/>
                <a:gd name="T9" fmla="*/ 2147483647 h 64"/>
                <a:gd name="T10" fmla="*/ 2147483647 w 40"/>
                <a:gd name="T11" fmla="*/ 2147483647 h 64"/>
                <a:gd name="T12" fmla="*/ 2147483647 w 40"/>
                <a:gd name="T13" fmla="*/ 2147483647 h 64"/>
                <a:gd name="T14" fmla="*/ 2147483647 w 40"/>
                <a:gd name="T15" fmla="*/ 2147483647 h 64"/>
                <a:gd name="T16" fmla="*/ 2147483647 w 40"/>
                <a:gd name="T17" fmla="*/ 2147483647 h 64"/>
                <a:gd name="T18" fmla="*/ 2147483647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0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2147483647 w 40"/>
                <a:gd name="T37" fmla="*/ 2147483647 h 64"/>
                <a:gd name="T38" fmla="*/ 2147483647 w 40"/>
                <a:gd name="T39" fmla="*/ 2147483647 h 64"/>
                <a:gd name="T40" fmla="*/ 2147483647 w 40"/>
                <a:gd name="T41" fmla="*/ 2147483647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2147483647 w 40"/>
                <a:gd name="T49" fmla="*/ 2147483647 h 64"/>
                <a:gd name="T50" fmla="*/ 2147483647 w 40"/>
                <a:gd name="T51" fmla="*/ 2147483647 h 64"/>
                <a:gd name="T52" fmla="*/ 2147483647 w 40"/>
                <a:gd name="T53" fmla="*/ 2147483647 h 64"/>
                <a:gd name="T54" fmla="*/ 2147483647 w 40"/>
                <a:gd name="T55" fmla="*/ 2147483647 h 64"/>
                <a:gd name="T56" fmla="*/ 2147483647 w 40"/>
                <a:gd name="T57" fmla="*/ 2147483647 h 64"/>
                <a:gd name="T58" fmla="*/ 2147483647 w 40"/>
                <a:gd name="T59" fmla="*/ 2147483647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0 h 64"/>
                <a:gd name="T66" fmla="*/ 2147483647 w 40"/>
                <a:gd name="T67" fmla="*/ 2147483647 h 64"/>
                <a:gd name="T68" fmla="*/ 2147483647 w 40"/>
                <a:gd name="T69" fmla="*/ 2147483647 h 64"/>
                <a:gd name="T70" fmla="*/ 2147483647 w 40"/>
                <a:gd name="T71" fmla="*/ 2147483647 h 64"/>
                <a:gd name="T72" fmla="*/ 2147483647 w 40"/>
                <a:gd name="T73" fmla="*/ 2147483647 h 64"/>
                <a:gd name="T74" fmla="*/ 2147483647 w 40"/>
                <a:gd name="T75" fmla="*/ 2147483647 h 64"/>
                <a:gd name="T76" fmla="*/ 2147483647 w 40"/>
                <a:gd name="T77" fmla="*/ 2147483647 h 64"/>
                <a:gd name="T78" fmla="*/ 2147483647 w 40"/>
                <a:gd name="T79" fmla="*/ 2147483647 h 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0"/>
                <a:gd name="T121" fmla="*/ 0 h 64"/>
                <a:gd name="T122" fmla="*/ 40 w 40"/>
                <a:gd name="T123" fmla="*/ 64 h 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0" h="64">
                  <a:moveTo>
                    <a:pt x="39" y="21"/>
                  </a:moveTo>
                  <a:lnTo>
                    <a:pt x="39" y="30"/>
                  </a:lnTo>
                  <a:lnTo>
                    <a:pt x="40" y="34"/>
                  </a:lnTo>
                  <a:lnTo>
                    <a:pt x="39" y="40"/>
                  </a:lnTo>
                  <a:lnTo>
                    <a:pt x="36" y="52"/>
                  </a:lnTo>
                  <a:lnTo>
                    <a:pt x="31" y="53"/>
                  </a:lnTo>
                  <a:lnTo>
                    <a:pt x="22" y="57"/>
                  </a:lnTo>
                  <a:lnTo>
                    <a:pt x="14" y="61"/>
                  </a:lnTo>
                  <a:lnTo>
                    <a:pt x="9" y="64"/>
                  </a:lnTo>
                  <a:lnTo>
                    <a:pt x="5" y="63"/>
                  </a:lnTo>
                  <a:lnTo>
                    <a:pt x="4" y="60"/>
                  </a:lnTo>
                  <a:lnTo>
                    <a:pt x="1" y="58"/>
                  </a:lnTo>
                  <a:lnTo>
                    <a:pt x="0" y="52"/>
                  </a:lnTo>
                  <a:lnTo>
                    <a:pt x="3" y="50"/>
                  </a:lnTo>
                  <a:lnTo>
                    <a:pt x="12" y="46"/>
                  </a:lnTo>
                  <a:lnTo>
                    <a:pt x="11" y="45"/>
                  </a:lnTo>
                  <a:lnTo>
                    <a:pt x="9" y="44"/>
                  </a:lnTo>
                  <a:lnTo>
                    <a:pt x="9" y="39"/>
                  </a:lnTo>
                  <a:lnTo>
                    <a:pt x="12" y="33"/>
                  </a:lnTo>
                  <a:lnTo>
                    <a:pt x="9" y="32"/>
                  </a:lnTo>
                  <a:lnTo>
                    <a:pt x="5" y="34"/>
                  </a:lnTo>
                  <a:lnTo>
                    <a:pt x="3" y="32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3" y="22"/>
                  </a:lnTo>
                  <a:lnTo>
                    <a:pt x="5" y="17"/>
                  </a:lnTo>
                  <a:lnTo>
                    <a:pt x="9" y="16"/>
                  </a:lnTo>
                  <a:lnTo>
                    <a:pt x="13" y="18"/>
                  </a:lnTo>
                  <a:lnTo>
                    <a:pt x="18" y="15"/>
                  </a:lnTo>
                  <a:lnTo>
                    <a:pt x="16" y="11"/>
                  </a:lnTo>
                  <a:lnTo>
                    <a:pt x="18" y="4"/>
                  </a:lnTo>
                  <a:lnTo>
                    <a:pt x="20" y="1"/>
                  </a:lnTo>
                  <a:lnTo>
                    <a:pt x="28" y="0"/>
                  </a:lnTo>
                  <a:lnTo>
                    <a:pt x="28" y="7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27" y="20"/>
                  </a:lnTo>
                  <a:lnTo>
                    <a:pt x="31" y="17"/>
                  </a:lnTo>
                  <a:lnTo>
                    <a:pt x="36" y="19"/>
                  </a:lnTo>
                  <a:lnTo>
                    <a:pt x="39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4" name="Freeform 298"/>
            <p:cNvSpPr>
              <a:spLocks/>
            </p:cNvSpPr>
            <p:nvPr/>
          </p:nvSpPr>
          <p:spPr bwMode="gray">
            <a:xfrm>
              <a:off x="3017" y="1341"/>
              <a:ext cx="5" cy="1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2147483646 h 1"/>
                <a:gd name="T6" fmla="*/ 0 w 3"/>
                <a:gd name="T7" fmla="*/ 2147483646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5" name="Freeform 299"/>
            <p:cNvSpPr>
              <a:spLocks/>
            </p:cNvSpPr>
            <p:nvPr/>
          </p:nvSpPr>
          <p:spPr bwMode="gray">
            <a:xfrm>
              <a:off x="3015" y="1336"/>
              <a:ext cx="5" cy="2"/>
            </a:xfrm>
            <a:custGeom>
              <a:avLst/>
              <a:gdLst>
                <a:gd name="T0" fmla="*/ 2147483647 w 4"/>
                <a:gd name="T1" fmla="*/ 2147483646 h 2"/>
                <a:gd name="T2" fmla="*/ 0 w 4"/>
                <a:gd name="T3" fmla="*/ 2147483646 h 2"/>
                <a:gd name="T4" fmla="*/ 2147483647 w 4"/>
                <a:gd name="T5" fmla="*/ 0 h 2"/>
                <a:gd name="T6" fmla="*/ 2147483647 w 4"/>
                <a:gd name="T7" fmla="*/ 2147483646 h 2"/>
                <a:gd name="T8" fmla="*/ 2147483647 w 4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6" name="Freeform 300"/>
            <p:cNvSpPr>
              <a:spLocks/>
            </p:cNvSpPr>
            <p:nvPr/>
          </p:nvSpPr>
          <p:spPr bwMode="gray">
            <a:xfrm>
              <a:off x="2974" y="1331"/>
              <a:ext cx="5" cy="1"/>
            </a:xfrm>
            <a:custGeom>
              <a:avLst/>
              <a:gdLst>
                <a:gd name="T0" fmla="*/ 0 w 4"/>
                <a:gd name="T1" fmla="*/ 2147483646 h 1"/>
                <a:gd name="T2" fmla="*/ 0 w 4"/>
                <a:gd name="T3" fmla="*/ 0 h 1"/>
                <a:gd name="T4" fmla="*/ 2147483647 w 4"/>
                <a:gd name="T5" fmla="*/ 0 h 1"/>
                <a:gd name="T6" fmla="*/ 2147483647 w 4"/>
                <a:gd name="T7" fmla="*/ 2147483646 h 1"/>
                <a:gd name="T8" fmla="*/ 0 w 4"/>
                <a:gd name="T9" fmla="*/ 2147483646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"/>
                <a:gd name="T17" fmla="*/ 4 w 4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">
                  <a:moveTo>
                    <a:pt x="0" y="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7" name="Freeform 301"/>
            <p:cNvSpPr>
              <a:spLocks/>
            </p:cNvSpPr>
            <p:nvPr/>
          </p:nvSpPr>
          <p:spPr bwMode="gray">
            <a:xfrm>
              <a:off x="2979" y="1333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8" name="Freeform 302"/>
            <p:cNvSpPr>
              <a:spLocks/>
            </p:cNvSpPr>
            <p:nvPr/>
          </p:nvSpPr>
          <p:spPr bwMode="gray">
            <a:xfrm>
              <a:off x="2974" y="1335"/>
              <a:ext cx="3" cy="2"/>
            </a:xfrm>
            <a:custGeom>
              <a:avLst/>
              <a:gdLst>
                <a:gd name="T0" fmla="*/ 2147483646 w 3"/>
                <a:gd name="T1" fmla="*/ 0 h 2"/>
                <a:gd name="T2" fmla="*/ 2147483646 w 3"/>
                <a:gd name="T3" fmla="*/ 2147483646 h 2"/>
                <a:gd name="T4" fmla="*/ 0 w 3"/>
                <a:gd name="T5" fmla="*/ 2147483646 h 2"/>
                <a:gd name="T6" fmla="*/ 2147483646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09" name="Freeform 303"/>
            <p:cNvSpPr>
              <a:spLocks/>
            </p:cNvSpPr>
            <p:nvPr/>
          </p:nvSpPr>
          <p:spPr bwMode="gray">
            <a:xfrm>
              <a:off x="2960" y="1338"/>
              <a:ext cx="5" cy="2"/>
            </a:xfrm>
            <a:custGeom>
              <a:avLst/>
              <a:gdLst>
                <a:gd name="T0" fmla="*/ 2147483647 w 4"/>
                <a:gd name="T1" fmla="*/ 0 h 1"/>
                <a:gd name="T2" fmla="*/ 2147483647 w 4"/>
                <a:gd name="T3" fmla="*/ 0 h 1"/>
                <a:gd name="T4" fmla="*/ 2147483647 w 4"/>
                <a:gd name="T5" fmla="*/ 2147483647 h 1"/>
                <a:gd name="T6" fmla="*/ 2147483647 w 4"/>
                <a:gd name="T7" fmla="*/ 2147483647 h 1"/>
                <a:gd name="T8" fmla="*/ 0 w 4"/>
                <a:gd name="T9" fmla="*/ 2147483647 h 1"/>
                <a:gd name="T10" fmla="*/ 2147483647 w 4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0" name="Freeform 304"/>
            <p:cNvSpPr>
              <a:spLocks/>
            </p:cNvSpPr>
            <p:nvPr/>
          </p:nvSpPr>
          <p:spPr bwMode="gray">
            <a:xfrm>
              <a:off x="2946" y="1342"/>
              <a:ext cx="7" cy="5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2147483647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1" name="Freeform 305"/>
            <p:cNvSpPr>
              <a:spLocks/>
            </p:cNvSpPr>
            <p:nvPr/>
          </p:nvSpPr>
          <p:spPr bwMode="gray">
            <a:xfrm>
              <a:off x="2962" y="1373"/>
              <a:ext cx="8" cy="3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6 h 3"/>
                <a:gd name="T4" fmla="*/ 2147483647 w 7"/>
                <a:gd name="T5" fmla="*/ 2147483646 h 3"/>
                <a:gd name="T6" fmla="*/ 0 w 7"/>
                <a:gd name="T7" fmla="*/ 2147483646 h 3"/>
                <a:gd name="T8" fmla="*/ 2147483647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3" y="0"/>
                  </a:moveTo>
                  <a:lnTo>
                    <a:pt x="7" y="3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2" name="Freeform 306"/>
            <p:cNvSpPr>
              <a:spLocks/>
            </p:cNvSpPr>
            <p:nvPr/>
          </p:nvSpPr>
          <p:spPr bwMode="gray">
            <a:xfrm>
              <a:off x="2967" y="1378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0 h 2"/>
                <a:gd name="T6" fmla="*/ 2147483646 w 3"/>
                <a:gd name="T7" fmla="*/ 2147483646 h 2"/>
                <a:gd name="T8" fmla="*/ 0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3" name="Freeform 307"/>
            <p:cNvSpPr>
              <a:spLocks/>
            </p:cNvSpPr>
            <p:nvPr/>
          </p:nvSpPr>
          <p:spPr bwMode="gray">
            <a:xfrm>
              <a:off x="2856" y="1354"/>
              <a:ext cx="129" cy="99"/>
            </a:xfrm>
            <a:custGeom>
              <a:avLst/>
              <a:gdLst>
                <a:gd name="T0" fmla="*/ 2147483647 w 99"/>
                <a:gd name="T1" fmla="*/ 2147483647 h 76"/>
                <a:gd name="T2" fmla="*/ 2147483647 w 99"/>
                <a:gd name="T3" fmla="*/ 2147483647 h 76"/>
                <a:gd name="T4" fmla="*/ 2147483647 w 99"/>
                <a:gd name="T5" fmla="*/ 2147483647 h 76"/>
                <a:gd name="T6" fmla="*/ 2147483647 w 99"/>
                <a:gd name="T7" fmla="*/ 2147483647 h 76"/>
                <a:gd name="T8" fmla="*/ 2147483647 w 99"/>
                <a:gd name="T9" fmla="*/ 2147483647 h 76"/>
                <a:gd name="T10" fmla="*/ 2147483647 w 99"/>
                <a:gd name="T11" fmla="*/ 2147483647 h 76"/>
                <a:gd name="T12" fmla="*/ 2147483647 w 99"/>
                <a:gd name="T13" fmla="*/ 2147483647 h 76"/>
                <a:gd name="T14" fmla="*/ 2147483647 w 99"/>
                <a:gd name="T15" fmla="*/ 2147483647 h 76"/>
                <a:gd name="T16" fmla="*/ 2147483647 w 99"/>
                <a:gd name="T17" fmla="*/ 2147483647 h 76"/>
                <a:gd name="T18" fmla="*/ 2147483647 w 99"/>
                <a:gd name="T19" fmla="*/ 2147483647 h 76"/>
                <a:gd name="T20" fmla="*/ 2147483647 w 99"/>
                <a:gd name="T21" fmla="*/ 2147483647 h 76"/>
                <a:gd name="T22" fmla="*/ 2147483647 w 99"/>
                <a:gd name="T23" fmla="*/ 2147483647 h 76"/>
                <a:gd name="T24" fmla="*/ 2147483647 w 99"/>
                <a:gd name="T25" fmla="*/ 2147483647 h 76"/>
                <a:gd name="T26" fmla="*/ 2147483647 w 99"/>
                <a:gd name="T27" fmla="*/ 2147483647 h 76"/>
                <a:gd name="T28" fmla="*/ 2147483647 w 99"/>
                <a:gd name="T29" fmla="*/ 2147483647 h 76"/>
                <a:gd name="T30" fmla="*/ 2147483647 w 99"/>
                <a:gd name="T31" fmla="*/ 2147483647 h 76"/>
                <a:gd name="T32" fmla="*/ 2147483647 w 99"/>
                <a:gd name="T33" fmla="*/ 2147483647 h 76"/>
                <a:gd name="T34" fmla="*/ 2147483647 w 99"/>
                <a:gd name="T35" fmla="*/ 2147483647 h 76"/>
                <a:gd name="T36" fmla="*/ 2147483647 w 99"/>
                <a:gd name="T37" fmla="*/ 2147483647 h 76"/>
                <a:gd name="T38" fmla="*/ 2147483647 w 99"/>
                <a:gd name="T39" fmla="*/ 2147483647 h 76"/>
                <a:gd name="T40" fmla="*/ 2147483647 w 99"/>
                <a:gd name="T41" fmla="*/ 2147483647 h 76"/>
                <a:gd name="T42" fmla="*/ 2147483647 w 99"/>
                <a:gd name="T43" fmla="*/ 2147483647 h 76"/>
                <a:gd name="T44" fmla="*/ 2147483647 w 99"/>
                <a:gd name="T45" fmla="*/ 2147483647 h 76"/>
                <a:gd name="T46" fmla="*/ 2147483647 w 99"/>
                <a:gd name="T47" fmla="*/ 2147483647 h 76"/>
                <a:gd name="T48" fmla="*/ 2147483647 w 99"/>
                <a:gd name="T49" fmla="*/ 2147483647 h 76"/>
                <a:gd name="T50" fmla="*/ 2147483647 w 99"/>
                <a:gd name="T51" fmla="*/ 2147483647 h 76"/>
                <a:gd name="T52" fmla="*/ 2147483647 w 99"/>
                <a:gd name="T53" fmla="*/ 2147483647 h 76"/>
                <a:gd name="T54" fmla="*/ 2147483647 w 99"/>
                <a:gd name="T55" fmla="*/ 2147483647 h 76"/>
                <a:gd name="T56" fmla="*/ 2147483647 w 99"/>
                <a:gd name="T57" fmla="*/ 2147483647 h 76"/>
                <a:gd name="T58" fmla="*/ 2147483647 w 99"/>
                <a:gd name="T59" fmla="*/ 2147483647 h 76"/>
                <a:gd name="T60" fmla="*/ 2147483647 w 99"/>
                <a:gd name="T61" fmla="*/ 2147483647 h 76"/>
                <a:gd name="T62" fmla="*/ 2147483647 w 99"/>
                <a:gd name="T63" fmla="*/ 2147483647 h 76"/>
                <a:gd name="T64" fmla="*/ 2147483647 w 99"/>
                <a:gd name="T65" fmla="*/ 2147483647 h 76"/>
                <a:gd name="T66" fmla="*/ 2147483647 w 99"/>
                <a:gd name="T67" fmla="*/ 2147483647 h 76"/>
                <a:gd name="T68" fmla="*/ 0 w 99"/>
                <a:gd name="T69" fmla="*/ 2147483647 h 76"/>
                <a:gd name="T70" fmla="*/ 2147483647 w 99"/>
                <a:gd name="T71" fmla="*/ 2147483647 h 76"/>
                <a:gd name="T72" fmla="*/ 2147483647 w 99"/>
                <a:gd name="T73" fmla="*/ 2147483647 h 76"/>
                <a:gd name="T74" fmla="*/ 2147483647 w 99"/>
                <a:gd name="T75" fmla="*/ 2147483647 h 76"/>
                <a:gd name="T76" fmla="*/ 2147483647 w 99"/>
                <a:gd name="T77" fmla="*/ 2147483647 h 76"/>
                <a:gd name="T78" fmla="*/ 2147483647 w 99"/>
                <a:gd name="T79" fmla="*/ 2147483647 h 76"/>
                <a:gd name="T80" fmla="*/ 2147483647 w 99"/>
                <a:gd name="T81" fmla="*/ 2147483647 h 76"/>
                <a:gd name="T82" fmla="*/ 2147483647 w 99"/>
                <a:gd name="T83" fmla="*/ 2147483647 h 76"/>
                <a:gd name="T84" fmla="*/ 2147483647 w 99"/>
                <a:gd name="T85" fmla="*/ 2147483647 h 76"/>
                <a:gd name="T86" fmla="*/ 2147483647 w 99"/>
                <a:gd name="T87" fmla="*/ 2147483647 h 76"/>
                <a:gd name="T88" fmla="*/ 2147483647 w 99"/>
                <a:gd name="T89" fmla="*/ 2147483647 h 76"/>
                <a:gd name="T90" fmla="*/ 2147483647 w 99"/>
                <a:gd name="T91" fmla="*/ 2147483647 h 76"/>
                <a:gd name="T92" fmla="*/ 2147483647 w 99"/>
                <a:gd name="T93" fmla="*/ 2147483647 h 76"/>
                <a:gd name="T94" fmla="*/ 2147483647 w 99"/>
                <a:gd name="T95" fmla="*/ 2147483647 h 76"/>
                <a:gd name="T96" fmla="*/ 2147483647 w 99"/>
                <a:gd name="T97" fmla="*/ 2147483647 h 76"/>
                <a:gd name="T98" fmla="*/ 2147483647 w 99"/>
                <a:gd name="T99" fmla="*/ 0 h 76"/>
                <a:gd name="T100" fmla="*/ 2147483647 w 99"/>
                <a:gd name="T101" fmla="*/ 2147483647 h 76"/>
                <a:gd name="T102" fmla="*/ 2147483647 w 99"/>
                <a:gd name="T103" fmla="*/ 2147483647 h 76"/>
                <a:gd name="T104" fmla="*/ 2147483647 w 99"/>
                <a:gd name="T105" fmla="*/ 2147483647 h 76"/>
                <a:gd name="T106" fmla="*/ 2147483647 w 99"/>
                <a:gd name="T107" fmla="*/ 2147483647 h 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9"/>
                <a:gd name="T163" fmla="*/ 0 h 76"/>
                <a:gd name="T164" fmla="*/ 99 w 99"/>
                <a:gd name="T165" fmla="*/ 76 h 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9" h="76">
                  <a:moveTo>
                    <a:pt x="75" y="20"/>
                  </a:moveTo>
                  <a:lnTo>
                    <a:pt x="81" y="21"/>
                  </a:lnTo>
                  <a:lnTo>
                    <a:pt x="84" y="24"/>
                  </a:lnTo>
                  <a:lnTo>
                    <a:pt x="87" y="25"/>
                  </a:lnTo>
                  <a:lnTo>
                    <a:pt x="99" y="28"/>
                  </a:lnTo>
                  <a:lnTo>
                    <a:pt x="96" y="30"/>
                  </a:lnTo>
                  <a:lnTo>
                    <a:pt x="90" y="32"/>
                  </a:lnTo>
                  <a:lnTo>
                    <a:pt x="80" y="34"/>
                  </a:lnTo>
                  <a:lnTo>
                    <a:pt x="76" y="38"/>
                  </a:lnTo>
                  <a:lnTo>
                    <a:pt x="75" y="44"/>
                  </a:lnTo>
                  <a:lnTo>
                    <a:pt x="70" y="46"/>
                  </a:lnTo>
                  <a:lnTo>
                    <a:pt x="71" y="49"/>
                  </a:lnTo>
                  <a:lnTo>
                    <a:pt x="69" y="56"/>
                  </a:lnTo>
                  <a:lnTo>
                    <a:pt x="62" y="59"/>
                  </a:lnTo>
                  <a:lnTo>
                    <a:pt x="62" y="66"/>
                  </a:lnTo>
                  <a:lnTo>
                    <a:pt x="59" y="68"/>
                  </a:lnTo>
                  <a:lnTo>
                    <a:pt x="56" y="72"/>
                  </a:lnTo>
                  <a:lnTo>
                    <a:pt x="56" y="74"/>
                  </a:lnTo>
                  <a:lnTo>
                    <a:pt x="54" y="76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50" y="68"/>
                  </a:lnTo>
                  <a:lnTo>
                    <a:pt x="48" y="67"/>
                  </a:lnTo>
                  <a:lnTo>
                    <a:pt x="45" y="67"/>
                  </a:lnTo>
                  <a:lnTo>
                    <a:pt x="45" y="68"/>
                  </a:lnTo>
                  <a:lnTo>
                    <a:pt x="41" y="68"/>
                  </a:lnTo>
                  <a:lnTo>
                    <a:pt x="39" y="66"/>
                  </a:lnTo>
                  <a:lnTo>
                    <a:pt x="39" y="65"/>
                  </a:lnTo>
                  <a:lnTo>
                    <a:pt x="33" y="64"/>
                  </a:lnTo>
                  <a:lnTo>
                    <a:pt x="32" y="60"/>
                  </a:lnTo>
                  <a:lnTo>
                    <a:pt x="28" y="57"/>
                  </a:lnTo>
                  <a:lnTo>
                    <a:pt x="29" y="55"/>
                  </a:lnTo>
                  <a:lnTo>
                    <a:pt x="34" y="55"/>
                  </a:lnTo>
                  <a:lnTo>
                    <a:pt x="37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44" y="53"/>
                  </a:lnTo>
                  <a:lnTo>
                    <a:pt x="49" y="52"/>
                  </a:lnTo>
                  <a:lnTo>
                    <a:pt x="54" y="51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46" y="50"/>
                  </a:lnTo>
                  <a:lnTo>
                    <a:pt x="40" y="50"/>
                  </a:lnTo>
                  <a:lnTo>
                    <a:pt x="35" y="51"/>
                  </a:lnTo>
                  <a:lnTo>
                    <a:pt x="33" y="51"/>
                  </a:lnTo>
                  <a:lnTo>
                    <a:pt x="29" y="53"/>
                  </a:lnTo>
                  <a:lnTo>
                    <a:pt x="25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32" y="45"/>
                  </a:lnTo>
                  <a:lnTo>
                    <a:pt x="35" y="43"/>
                  </a:lnTo>
                  <a:lnTo>
                    <a:pt x="40" y="43"/>
                  </a:lnTo>
                  <a:lnTo>
                    <a:pt x="42" y="42"/>
                  </a:lnTo>
                  <a:lnTo>
                    <a:pt x="40" y="40"/>
                  </a:lnTo>
                  <a:lnTo>
                    <a:pt x="43" y="40"/>
                  </a:lnTo>
                  <a:lnTo>
                    <a:pt x="50" y="39"/>
                  </a:lnTo>
                  <a:lnTo>
                    <a:pt x="57" y="38"/>
                  </a:lnTo>
                  <a:lnTo>
                    <a:pt x="58" y="37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9" y="37"/>
                  </a:lnTo>
                  <a:lnTo>
                    <a:pt x="53" y="35"/>
                  </a:lnTo>
                  <a:lnTo>
                    <a:pt x="56" y="33"/>
                  </a:lnTo>
                  <a:lnTo>
                    <a:pt x="53" y="32"/>
                  </a:lnTo>
                  <a:lnTo>
                    <a:pt x="51" y="33"/>
                  </a:lnTo>
                  <a:lnTo>
                    <a:pt x="46" y="36"/>
                  </a:lnTo>
                  <a:lnTo>
                    <a:pt x="43" y="36"/>
                  </a:lnTo>
                  <a:lnTo>
                    <a:pt x="43" y="33"/>
                  </a:lnTo>
                  <a:lnTo>
                    <a:pt x="46" y="31"/>
                  </a:lnTo>
                  <a:lnTo>
                    <a:pt x="42" y="30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4" y="32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3" y="39"/>
                  </a:lnTo>
                  <a:lnTo>
                    <a:pt x="25" y="41"/>
                  </a:lnTo>
                  <a:lnTo>
                    <a:pt x="20" y="41"/>
                  </a:lnTo>
                  <a:lnTo>
                    <a:pt x="19" y="40"/>
                  </a:lnTo>
                  <a:lnTo>
                    <a:pt x="14" y="38"/>
                  </a:lnTo>
                  <a:lnTo>
                    <a:pt x="16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15" y="35"/>
                  </a:lnTo>
                  <a:lnTo>
                    <a:pt x="11" y="35"/>
                  </a:lnTo>
                  <a:lnTo>
                    <a:pt x="9" y="31"/>
                  </a:lnTo>
                  <a:lnTo>
                    <a:pt x="11" y="30"/>
                  </a:lnTo>
                  <a:lnTo>
                    <a:pt x="7" y="29"/>
                  </a:lnTo>
                  <a:lnTo>
                    <a:pt x="8" y="27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0" y="25"/>
                  </a:lnTo>
                  <a:lnTo>
                    <a:pt x="10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4" y="22"/>
                  </a:lnTo>
                  <a:lnTo>
                    <a:pt x="1" y="21"/>
                  </a:lnTo>
                  <a:lnTo>
                    <a:pt x="3" y="19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0" y="7"/>
                  </a:lnTo>
                  <a:lnTo>
                    <a:pt x="4" y="6"/>
                  </a:lnTo>
                  <a:lnTo>
                    <a:pt x="9" y="6"/>
                  </a:lnTo>
                  <a:lnTo>
                    <a:pt x="7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23" y="6"/>
                  </a:lnTo>
                  <a:lnTo>
                    <a:pt x="26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5" y="9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22" y="12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7" y="16"/>
                  </a:lnTo>
                  <a:lnTo>
                    <a:pt x="28" y="18"/>
                  </a:lnTo>
                  <a:lnTo>
                    <a:pt x="32" y="21"/>
                  </a:lnTo>
                  <a:lnTo>
                    <a:pt x="33" y="18"/>
                  </a:lnTo>
                  <a:lnTo>
                    <a:pt x="31" y="16"/>
                  </a:lnTo>
                  <a:lnTo>
                    <a:pt x="28" y="13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2" y="15"/>
                  </a:lnTo>
                  <a:lnTo>
                    <a:pt x="43" y="17"/>
                  </a:lnTo>
                  <a:lnTo>
                    <a:pt x="43" y="22"/>
                  </a:lnTo>
                  <a:lnTo>
                    <a:pt x="46" y="24"/>
                  </a:lnTo>
                  <a:lnTo>
                    <a:pt x="47" y="26"/>
                  </a:lnTo>
                  <a:lnTo>
                    <a:pt x="50" y="27"/>
                  </a:lnTo>
                  <a:lnTo>
                    <a:pt x="53" y="26"/>
                  </a:lnTo>
                  <a:lnTo>
                    <a:pt x="52" y="23"/>
                  </a:lnTo>
                  <a:lnTo>
                    <a:pt x="46" y="18"/>
                  </a:lnTo>
                  <a:lnTo>
                    <a:pt x="48" y="13"/>
                  </a:lnTo>
                  <a:lnTo>
                    <a:pt x="47" y="12"/>
                  </a:lnTo>
                  <a:lnTo>
                    <a:pt x="45" y="3"/>
                  </a:lnTo>
                  <a:lnTo>
                    <a:pt x="48" y="2"/>
                  </a:lnTo>
                  <a:lnTo>
                    <a:pt x="49" y="0"/>
                  </a:lnTo>
                  <a:lnTo>
                    <a:pt x="55" y="1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6" y="8"/>
                  </a:lnTo>
                  <a:lnTo>
                    <a:pt x="63" y="10"/>
                  </a:lnTo>
                  <a:lnTo>
                    <a:pt x="63" y="12"/>
                  </a:lnTo>
                  <a:lnTo>
                    <a:pt x="62" y="13"/>
                  </a:lnTo>
                  <a:lnTo>
                    <a:pt x="64" y="14"/>
                  </a:lnTo>
                  <a:lnTo>
                    <a:pt x="68" y="11"/>
                  </a:lnTo>
                  <a:lnTo>
                    <a:pt x="71" y="12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5" y="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4" name="Freeform 308"/>
            <p:cNvSpPr>
              <a:spLocks/>
            </p:cNvSpPr>
            <p:nvPr/>
          </p:nvSpPr>
          <p:spPr bwMode="gray">
            <a:xfrm>
              <a:off x="2975" y="1399"/>
              <a:ext cx="18" cy="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0 h 7"/>
                <a:gd name="T14" fmla="*/ 2147483647 w 14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7"/>
                <a:gd name="T26" fmla="*/ 14 w 1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7">
                  <a:moveTo>
                    <a:pt x="14" y="0"/>
                  </a:moveTo>
                  <a:lnTo>
                    <a:pt x="14" y="6"/>
                  </a:lnTo>
                  <a:lnTo>
                    <a:pt x="3" y="7"/>
                  </a:lnTo>
                  <a:lnTo>
                    <a:pt x="0" y="3"/>
                  </a:lnTo>
                  <a:lnTo>
                    <a:pt x="2" y="2"/>
                  </a:lnTo>
                  <a:lnTo>
                    <a:pt x="5" y="2"/>
                  </a:lnTo>
                  <a:lnTo>
                    <a:pt x="9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5" name="Freeform 309"/>
            <p:cNvSpPr>
              <a:spLocks/>
            </p:cNvSpPr>
            <p:nvPr/>
          </p:nvSpPr>
          <p:spPr bwMode="gray">
            <a:xfrm>
              <a:off x="2977" y="1407"/>
              <a:ext cx="50" cy="28"/>
            </a:xfrm>
            <a:custGeom>
              <a:avLst/>
              <a:gdLst>
                <a:gd name="T0" fmla="*/ 2147483647 w 38"/>
                <a:gd name="T1" fmla="*/ 0 h 21"/>
                <a:gd name="T2" fmla="*/ 2147483647 w 38"/>
                <a:gd name="T3" fmla="*/ 2147483647 h 21"/>
                <a:gd name="T4" fmla="*/ 2147483647 w 38"/>
                <a:gd name="T5" fmla="*/ 2147483647 h 21"/>
                <a:gd name="T6" fmla="*/ 2147483647 w 38"/>
                <a:gd name="T7" fmla="*/ 2147483647 h 21"/>
                <a:gd name="T8" fmla="*/ 2147483647 w 38"/>
                <a:gd name="T9" fmla="*/ 2147483647 h 21"/>
                <a:gd name="T10" fmla="*/ 2147483647 w 38"/>
                <a:gd name="T11" fmla="*/ 2147483647 h 21"/>
                <a:gd name="T12" fmla="*/ 2147483647 w 38"/>
                <a:gd name="T13" fmla="*/ 2147483647 h 21"/>
                <a:gd name="T14" fmla="*/ 2147483647 w 38"/>
                <a:gd name="T15" fmla="*/ 2147483647 h 21"/>
                <a:gd name="T16" fmla="*/ 2147483647 w 38"/>
                <a:gd name="T17" fmla="*/ 2147483647 h 21"/>
                <a:gd name="T18" fmla="*/ 2147483647 w 38"/>
                <a:gd name="T19" fmla="*/ 2147483647 h 21"/>
                <a:gd name="T20" fmla="*/ 2147483647 w 38"/>
                <a:gd name="T21" fmla="*/ 2147483647 h 21"/>
                <a:gd name="T22" fmla="*/ 2147483647 w 38"/>
                <a:gd name="T23" fmla="*/ 2147483647 h 21"/>
                <a:gd name="T24" fmla="*/ 2147483647 w 38"/>
                <a:gd name="T25" fmla="*/ 2147483647 h 21"/>
                <a:gd name="T26" fmla="*/ 2147483647 w 38"/>
                <a:gd name="T27" fmla="*/ 2147483647 h 21"/>
                <a:gd name="T28" fmla="*/ 2147483647 w 38"/>
                <a:gd name="T29" fmla="*/ 2147483647 h 21"/>
                <a:gd name="T30" fmla="*/ 2147483647 w 38"/>
                <a:gd name="T31" fmla="*/ 2147483647 h 21"/>
                <a:gd name="T32" fmla="*/ 2147483647 w 38"/>
                <a:gd name="T33" fmla="*/ 2147483647 h 21"/>
                <a:gd name="T34" fmla="*/ 2147483647 w 38"/>
                <a:gd name="T35" fmla="*/ 2147483647 h 21"/>
                <a:gd name="T36" fmla="*/ 2147483647 w 38"/>
                <a:gd name="T37" fmla="*/ 2147483647 h 21"/>
                <a:gd name="T38" fmla="*/ 0 w 38"/>
                <a:gd name="T39" fmla="*/ 2147483647 h 21"/>
                <a:gd name="T40" fmla="*/ 0 w 38"/>
                <a:gd name="T41" fmla="*/ 2147483647 h 21"/>
                <a:gd name="T42" fmla="*/ 2147483647 w 38"/>
                <a:gd name="T43" fmla="*/ 2147483647 h 21"/>
                <a:gd name="T44" fmla="*/ 2147483647 w 38"/>
                <a:gd name="T45" fmla="*/ 2147483647 h 21"/>
                <a:gd name="T46" fmla="*/ 2147483647 w 38"/>
                <a:gd name="T47" fmla="*/ 2147483647 h 21"/>
                <a:gd name="T48" fmla="*/ 0 w 38"/>
                <a:gd name="T49" fmla="*/ 2147483647 h 21"/>
                <a:gd name="T50" fmla="*/ 2147483647 w 38"/>
                <a:gd name="T51" fmla="*/ 2147483647 h 21"/>
                <a:gd name="T52" fmla="*/ 2147483647 w 38"/>
                <a:gd name="T53" fmla="*/ 2147483647 h 21"/>
                <a:gd name="T54" fmla="*/ 2147483647 w 38"/>
                <a:gd name="T55" fmla="*/ 2147483647 h 21"/>
                <a:gd name="T56" fmla="*/ 2147483647 w 38"/>
                <a:gd name="T57" fmla="*/ 2147483647 h 21"/>
                <a:gd name="T58" fmla="*/ 2147483647 w 38"/>
                <a:gd name="T59" fmla="*/ 0 h 2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"/>
                <a:gd name="T91" fmla="*/ 0 h 21"/>
                <a:gd name="T92" fmla="*/ 38 w 38"/>
                <a:gd name="T93" fmla="*/ 21 h 2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" h="21">
                  <a:moveTo>
                    <a:pt x="19" y="0"/>
                  </a:moveTo>
                  <a:lnTo>
                    <a:pt x="23" y="2"/>
                  </a:lnTo>
                  <a:lnTo>
                    <a:pt x="20" y="6"/>
                  </a:lnTo>
                  <a:lnTo>
                    <a:pt x="23" y="7"/>
                  </a:lnTo>
                  <a:lnTo>
                    <a:pt x="25" y="9"/>
                  </a:lnTo>
                  <a:lnTo>
                    <a:pt x="29" y="9"/>
                  </a:lnTo>
                  <a:lnTo>
                    <a:pt x="31" y="8"/>
                  </a:lnTo>
                  <a:lnTo>
                    <a:pt x="37" y="10"/>
                  </a:lnTo>
                  <a:lnTo>
                    <a:pt x="38" y="12"/>
                  </a:lnTo>
                  <a:lnTo>
                    <a:pt x="29" y="12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8" y="17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2" y="19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7" y="7"/>
                  </a:lnTo>
                  <a:lnTo>
                    <a:pt x="0" y="4"/>
                  </a:lnTo>
                  <a:lnTo>
                    <a:pt x="1" y="3"/>
                  </a:lnTo>
                  <a:lnTo>
                    <a:pt x="6" y="3"/>
                  </a:lnTo>
                  <a:lnTo>
                    <a:pt x="8" y="1"/>
                  </a:lnTo>
                  <a:lnTo>
                    <a:pt x="16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6" name="Freeform 310"/>
            <p:cNvSpPr>
              <a:spLocks/>
            </p:cNvSpPr>
            <p:nvPr/>
          </p:nvSpPr>
          <p:spPr bwMode="gray">
            <a:xfrm>
              <a:off x="2970" y="1383"/>
              <a:ext cx="7" cy="4"/>
            </a:xfrm>
            <a:custGeom>
              <a:avLst/>
              <a:gdLst>
                <a:gd name="T0" fmla="*/ 0 w 5"/>
                <a:gd name="T1" fmla="*/ 2147483647 h 3"/>
                <a:gd name="T2" fmla="*/ 0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7" name="Freeform 311"/>
            <p:cNvSpPr>
              <a:spLocks/>
            </p:cNvSpPr>
            <p:nvPr/>
          </p:nvSpPr>
          <p:spPr bwMode="gray">
            <a:xfrm>
              <a:off x="2852" y="1390"/>
              <a:ext cx="23" cy="20"/>
            </a:xfrm>
            <a:custGeom>
              <a:avLst/>
              <a:gdLst>
                <a:gd name="T0" fmla="*/ 2147483647 w 17"/>
                <a:gd name="T1" fmla="*/ 2147483647 h 15"/>
                <a:gd name="T2" fmla="*/ 2147483647 w 17"/>
                <a:gd name="T3" fmla="*/ 2147483647 h 15"/>
                <a:gd name="T4" fmla="*/ 0 w 17"/>
                <a:gd name="T5" fmla="*/ 2147483647 h 15"/>
                <a:gd name="T6" fmla="*/ 2147483647 w 17"/>
                <a:gd name="T7" fmla="*/ 0 h 15"/>
                <a:gd name="T8" fmla="*/ 2147483647 w 17"/>
                <a:gd name="T9" fmla="*/ 2147483647 h 15"/>
                <a:gd name="T10" fmla="*/ 2147483647 w 17"/>
                <a:gd name="T11" fmla="*/ 2147483647 h 15"/>
                <a:gd name="T12" fmla="*/ 2147483647 w 17"/>
                <a:gd name="T13" fmla="*/ 2147483647 h 15"/>
                <a:gd name="T14" fmla="*/ 2147483647 w 17"/>
                <a:gd name="T15" fmla="*/ 2147483647 h 15"/>
                <a:gd name="T16" fmla="*/ 2147483647 w 17"/>
                <a:gd name="T17" fmla="*/ 2147483647 h 15"/>
                <a:gd name="T18" fmla="*/ 2147483647 w 17"/>
                <a:gd name="T19" fmla="*/ 2147483647 h 15"/>
                <a:gd name="T20" fmla="*/ 2147483647 w 17"/>
                <a:gd name="T21" fmla="*/ 2147483647 h 15"/>
                <a:gd name="T22" fmla="*/ 2147483647 w 17"/>
                <a:gd name="T23" fmla="*/ 2147483647 h 15"/>
                <a:gd name="T24" fmla="*/ 2147483647 w 17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4" y="8"/>
                  </a:moveTo>
                  <a:lnTo>
                    <a:pt x="3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7" y="2"/>
                  </a:lnTo>
                  <a:lnTo>
                    <a:pt x="9" y="7"/>
                  </a:lnTo>
                  <a:lnTo>
                    <a:pt x="14" y="11"/>
                  </a:lnTo>
                  <a:lnTo>
                    <a:pt x="17" y="13"/>
                  </a:lnTo>
                  <a:lnTo>
                    <a:pt x="14" y="15"/>
                  </a:lnTo>
                  <a:lnTo>
                    <a:pt x="10" y="14"/>
                  </a:lnTo>
                  <a:lnTo>
                    <a:pt x="9" y="11"/>
                  </a:lnTo>
                  <a:lnTo>
                    <a:pt x="5" y="9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8" name="Freeform 312"/>
            <p:cNvSpPr>
              <a:spLocks/>
            </p:cNvSpPr>
            <p:nvPr/>
          </p:nvSpPr>
          <p:spPr bwMode="gray">
            <a:xfrm>
              <a:off x="2996" y="1913"/>
              <a:ext cx="7" cy="7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6" y="0"/>
                  </a:lnTo>
                  <a:lnTo>
                    <a:pt x="6" y="3"/>
                  </a:lnTo>
                  <a:lnTo>
                    <a:pt x="2" y="5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19" name="Freeform 313"/>
            <p:cNvSpPr>
              <a:spLocks/>
            </p:cNvSpPr>
            <p:nvPr/>
          </p:nvSpPr>
          <p:spPr bwMode="gray">
            <a:xfrm>
              <a:off x="3012" y="1598"/>
              <a:ext cx="8" cy="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2147483646 h 3"/>
                <a:gd name="T4" fmla="*/ 2147483647 w 6"/>
                <a:gd name="T5" fmla="*/ 2147483646 h 3"/>
                <a:gd name="T6" fmla="*/ 0 w 6"/>
                <a:gd name="T7" fmla="*/ 2147483646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0" name="Freeform 314"/>
            <p:cNvSpPr>
              <a:spLocks/>
            </p:cNvSpPr>
            <p:nvPr/>
          </p:nvSpPr>
          <p:spPr bwMode="gray">
            <a:xfrm>
              <a:off x="3015" y="1605"/>
              <a:ext cx="7" cy="3"/>
            </a:xfrm>
            <a:custGeom>
              <a:avLst/>
              <a:gdLst>
                <a:gd name="T0" fmla="*/ 2147483647 w 5"/>
                <a:gd name="T1" fmla="*/ 2147483647 h 2"/>
                <a:gd name="T2" fmla="*/ 0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2147483647 h 2"/>
                <a:gd name="T10" fmla="*/ 2147483647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2" y="2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1" name="Freeform 315"/>
            <p:cNvSpPr>
              <a:spLocks/>
            </p:cNvSpPr>
            <p:nvPr/>
          </p:nvSpPr>
          <p:spPr bwMode="gray">
            <a:xfrm>
              <a:off x="3001" y="1613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2" name="Freeform 316"/>
            <p:cNvSpPr>
              <a:spLocks/>
            </p:cNvSpPr>
            <p:nvPr/>
          </p:nvSpPr>
          <p:spPr bwMode="gray">
            <a:xfrm>
              <a:off x="3010" y="1610"/>
              <a:ext cx="4" cy="3"/>
            </a:xfrm>
            <a:custGeom>
              <a:avLst/>
              <a:gdLst>
                <a:gd name="T0" fmla="*/ 0 w 3"/>
                <a:gd name="T1" fmla="*/ 2147483646 h 3"/>
                <a:gd name="T2" fmla="*/ 0 w 3"/>
                <a:gd name="T3" fmla="*/ 2147483646 h 3"/>
                <a:gd name="T4" fmla="*/ 2147483647 w 3"/>
                <a:gd name="T5" fmla="*/ 0 h 3"/>
                <a:gd name="T6" fmla="*/ 2147483647 w 3"/>
                <a:gd name="T7" fmla="*/ 2147483646 h 3"/>
                <a:gd name="T8" fmla="*/ 2147483647 w 3"/>
                <a:gd name="T9" fmla="*/ 2147483646 h 3"/>
                <a:gd name="T10" fmla="*/ 0 w 3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3" name="Freeform 317"/>
            <p:cNvSpPr>
              <a:spLocks/>
            </p:cNvSpPr>
            <p:nvPr/>
          </p:nvSpPr>
          <p:spPr bwMode="gray">
            <a:xfrm>
              <a:off x="2991" y="1605"/>
              <a:ext cx="16" cy="5"/>
            </a:xfrm>
            <a:custGeom>
              <a:avLst/>
              <a:gdLst>
                <a:gd name="T0" fmla="*/ 0 w 13"/>
                <a:gd name="T1" fmla="*/ 2147483646 h 5"/>
                <a:gd name="T2" fmla="*/ 2147483647 w 13"/>
                <a:gd name="T3" fmla="*/ 2147483646 h 5"/>
                <a:gd name="T4" fmla="*/ 2147483647 w 13"/>
                <a:gd name="T5" fmla="*/ 2147483646 h 5"/>
                <a:gd name="T6" fmla="*/ 2147483647 w 13"/>
                <a:gd name="T7" fmla="*/ 2147483646 h 5"/>
                <a:gd name="T8" fmla="*/ 2147483647 w 13"/>
                <a:gd name="T9" fmla="*/ 0 h 5"/>
                <a:gd name="T10" fmla="*/ 2147483647 w 13"/>
                <a:gd name="T11" fmla="*/ 0 h 5"/>
                <a:gd name="T12" fmla="*/ 2147483647 w 13"/>
                <a:gd name="T13" fmla="*/ 2147483646 h 5"/>
                <a:gd name="T14" fmla="*/ 0 w 13"/>
                <a:gd name="T15" fmla="*/ 214748364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5"/>
                <a:gd name="T26" fmla="*/ 13 w 1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5">
                  <a:moveTo>
                    <a:pt x="0" y="3"/>
                  </a:moveTo>
                  <a:lnTo>
                    <a:pt x="2" y="5"/>
                  </a:lnTo>
                  <a:lnTo>
                    <a:pt x="4" y="5"/>
                  </a:lnTo>
                  <a:lnTo>
                    <a:pt x="12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4" name="Freeform 318"/>
            <p:cNvSpPr>
              <a:spLocks/>
            </p:cNvSpPr>
            <p:nvPr/>
          </p:nvSpPr>
          <p:spPr bwMode="gray">
            <a:xfrm>
              <a:off x="2974" y="161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0 w 4"/>
                <a:gd name="T3" fmla="*/ 2147483646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w 4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5" name="Freeform 319"/>
            <p:cNvSpPr>
              <a:spLocks/>
            </p:cNvSpPr>
            <p:nvPr/>
          </p:nvSpPr>
          <p:spPr bwMode="gray">
            <a:xfrm>
              <a:off x="2963" y="1617"/>
              <a:ext cx="4" cy="7"/>
            </a:xfrm>
            <a:custGeom>
              <a:avLst/>
              <a:gdLst>
                <a:gd name="T0" fmla="*/ 2147483647 w 3"/>
                <a:gd name="T1" fmla="*/ 0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2147483647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2" y="0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1" y="5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6" name="Freeform 320"/>
            <p:cNvSpPr>
              <a:spLocks/>
            </p:cNvSpPr>
            <p:nvPr/>
          </p:nvSpPr>
          <p:spPr bwMode="gray">
            <a:xfrm>
              <a:off x="2955" y="1619"/>
              <a:ext cx="5" cy="2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2147483646 h 2"/>
                <a:gd name="T4" fmla="*/ 0 w 4"/>
                <a:gd name="T5" fmla="*/ 2147483646 h 2"/>
                <a:gd name="T6" fmla="*/ 0 w 4"/>
                <a:gd name="T7" fmla="*/ 2147483646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7" name="Freeform 321"/>
            <p:cNvSpPr>
              <a:spLocks/>
            </p:cNvSpPr>
            <p:nvPr/>
          </p:nvSpPr>
          <p:spPr bwMode="gray">
            <a:xfrm>
              <a:off x="2953" y="162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0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6" y="0"/>
                  </a:lnTo>
                  <a:lnTo>
                    <a:pt x="7" y="3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8" name="Freeform 322"/>
            <p:cNvSpPr>
              <a:spLocks/>
            </p:cNvSpPr>
            <p:nvPr/>
          </p:nvSpPr>
          <p:spPr bwMode="gray">
            <a:xfrm>
              <a:off x="2942" y="1631"/>
              <a:ext cx="12" cy="5"/>
            </a:xfrm>
            <a:custGeom>
              <a:avLst/>
              <a:gdLst>
                <a:gd name="T0" fmla="*/ 0 w 9"/>
                <a:gd name="T1" fmla="*/ 2147483647 h 4"/>
                <a:gd name="T2" fmla="*/ 2147483647 w 9"/>
                <a:gd name="T3" fmla="*/ 2147483647 h 4"/>
                <a:gd name="T4" fmla="*/ 2147483647 w 9"/>
                <a:gd name="T5" fmla="*/ 0 h 4"/>
                <a:gd name="T6" fmla="*/ 2147483647 w 9"/>
                <a:gd name="T7" fmla="*/ 0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0 w 9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4"/>
                <a:gd name="T23" fmla="*/ 9 w 9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4">
                  <a:moveTo>
                    <a:pt x="0" y="4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29" name="Freeform 323"/>
            <p:cNvSpPr>
              <a:spLocks/>
            </p:cNvSpPr>
            <p:nvPr/>
          </p:nvSpPr>
          <p:spPr bwMode="gray">
            <a:xfrm>
              <a:off x="2929" y="1636"/>
              <a:ext cx="14" cy="10"/>
            </a:xfrm>
            <a:custGeom>
              <a:avLst/>
              <a:gdLst>
                <a:gd name="T0" fmla="*/ 2147483647 w 11"/>
                <a:gd name="T1" fmla="*/ 0 h 7"/>
                <a:gd name="T2" fmla="*/ 2147483647 w 11"/>
                <a:gd name="T3" fmla="*/ 2147483647 h 7"/>
                <a:gd name="T4" fmla="*/ 2147483647 w 11"/>
                <a:gd name="T5" fmla="*/ 2147483647 h 7"/>
                <a:gd name="T6" fmla="*/ 2147483647 w 11"/>
                <a:gd name="T7" fmla="*/ 2147483647 h 7"/>
                <a:gd name="T8" fmla="*/ 2147483647 w 11"/>
                <a:gd name="T9" fmla="*/ 2147483647 h 7"/>
                <a:gd name="T10" fmla="*/ 0 w 11"/>
                <a:gd name="T11" fmla="*/ 2147483647 h 7"/>
                <a:gd name="T12" fmla="*/ 2147483647 w 11"/>
                <a:gd name="T13" fmla="*/ 2147483647 h 7"/>
                <a:gd name="T14" fmla="*/ 2147483647 w 11"/>
                <a:gd name="T15" fmla="*/ 0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7" y="0"/>
                  </a:moveTo>
                  <a:lnTo>
                    <a:pt x="11" y="1"/>
                  </a:lnTo>
                  <a:lnTo>
                    <a:pt x="8" y="3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6"/>
                  </a:lnTo>
                  <a:lnTo>
                    <a:pt x="1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0" name="Freeform 324"/>
            <p:cNvSpPr>
              <a:spLocks/>
            </p:cNvSpPr>
            <p:nvPr/>
          </p:nvSpPr>
          <p:spPr bwMode="gray">
            <a:xfrm>
              <a:off x="2911" y="1641"/>
              <a:ext cx="14" cy="7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11" y="0"/>
                  </a:moveTo>
                  <a:lnTo>
                    <a:pt x="7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6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1" name="Freeform 325"/>
            <p:cNvSpPr>
              <a:spLocks/>
            </p:cNvSpPr>
            <p:nvPr/>
          </p:nvSpPr>
          <p:spPr bwMode="gray">
            <a:xfrm>
              <a:off x="2912" y="1651"/>
              <a:ext cx="15" cy="12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3" y="0"/>
                  </a:moveTo>
                  <a:lnTo>
                    <a:pt x="3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3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2" name="Freeform 326"/>
            <p:cNvSpPr>
              <a:spLocks/>
            </p:cNvSpPr>
            <p:nvPr/>
          </p:nvSpPr>
          <p:spPr bwMode="gray">
            <a:xfrm>
              <a:off x="2901" y="1651"/>
              <a:ext cx="9" cy="4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3" name="Freeform 327"/>
            <p:cNvSpPr>
              <a:spLocks/>
            </p:cNvSpPr>
            <p:nvPr/>
          </p:nvSpPr>
          <p:spPr bwMode="gray">
            <a:xfrm>
              <a:off x="2901" y="1659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1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4" name="Freeform 328"/>
            <p:cNvSpPr>
              <a:spLocks/>
            </p:cNvSpPr>
            <p:nvPr/>
          </p:nvSpPr>
          <p:spPr bwMode="gray">
            <a:xfrm>
              <a:off x="2884" y="1664"/>
              <a:ext cx="12" cy="8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4"/>
                  </a:lnTo>
                  <a:lnTo>
                    <a:pt x="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5" name="Freeform 329"/>
            <p:cNvSpPr>
              <a:spLocks/>
            </p:cNvSpPr>
            <p:nvPr/>
          </p:nvSpPr>
          <p:spPr bwMode="gray">
            <a:xfrm>
              <a:off x="2965" y="1879"/>
              <a:ext cx="5" cy="6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0 w 3"/>
                <a:gd name="T5" fmla="*/ 0 h 5"/>
                <a:gd name="T6" fmla="*/ 2147483647 w 3"/>
                <a:gd name="T7" fmla="*/ 0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5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6" name="Freeform 330"/>
            <p:cNvSpPr>
              <a:spLocks/>
            </p:cNvSpPr>
            <p:nvPr/>
          </p:nvSpPr>
          <p:spPr bwMode="gray">
            <a:xfrm>
              <a:off x="2847" y="2000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2"/>
                  </a:moveTo>
                  <a:lnTo>
                    <a:pt x="4" y="0"/>
                  </a:lnTo>
                  <a:lnTo>
                    <a:pt x="9" y="1"/>
                  </a:lnTo>
                  <a:lnTo>
                    <a:pt x="10" y="4"/>
                  </a:lnTo>
                  <a:lnTo>
                    <a:pt x="7" y="8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7" name="Freeform 331"/>
            <p:cNvSpPr>
              <a:spLocks/>
            </p:cNvSpPr>
            <p:nvPr/>
          </p:nvSpPr>
          <p:spPr bwMode="gray">
            <a:xfrm>
              <a:off x="2901" y="2031"/>
              <a:ext cx="5" cy="3"/>
            </a:xfrm>
            <a:custGeom>
              <a:avLst/>
              <a:gdLst>
                <a:gd name="T0" fmla="*/ 0 w 3"/>
                <a:gd name="T1" fmla="*/ 2147483646 h 3"/>
                <a:gd name="T2" fmla="*/ 2147483647 w 3"/>
                <a:gd name="T3" fmla="*/ 0 h 3"/>
                <a:gd name="T4" fmla="*/ 2147483647 w 3"/>
                <a:gd name="T5" fmla="*/ 2147483646 h 3"/>
                <a:gd name="T6" fmla="*/ 0 w 3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8" name="Freeform 332"/>
            <p:cNvSpPr>
              <a:spLocks/>
            </p:cNvSpPr>
            <p:nvPr/>
          </p:nvSpPr>
          <p:spPr bwMode="gray">
            <a:xfrm>
              <a:off x="2970" y="2008"/>
              <a:ext cx="35" cy="19"/>
            </a:xfrm>
            <a:custGeom>
              <a:avLst/>
              <a:gdLst>
                <a:gd name="T0" fmla="*/ 2147483647 w 27"/>
                <a:gd name="T1" fmla="*/ 2147483647 h 15"/>
                <a:gd name="T2" fmla="*/ 2147483647 w 27"/>
                <a:gd name="T3" fmla="*/ 2147483647 h 15"/>
                <a:gd name="T4" fmla="*/ 2147483647 w 27"/>
                <a:gd name="T5" fmla="*/ 2147483647 h 15"/>
                <a:gd name="T6" fmla="*/ 0 w 27"/>
                <a:gd name="T7" fmla="*/ 2147483647 h 15"/>
                <a:gd name="T8" fmla="*/ 2147483647 w 27"/>
                <a:gd name="T9" fmla="*/ 2147483647 h 15"/>
                <a:gd name="T10" fmla="*/ 0 w 27"/>
                <a:gd name="T11" fmla="*/ 2147483647 h 15"/>
                <a:gd name="T12" fmla="*/ 0 w 27"/>
                <a:gd name="T13" fmla="*/ 2147483647 h 15"/>
                <a:gd name="T14" fmla="*/ 2147483647 w 27"/>
                <a:gd name="T15" fmla="*/ 2147483647 h 15"/>
                <a:gd name="T16" fmla="*/ 2147483647 w 27"/>
                <a:gd name="T17" fmla="*/ 0 h 15"/>
                <a:gd name="T18" fmla="*/ 2147483647 w 27"/>
                <a:gd name="T19" fmla="*/ 2147483647 h 15"/>
                <a:gd name="T20" fmla="*/ 2147483647 w 27"/>
                <a:gd name="T21" fmla="*/ 2147483647 h 15"/>
                <a:gd name="T22" fmla="*/ 2147483647 w 27"/>
                <a:gd name="T23" fmla="*/ 2147483647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15"/>
                <a:gd name="T38" fmla="*/ 27 w 27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15">
                  <a:moveTo>
                    <a:pt x="27" y="14"/>
                  </a:moveTo>
                  <a:lnTo>
                    <a:pt x="13" y="15"/>
                  </a:lnTo>
                  <a:lnTo>
                    <a:pt x="5" y="13"/>
                  </a:lnTo>
                  <a:lnTo>
                    <a:pt x="0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39" name="Freeform 333"/>
            <p:cNvSpPr>
              <a:spLocks/>
            </p:cNvSpPr>
            <p:nvPr/>
          </p:nvSpPr>
          <p:spPr bwMode="gray">
            <a:xfrm>
              <a:off x="2901" y="2015"/>
              <a:ext cx="121" cy="122"/>
            </a:xfrm>
            <a:custGeom>
              <a:avLst/>
              <a:gdLst>
                <a:gd name="T0" fmla="*/ 0 w 93"/>
                <a:gd name="T1" fmla="*/ 2147483647 h 94"/>
                <a:gd name="T2" fmla="*/ 2147483647 w 93"/>
                <a:gd name="T3" fmla="*/ 2147483647 h 94"/>
                <a:gd name="T4" fmla="*/ 2147483647 w 93"/>
                <a:gd name="T5" fmla="*/ 2147483647 h 94"/>
                <a:gd name="T6" fmla="*/ 2147483647 w 93"/>
                <a:gd name="T7" fmla="*/ 2147483647 h 94"/>
                <a:gd name="T8" fmla="*/ 2147483647 w 93"/>
                <a:gd name="T9" fmla="*/ 2147483647 h 94"/>
                <a:gd name="T10" fmla="*/ 2147483647 w 93"/>
                <a:gd name="T11" fmla="*/ 0 h 94"/>
                <a:gd name="T12" fmla="*/ 2147483647 w 93"/>
                <a:gd name="T13" fmla="*/ 2147483647 h 94"/>
                <a:gd name="T14" fmla="*/ 2147483647 w 93"/>
                <a:gd name="T15" fmla="*/ 2147483647 h 94"/>
                <a:gd name="T16" fmla="*/ 2147483647 w 93"/>
                <a:gd name="T17" fmla="*/ 2147483647 h 94"/>
                <a:gd name="T18" fmla="*/ 2147483647 w 93"/>
                <a:gd name="T19" fmla="*/ 2147483647 h 94"/>
                <a:gd name="T20" fmla="*/ 2147483647 w 93"/>
                <a:gd name="T21" fmla="*/ 2147483647 h 94"/>
                <a:gd name="T22" fmla="*/ 2147483647 w 93"/>
                <a:gd name="T23" fmla="*/ 2147483647 h 94"/>
                <a:gd name="T24" fmla="*/ 2147483647 w 93"/>
                <a:gd name="T25" fmla="*/ 2147483647 h 94"/>
                <a:gd name="T26" fmla="*/ 2147483647 w 93"/>
                <a:gd name="T27" fmla="*/ 2147483647 h 94"/>
                <a:gd name="T28" fmla="*/ 2147483647 w 93"/>
                <a:gd name="T29" fmla="*/ 2147483647 h 94"/>
                <a:gd name="T30" fmla="*/ 2147483647 w 93"/>
                <a:gd name="T31" fmla="*/ 2147483647 h 94"/>
                <a:gd name="T32" fmla="*/ 2147483647 w 93"/>
                <a:gd name="T33" fmla="*/ 2147483647 h 94"/>
                <a:gd name="T34" fmla="*/ 2147483647 w 93"/>
                <a:gd name="T35" fmla="*/ 2147483647 h 94"/>
                <a:gd name="T36" fmla="*/ 2147483647 w 93"/>
                <a:gd name="T37" fmla="*/ 2147483647 h 94"/>
                <a:gd name="T38" fmla="*/ 2147483647 w 93"/>
                <a:gd name="T39" fmla="*/ 2147483647 h 94"/>
                <a:gd name="T40" fmla="*/ 2147483647 w 93"/>
                <a:gd name="T41" fmla="*/ 2147483647 h 94"/>
                <a:gd name="T42" fmla="*/ 2147483647 w 93"/>
                <a:gd name="T43" fmla="*/ 2147483647 h 94"/>
                <a:gd name="T44" fmla="*/ 2147483647 w 93"/>
                <a:gd name="T45" fmla="*/ 2147483647 h 94"/>
                <a:gd name="T46" fmla="*/ 2147483647 w 93"/>
                <a:gd name="T47" fmla="*/ 2147483647 h 94"/>
                <a:gd name="T48" fmla="*/ 2147483647 w 93"/>
                <a:gd name="T49" fmla="*/ 2147483647 h 94"/>
                <a:gd name="T50" fmla="*/ 2147483647 w 93"/>
                <a:gd name="T51" fmla="*/ 2147483647 h 94"/>
                <a:gd name="T52" fmla="*/ 2147483647 w 93"/>
                <a:gd name="T53" fmla="*/ 2147483647 h 94"/>
                <a:gd name="T54" fmla="*/ 2147483647 w 93"/>
                <a:gd name="T55" fmla="*/ 2147483647 h 94"/>
                <a:gd name="T56" fmla="*/ 2147483647 w 93"/>
                <a:gd name="T57" fmla="*/ 2147483647 h 94"/>
                <a:gd name="T58" fmla="*/ 2147483647 w 93"/>
                <a:gd name="T59" fmla="*/ 2147483647 h 94"/>
                <a:gd name="T60" fmla="*/ 2147483647 w 93"/>
                <a:gd name="T61" fmla="*/ 2147483647 h 94"/>
                <a:gd name="T62" fmla="*/ 2147483647 w 93"/>
                <a:gd name="T63" fmla="*/ 2147483647 h 94"/>
                <a:gd name="T64" fmla="*/ 2147483647 w 93"/>
                <a:gd name="T65" fmla="*/ 2147483647 h 94"/>
                <a:gd name="T66" fmla="*/ 0 w 93"/>
                <a:gd name="T67" fmla="*/ 2147483647 h 94"/>
                <a:gd name="T68" fmla="*/ 2147483647 w 93"/>
                <a:gd name="T69" fmla="*/ 2147483647 h 94"/>
                <a:gd name="T70" fmla="*/ 0 w 93"/>
                <a:gd name="T71" fmla="*/ 2147483647 h 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3"/>
                <a:gd name="T109" fmla="*/ 0 h 94"/>
                <a:gd name="T110" fmla="*/ 93 w 93"/>
                <a:gd name="T111" fmla="*/ 94 h 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3" h="94">
                  <a:moveTo>
                    <a:pt x="0" y="17"/>
                  </a:moveTo>
                  <a:lnTo>
                    <a:pt x="6" y="14"/>
                  </a:lnTo>
                  <a:lnTo>
                    <a:pt x="12" y="13"/>
                  </a:lnTo>
                  <a:lnTo>
                    <a:pt x="20" y="7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9" y="2"/>
                  </a:lnTo>
                  <a:lnTo>
                    <a:pt x="40" y="9"/>
                  </a:lnTo>
                  <a:lnTo>
                    <a:pt x="46" y="10"/>
                  </a:lnTo>
                  <a:lnTo>
                    <a:pt x="51" y="7"/>
                  </a:lnTo>
                  <a:lnTo>
                    <a:pt x="53" y="7"/>
                  </a:lnTo>
                  <a:lnTo>
                    <a:pt x="58" y="8"/>
                  </a:lnTo>
                  <a:lnTo>
                    <a:pt x="66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5" y="12"/>
                  </a:lnTo>
                  <a:lnTo>
                    <a:pt x="85" y="23"/>
                  </a:lnTo>
                  <a:lnTo>
                    <a:pt x="91" y="33"/>
                  </a:lnTo>
                  <a:lnTo>
                    <a:pt x="83" y="41"/>
                  </a:lnTo>
                  <a:lnTo>
                    <a:pt x="91" y="49"/>
                  </a:lnTo>
                  <a:lnTo>
                    <a:pt x="92" y="58"/>
                  </a:lnTo>
                  <a:lnTo>
                    <a:pt x="93" y="72"/>
                  </a:lnTo>
                  <a:lnTo>
                    <a:pt x="80" y="87"/>
                  </a:lnTo>
                  <a:lnTo>
                    <a:pt x="80" y="90"/>
                  </a:lnTo>
                  <a:lnTo>
                    <a:pt x="76" y="94"/>
                  </a:lnTo>
                  <a:lnTo>
                    <a:pt x="70" y="89"/>
                  </a:lnTo>
                  <a:lnTo>
                    <a:pt x="52" y="92"/>
                  </a:lnTo>
                  <a:lnTo>
                    <a:pt x="45" y="88"/>
                  </a:lnTo>
                  <a:lnTo>
                    <a:pt x="40" y="88"/>
                  </a:lnTo>
                  <a:lnTo>
                    <a:pt x="26" y="74"/>
                  </a:lnTo>
                  <a:lnTo>
                    <a:pt x="19" y="76"/>
                  </a:lnTo>
                  <a:lnTo>
                    <a:pt x="13" y="65"/>
                  </a:lnTo>
                  <a:lnTo>
                    <a:pt x="8" y="63"/>
                  </a:lnTo>
                  <a:lnTo>
                    <a:pt x="0" y="37"/>
                  </a:lnTo>
                  <a:lnTo>
                    <a:pt x="2" y="2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0" name="Freeform 334"/>
            <p:cNvSpPr>
              <a:spLocks/>
            </p:cNvSpPr>
            <p:nvPr/>
          </p:nvSpPr>
          <p:spPr bwMode="gray">
            <a:xfrm>
              <a:off x="2937" y="2129"/>
              <a:ext cx="63" cy="30"/>
            </a:xfrm>
            <a:custGeom>
              <a:avLst/>
              <a:gdLst>
                <a:gd name="T0" fmla="*/ 2147483647 w 48"/>
                <a:gd name="T1" fmla="*/ 2147483647 h 23"/>
                <a:gd name="T2" fmla="*/ 2147483647 w 48"/>
                <a:gd name="T3" fmla="*/ 2147483647 h 23"/>
                <a:gd name="T4" fmla="*/ 2147483647 w 48"/>
                <a:gd name="T5" fmla="*/ 2147483647 h 23"/>
                <a:gd name="T6" fmla="*/ 2147483647 w 48"/>
                <a:gd name="T7" fmla="*/ 2147483647 h 23"/>
                <a:gd name="T8" fmla="*/ 2147483647 w 48"/>
                <a:gd name="T9" fmla="*/ 2147483647 h 23"/>
                <a:gd name="T10" fmla="*/ 2147483647 w 48"/>
                <a:gd name="T11" fmla="*/ 2147483647 h 23"/>
                <a:gd name="T12" fmla="*/ 2147483647 w 48"/>
                <a:gd name="T13" fmla="*/ 2147483647 h 23"/>
                <a:gd name="T14" fmla="*/ 2147483647 w 48"/>
                <a:gd name="T15" fmla="*/ 2147483647 h 23"/>
                <a:gd name="T16" fmla="*/ 2147483647 w 48"/>
                <a:gd name="T17" fmla="*/ 2147483647 h 23"/>
                <a:gd name="T18" fmla="*/ 0 w 48"/>
                <a:gd name="T19" fmla="*/ 2147483647 h 23"/>
                <a:gd name="T20" fmla="*/ 2147483647 w 48"/>
                <a:gd name="T21" fmla="*/ 2147483647 h 23"/>
                <a:gd name="T22" fmla="*/ 2147483647 w 48"/>
                <a:gd name="T23" fmla="*/ 2147483647 h 23"/>
                <a:gd name="T24" fmla="*/ 2147483647 w 48"/>
                <a:gd name="T25" fmla="*/ 2147483647 h 23"/>
                <a:gd name="T26" fmla="*/ 2147483647 w 48"/>
                <a:gd name="T27" fmla="*/ 2147483647 h 23"/>
                <a:gd name="T28" fmla="*/ 2147483647 w 48"/>
                <a:gd name="T29" fmla="*/ 0 h 23"/>
                <a:gd name="T30" fmla="*/ 2147483647 w 48"/>
                <a:gd name="T31" fmla="*/ 2147483647 h 23"/>
                <a:gd name="T32" fmla="*/ 2147483647 w 48"/>
                <a:gd name="T33" fmla="*/ 2147483647 h 23"/>
                <a:gd name="T34" fmla="*/ 2147483647 w 48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8"/>
                <a:gd name="T55" fmla="*/ 0 h 23"/>
                <a:gd name="T56" fmla="*/ 48 w 48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8" h="23">
                  <a:moveTo>
                    <a:pt x="48" y="6"/>
                  </a:moveTo>
                  <a:lnTo>
                    <a:pt x="46" y="15"/>
                  </a:lnTo>
                  <a:lnTo>
                    <a:pt x="43" y="16"/>
                  </a:lnTo>
                  <a:lnTo>
                    <a:pt x="38" y="13"/>
                  </a:lnTo>
                  <a:lnTo>
                    <a:pt x="27" y="14"/>
                  </a:lnTo>
                  <a:lnTo>
                    <a:pt x="23" y="21"/>
                  </a:lnTo>
                  <a:lnTo>
                    <a:pt x="16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6" y="11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7" y="0"/>
                  </a:lnTo>
                  <a:lnTo>
                    <a:pt x="24" y="4"/>
                  </a:lnTo>
                  <a:lnTo>
                    <a:pt x="42" y="1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1" name="Freeform 335"/>
            <p:cNvSpPr>
              <a:spLocks/>
            </p:cNvSpPr>
            <p:nvPr/>
          </p:nvSpPr>
          <p:spPr bwMode="gray">
            <a:xfrm>
              <a:off x="2925" y="2147"/>
              <a:ext cx="82" cy="55"/>
            </a:xfrm>
            <a:custGeom>
              <a:avLst/>
              <a:gdLst>
                <a:gd name="T0" fmla="*/ 2147483647 w 63"/>
                <a:gd name="T1" fmla="*/ 2147483647 h 43"/>
                <a:gd name="T2" fmla="*/ 2147483647 w 63"/>
                <a:gd name="T3" fmla="*/ 2147483647 h 43"/>
                <a:gd name="T4" fmla="*/ 2147483647 w 63"/>
                <a:gd name="T5" fmla="*/ 2147483647 h 43"/>
                <a:gd name="T6" fmla="*/ 2147483647 w 63"/>
                <a:gd name="T7" fmla="*/ 2147483647 h 43"/>
                <a:gd name="T8" fmla="*/ 2147483647 w 63"/>
                <a:gd name="T9" fmla="*/ 2147483647 h 43"/>
                <a:gd name="T10" fmla="*/ 2147483647 w 63"/>
                <a:gd name="T11" fmla="*/ 2147483647 h 43"/>
                <a:gd name="T12" fmla="*/ 2147483647 w 63"/>
                <a:gd name="T13" fmla="*/ 2147483647 h 43"/>
                <a:gd name="T14" fmla="*/ 2147483647 w 63"/>
                <a:gd name="T15" fmla="*/ 2147483647 h 43"/>
                <a:gd name="T16" fmla="*/ 2147483647 w 63"/>
                <a:gd name="T17" fmla="*/ 2147483647 h 43"/>
                <a:gd name="T18" fmla="*/ 2147483647 w 63"/>
                <a:gd name="T19" fmla="*/ 2147483647 h 43"/>
                <a:gd name="T20" fmla="*/ 2147483647 w 63"/>
                <a:gd name="T21" fmla="*/ 2147483647 h 43"/>
                <a:gd name="T22" fmla="*/ 2147483647 w 63"/>
                <a:gd name="T23" fmla="*/ 2147483647 h 43"/>
                <a:gd name="T24" fmla="*/ 0 w 63"/>
                <a:gd name="T25" fmla="*/ 2147483647 h 43"/>
                <a:gd name="T26" fmla="*/ 2147483647 w 63"/>
                <a:gd name="T27" fmla="*/ 2147483647 h 43"/>
                <a:gd name="T28" fmla="*/ 2147483647 w 63"/>
                <a:gd name="T29" fmla="*/ 2147483647 h 43"/>
                <a:gd name="T30" fmla="*/ 2147483647 w 63"/>
                <a:gd name="T31" fmla="*/ 2147483647 h 43"/>
                <a:gd name="T32" fmla="*/ 2147483647 w 63"/>
                <a:gd name="T33" fmla="*/ 2147483647 h 43"/>
                <a:gd name="T34" fmla="*/ 2147483647 w 63"/>
                <a:gd name="T35" fmla="*/ 2147483647 h 43"/>
                <a:gd name="T36" fmla="*/ 2147483647 w 63"/>
                <a:gd name="T37" fmla="*/ 2147483647 h 43"/>
                <a:gd name="T38" fmla="*/ 2147483647 w 63"/>
                <a:gd name="T39" fmla="*/ 2147483647 h 43"/>
                <a:gd name="T40" fmla="*/ 2147483647 w 63"/>
                <a:gd name="T41" fmla="*/ 2147483647 h 43"/>
                <a:gd name="T42" fmla="*/ 2147483647 w 63"/>
                <a:gd name="T43" fmla="*/ 2147483647 h 43"/>
                <a:gd name="T44" fmla="*/ 2147483647 w 63"/>
                <a:gd name="T45" fmla="*/ 2147483647 h 43"/>
                <a:gd name="T46" fmla="*/ 2147483647 w 63"/>
                <a:gd name="T47" fmla="*/ 0 h 43"/>
                <a:gd name="T48" fmla="*/ 2147483647 w 63"/>
                <a:gd name="T49" fmla="*/ 2147483647 h 43"/>
                <a:gd name="T50" fmla="*/ 2147483647 w 63"/>
                <a:gd name="T51" fmla="*/ 2147483647 h 4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43"/>
                <a:gd name="T80" fmla="*/ 63 w 63"/>
                <a:gd name="T81" fmla="*/ 43 h 4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43">
                  <a:moveTo>
                    <a:pt x="55" y="2"/>
                  </a:moveTo>
                  <a:lnTo>
                    <a:pt x="63" y="9"/>
                  </a:lnTo>
                  <a:lnTo>
                    <a:pt x="55" y="14"/>
                  </a:lnTo>
                  <a:lnTo>
                    <a:pt x="48" y="23"/>
                  </a:lnTo>
                  <a:lnTo>
                    <a:pt x="46" y="35"/>
                  </a:lnTo>
                  <a:lnTo>
                    <a:pt x="38" y="37"/>
                  </a:lnTo>
                  <a:lnTo>
                    <a:pt x="36" y="36"/>
                  </a:lnTo>
                  <a:lnTo>
                    <a:pt x="25" y="40"/>
                  </a:lnTo>
                  <a:lnTo>
                    <a:pt x="24" y="43"/>
                  </a:lnTo>
                  <a:lnTo>
                    <a:pt x="11" y="41"/>
                  </a:lnTo>
                  <a:lnTo>
                    <a:pt x="7" y="32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4"/>
                  </a:lnTo>
                  <a:lnTo>
                    <a:pt x="5" y="7"/>
                  </a:lnTo>
                  <a:lnTo>
                    <a:pt x="9" y="8"/>
                  </a:lnTo>
                  <a:lnTo>
                    <a:pt x="13" y="8"/>
                  </a:lnTo>
                  <a:lnTo>
                    <a:pt x="16" y="10"/>
                  </a:lnTo>
                  <a:lnTo>
                    <a:pt x="25" y="10"/>
                  </a:lnTo>
                  <a:lnTo>
                    <a:pt x="32" y="8"/>
                  </a:lnTo>
                  <a:lnTo>
                    <a:pt x="36" y="1"/>
                  </a:lnTo>
                  <a:lnTo>
                    <a:pt x="47" y="0"/>
                  </a:lnTo>
                  <a:lnTo>
                    <a:pt x="52" y="3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2" name="Freeform 336"/>
            <p:cNvSpPr>
              <a:spLocks/>
            </p:cNvSpPr>
            <p:nvPr/>
          </p:nvSpPr>
          <p:spPr bwMode="gray">
            <a:xfrm>
              <a:off x="2877" y="2097"/>
              <a:ext cx="82" cy="60"/>
            </a:xfrm>
            <a:custGeom>
              <a:avLst/>
              <a:gdLst>
                <a:gd name="T0" fmla="*/ 2147483647 w 63"/>
                <a:gd name="T1" fmla="*/ 2147483647 h 46"/>
                <a:gd name="T2" fmla="*/ 2147483647 w 63"/>
                <a:gd name="T3" fmla="*/ 2147483647 h 46"/>
                <a:gd name="T4" fmla="*/ 2147483647 w 63"/>
                <a:gd name="T5" fmla="*/ 2147483647 h 46"/>
                <a:gd name="T6" fmla="*/ 2147483647 w 63"/>
                <a:gd name="T7" fmla="*/ 2147483647 h 46"/>
                <a:gd name="T8" fmla="*/ 2147483647 w 63"/>
                <a:gd name="T9" fmla="*/ 2147483647 h 46"/>
                <a:gd name="T10" fmla="*/ 2147483647 w 63"/>
                <a:gd name="T11" fmla="*/ 2147483647 h 46"/>
                <a:gd name="T12" fmla="*/ 2147483647 w 63"/>
                <a:gd name="T13" fmla="*/ 2147483647 h 46"/>
                <a:gd name="T14" fmla="*/ 0 w 63"/>
                <a:gd name="T15" fmla="*/ 2147483647 h 46"/>
                <a:gd name="T16" fmla="*/ 2147483647 w 63"/>
                <a:gd name="T17" fmla="*/ 2147483647 h 46"/>
                <a:gd name="T18" fmla="*/ 2147483647 w 63"/>
                <a:gd name="T19" fmla="*/ 2147483647 h 46"/>
                <a:gd name="T20" fmla="*/ 2147483647 w 63"/>
                <a:gd name="T21" fmla="*/ 0 h 46"/>
                <a:gd name="T22" fmla="*/ 2147483647 w 63"/>
                <a:gd name="T23" fmla="*/ 2147483647 h 46"/>
                <a:gd name="T24" fmla="*/ 2147483647 w 63"/>
                <a:gd name="T25" fmla="*/ 2147483647 h 46"/>
                <a:gd name="T26" fmla="*/ 2147483647 w 63"/>
                <a:gd name="T27" fmla="*/ 2147483647 h 46"/>
                <a:gd name="T28" fmla="*/ 2147483647 w 63"/>
                <a:gd name="T29" fmla="*/ 2147483647 h 46"/>
                <a:gd name="T30" fmla="*/ 2147483647 w 63"/>
                <a:gd name="T31" fmla="*/ 2147483647 h 46"/>
                <a:gd name="T32" fmla="*/ 2147483647 w 63"/>
                <a:gd name="T33" fmla="*/ 2147483647 h 46"/>
                <a:gd name="T34" fmla="*/ 2147483647 w 63"/>
                <a:gd name="T35" fmla="*/ 2147483647 h 46"/>
                <a:gd name="T36" fmla="*/ 2147483647 w 63"/>
                <a:gd name="T37" fmla="*/ 2147483647 h 46"/>
                <a:gd name="T38" fmla="*/ 2147483647 w 63"/>
                <a:gd name="T39" fmla="*/ 2147483647 h 46"/>
                <a:gd name="T40" fmla="*/ 2147483647 w 63"/>
                <a:gd name="T41" fmla="*/ 2147483647 h 4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3"/>
                <a:gd name="T64" fmla="*/ 0 h 46"/>
                <a:gd name="T65" fmla="*/ 63 w 63"/>
                <a:gd name="T66" fmla="*/ 46 h 4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3" h="46">
                  <a:moveTo>
                    <a:pt x="46" y="46"/>
                  </a:moveTo>
                  <a:lnTo>
                    <a:pt x="42" y="45"/>
                  </a:lnTo>
                  <a:lnTo>
                    <a:pt x="39" y="45"/>
                  </a:lnTo>
                  <a:lnTo>
                    <a:pt x="37" y="39"/>
                  </a:lnTo>
                  <a:lnTo>
                    <a:pt x="28" y="35"/>
                  </a:lnTo>
                  <a:lnTo>
                    <a:pt x="15" y="37"/>
                  </a:lnTo>
                  <a:lnTo>
                    <a:pt x="2" y="26"/>
                  </a:lnTo>
                  <a:lnTo>
                    <a:pt x="0" y="15"/>
                  </a:lnTo>
                  <a:lnTo>
                    <a:pt x="14" y="6"/>
                  </a:lnTo>
                  <a:lnTo>
                    <a:pt x="17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7" y="13"/>
                  </a:lnTo>
                  <a:lnTo>
                    <a:pt x="44" y="11"/>
                  </a:lnTo>
                  <a:lnTo>
                    <a:pt x="58" y="25"/>
                  </a:lnTo>
                  <a:lnTo>
                    <a:pt x="63" y="25"/>
                  </a:lnTo>
                  <a:lnTo>
                    <a:pt x="61" y="31"/>
                  </a:lnTo>
                  <a:lnTo>
                    <a:pt x="55" y="31"/>
                  </a:lnTo>
                  <a:lnTo>
                    <a:pt x="52" y="36"/>
                  </a:lnTo>
                  <a:lnTo>
                    <a:pt x="47" y="41"/>
                  </a:lnTo>
                  <a:lnTo>
                    <a:pt x="46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3" name="Freeform 337"/>
            <p:cNvSpPr>
              <a:spLocks/>
            </p:cNvSpPr>
            <p:nvPr/>
          </p:nvSpPr>
          <p:spPr bwMode="gray">
            <a:xfrm>
              <a:off x="2894" y="2181"/>
              <a:ext cx="33" cy="24"/>
            </a:xfrm>
            <a:custGeom>
              <a:avLst/>
              <a:gdLst>
                <a:gd name="T0" fmla="*/ 2147483647 w 26"/>
                <a:gd name="T1" fmla="*/ 0 h 18"/>
                <a:gd name="T2" fmla="*/ 2147483647 w 26"/>
                <a:gd name="T3" fmla="*/ 2147483647 h 18"/>
                <a:gd name="T4" fmla="*/ 2147483647 w 26"/>
                <a:gd name="T5" fmla="*/ 2147483647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2147483647 w 26"/>
                <a:gd name="T11" fmla="*/ 2147483647 h 18"/>
                <a:gd name="T12" fmla="*/ 2147483647 w 26"/>
                <a:gd name="T13" fmla="*/ 2147483647 h 18"/>
                <a:gd name="T14" fmla="*/ 0 w 26"/>
                <a:gd name="T15" fmla="*/ 2147483647 h 18"/>
                <a:gd name="T16" fmla="*/ 0 w 26"/>
                <a:gd name="T17" fmla="*/ 2147483647 h 18"/>
                <a:gd name="T18" fmla="*/ 2147483647 w 26"/>
                <a:gd name="T19" fmla="*/ 2147483647 h 18"/>
                <a:gd name="T20" fmla="*/ 2147483647 w 26"/>
                <a:gd name="T21" fmla="*/ 2147483647 h 18"/>
                <a:gd name="T22" fmla="*/ 2147483647 w 26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8"/>
                <a:gd name="T38" fmla="*/ 26 w 26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8">
                  <a:moveTo>
                    <a:pt x="24" y="0"/>
                  </a:moveTo>
                  <a:lnTo>
                    <a:pt x="26" y="4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18" y="17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6"/>
                  </a:lnTo>
                  <a:lnTo>
                    <a:pt x="7" y="9"/>
                  </a:lnTo>
                  <a:lnTo>
                    <a:pt x="16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4" name="Freeform 338"/>
            <p:cNvSpPr>
              <a:spLocks/>
            </p:cNvSpPr>
            <p:nvPr/>
          </p:nvSpPr>
          <p:spPr bwMode="gray">
            <a:xfrm>
              <a:off x="2949" y="1944"/>
              <a:ext cx="7" cy="14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2147483647 h 11"/>
                <a:gd name="T6" fmla="*/ 0 w 6"/>
                <a:gd name="T7" fmla="*/ 2147483647 h 11"/>
                <a:gd name="T8" fmla="*/ 2147483647 w 6"/>
                <a:gd name="T9" fmla="*/ 0 h 11"/>
                <a:gd name="T10" fmla="*/ 2147483647 w 6"/>
                <a:gd name="T11" fmla="*/ 2147483647 h 11"/>
                <a:gd name="T12" fmla="*/ 2147483647 w 6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6" y="9"/>
                  </a:moveTo>
                  <a:lnTo>
                    <a:pt x="2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5" name="Freeform 339"/>
            <p:cNvSpPr>
              <a:spLocks/>
            </p:cNvSpPr>
            <p:nvPr/>
          </p:nvSpPr>
          <p:spPr bwMode="gray">
            <a:xfrm>
              <a:off x="2925" y="1965"/>
              <a:ext cx="8" cy="17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2147483647 w 6"/>
                <a:gd name="T7" fmla="*/ 2147483647 h 13"/>
                <a:gd name="T8" fmla="*/ 0 w 6"/>
                <a:gd name="T9" fmla="*/ 2147483647 h 13"/>
                <a:gd name="T10" fmla="*/ 2147483647 w 6"/>
                <a:gd name="T11" fmla="*/ 2147483647 h 13"/>
                <a:gd name="T12" fmla="*/ 2147483647 w 6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3"/>
                <a:gd name="T23" fmla="*/ 6 w 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3">
                  <a:moveTo>
                    <a:pt x="3" y="5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6" name="Freeform 340"/>
            <p:cNvSpPr>
              <a:spLocks/>
            </p:cNvSpPr>
            <p:nvPr/>
          </p:nvSpPr>
          <p:spPr bwMode="gray">
            <a:xfrm>
              <a:off x="2930" y="1965"/>
              <a:ext cx="2" cy="2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7" name="Freeform 341"/>
            <p:cNvSpPr>
              <a:spLocks/>
            </p:cNvSpPr>
            <p:nvPr/>
          </p:nvSpPr>
          <p:spPr bwMode="gray">
            <a:xfrm>
              <a:off x="2861" y="1991"/>
              <a:ext cx="19" cy="21"/>
            </a:xfrm>
            <a:custGeom>
              <a:avLst/>
              <a:gdLst>
                <a:gd name="T0" fmla="*/ 2147483647 w 14"/>
                <a:gd name="T1" fmla="*/ 2147483647 h 16"/>
                <a:gd name="T2" fmla="*/ 0 w 14"/>
                <a:gd name="T3" fmla="*/ 2147483647 h 16"/>
                <a:gd name="T4" fmla="*/ 0 w 14"/>
                <a:gd name="T5" fmla="*/ 2147483647 h 16"/>
                <a:gd name="T6" fmla="*/ 2147483647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2147483647 h 16"/>
                <a:gd name="T12" fmla="*/ 2147483647 w 14"/>
                <a:gd name="T13" fmla="*/ 2147483647 h 16"/>
                <a:gd name="T14" fmla="*/ 2147483647 w 14"/>
                <a:gd name="T15" fmla="*/ 2147483647 h 16"/>
                <a:gd name="T16" fmla="*/ 2147483647 w 14"/>
                <a:gd name="T17" fmla="*/ 2147483647 h 16"/>
                <a:gd name="T18" fmla="*/ 2147483647 w 14"/>
                <a:gd name="T19" fmla="*/ 2147483647 h 16"/>
                <a:gd name="T20" fmla="*/ 2147483647 w 14"/>
                <a:gd name="T21" fmla="*/ 2147483647 h 16"/>
                <a:gd name="T22" fmla="*/ 2147483647 w 14"/>
                <a:gd name="T23" fmla="*/ 0 h 16"/>
                <a:gd name="T24" fmla="*/ 2147483647 w 14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16"/>
                <a:gd name="T41" fmla="*/ 14 w 14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16">
                  <a:moveTo>
                    <a:pt x="5" y="3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4" y="10"/>
                  </a:lnTo>
                  <a:lnTo>
                    <a:pt x="12" y="6"/>
                  </a:lnTo>
                  <a:lnTo>
                    <a:pt x="13" y="2"/>
                  </a:lnTo>
                  <a:lnTo>
                    <a:pt x="9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8" name="Freeform 342"/>
            <p:cNvSpPr>
              <a:spLocks/>
            </p:cNvSpPr>
            <p:nvPr/>
          </p:nvSpPr>
          <p:spPr bwMode="gray">
            <a:xfrm>
              <a:off x="2875" y="2012"/>
              <a:ext cx="7" cy="5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0 h 4"/>
                <a:gd name="T6" fmla="*/ 2147483647 w 6"/>
                <a:gd name="T7" fmla="*/ 2147483647 h 4"/>
                <a:gd name="T8" fmla="*/ 2147483647 w 6"/>
                <a:gd name="T9" fmla="*/ 2147483647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3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49" name="Freeform 343"/>
            <p:cNvSpPr>
              <a:spLocks/>
            </p:cNvSpPr>
            <p:nvPr/>
          </p:nvSpPr>
          <p:spPr bwMode="gray">
            <a:xfrm>
              <a:off x="2863" y="2013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2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0" name="Freeform 344"/>
            <p:cNvSpPr>
              <a:spLocks/>
            </p:cNvSpPr>
            <p:nvPr/>
          </p:nvSpPr>
          <p:spPr bwMode="gray">
            <a:xfrm>
              <a:off x="2843" y="2142"/>
              <a:ext cx="90" cy="51"/>
            </a:xfrm>
            <a:custGeom>
              <a:avLst/>
              <a:gdLst>
                <a:gd name="T0" fmla="*/ 2147483647 w 69"/>
                <a:gd name="T1" fmla="*/ 2147483647 h 39"/>
                <a:gd name="T2" fmla="*/ 2147483647 w 69"/>
                <a:gd name="T3" fmla="*/ 2147483647 h 39"/>
                <a:gd name="T4" fmla="*/ 2147483647 w 69"/>
                <a:gd name="T5" fmla="*/ 2147483647 h 39"/>
                <a:gd name="T6" fmla="*/ 2147483647 w 69"/>
                <a:gd name="T7" fmla="*/ 2147483647 h 39"/>
                <a:gd name="T8" fmla="*/ 2147483647 w 69"/>
                <a:gd name="T9" fmla="*/ 2147483647 h 39"/>
                <a:gd name="T10" fmla="*/ 2147483647 w 69"/>
                <a:gd name="T11" fmla="*/ 2147483647 h 39"/>
                <a:gd name="T12" fmla="*/ 2147483647 w 69"/>
                <a:gd name="T13" fmla="*/ 2147483647 h 39"/>
                <a:gd name="T14" fmla="*/ 2147483647 w 69"/>
                <a:gd name="T15" fmla="*/ 2147483647 h 39"/>
                <a:gd name="T16" fmla="*/ 2147483647 w 69"/>
                <a:gd name="T17" fmla="*/ 2147483647 h 39"/>
                <a:gd name="T18" fmla="*/ 2147483647 w 69"/>
                <a:gd name="T19" fmla="*/ 2147483647 h 39"/>
                <a:gd name="T20" fmla="*/ 2147483647 w 69"/>
                <a:gd name="T21" fmla="*/ 2147483647 h 39"/>
                <a:gd name="T22" fmla="*/ 0 w 69"/>
                <a:gd name="T23" fmla="*/ 2147483647 h 39"/>
                <a:gd name="T24" fmla="*/ 2147483647 w 69"/>
                <a:gd name="T25" fmla="*/ 2147483647 h 39"/>
                <a:gd name="T26" fmla="*/ 2147483647 w 69"/>
                <a:gd name="T27" fmla="*/ 2147483647 h 39"/>
                <a:gd name="T28" fmla="*/ 2147483647 w 69"/>
                <a:gd name="T29" fmla="*/ 2147483647 h 39"/>
                <a:gd name="T30" fmla="*/ 2147483647 w 69"/>
                <a:gd name="T31" fmla="*/ 2147483647 h 39"/>
                <a:gd name="T32" fmla="*/ 2147483647 w 69"/>
                <a:gd name="T33" fmla="*/ 2147483647 h 39"/>
                <a:gd name="T34" fmla="*/ 2147483647 w 69"/>
                <a:gd name="T35" fmla="*/ 2147483647 h 39"/>
                <a:gd name="T36" fmla="*/ 2147483647 w 69"/>
                <a:gd name="T37" fmla="*/ 2147483647 h 39"/>
                <a:gd name="T38" fmla="*/ 2147483647 w 69"/>
                <a:gd name="T39" fmla="*/ 2147483647 h 39"/>
                <a:gd name="T40" fmla="*/ 2147483647 w 69"/>
                <a:gd name="T41" fmla="*/ 2147483647 h 39"/>
                <a:gd name="T42" fmla="*/ 2147483647 w 69"/>
                <a:gd name="T43" fmla="*/ 2147483647 h 39"/>
                <a:gd name="T44" fmla="*/ 2147483647 w 69"/>
                <a:gd name="T45" fmla="*/ 0 h 39"/>
                <a:gd name="T46" fmla="*/ 2147483647 w 69"/>
                <a:gd name="T47" fmla="*/ 2147483647 h 39"/>
                <a:gd name="T48" fmla="*/ 2147483647 w 69"/>
                <a:gd name="T49" fmla="*/ 2147483647 h 39"/>
                <a:gd name="T50" fmla="*/ 2147483647 w 69"/>
                <a:gd name="T51" fmla="*/ 2147483647 h 39"/>
                <a:gd name="T52" fmla="*/ 2147483647 w 69"/>
                <a:gd name="T53" fmla="*/ 2147483647 h 39"/>
                <a:gd name="T54" fmla="*/ 2147483647 w 69"/>
                <a:gd name="T55" fmla="*/ 2147483647 h 39"/>
                <a:gd name="T56" fmla="*/ 2147483647 w 69"/>
                <a:gd name="T57" fmla="*/ 2147483647 h 39"/>
                <a:gd name="T58" fmla="*/ 2147483647 w 69"/>
                <a:gd name="T59" fmla="*/ 2147483647 h 3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"/>
                <a:gd name="T91" fmla="*/ 0 h 39"/>
                <a:gd name="T92" fmla="*/ 69 w 69"/>
                <a:gd name="T93" fmla="*/ 39 h 3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" h="39">
                  <a:moveTo>
                    <a:pt x="63" y="30"/>
                  </a:moveTo>
                  <a:lnTo>
                    <a:pt x="55" y="32"/>
                  </a:lnTo>
                  <a:lnTo>
                    <a:pt x="46" y="39"/>
                  </a:lnTo>
                  <a:lnTo>
                    <a:pt x="39" y="36"/>
                  </a:lnTo>
                  <a:lnTo>
                    <a:pt x="31" y="33"/>
                  </a:lnTo>
                  <a:lnTo>
                    <a:pt x="27" y="33"/>
                  </a:lnTo>
                  <a:lnTo>
                    <a:pt x="25" y="31"/>
                  </a:lnTo>
                  <a:lnTo>
                    <a:pt x="20" y="31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2" y="31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3" y="24"/>
                  </a:lnTo>
                  <a:lnTo>
                    <a:pt x="11" y="25"/>
                  </a:lnTo>
                  <a:lnTo>
                    <a:pt x="21" y="23"/>
                  </a:lnTo>
                  <a:lnTo>
                    <a:pt x="27" y="19"/>
                  </a:lnTo>
                  <a:lnTo>
                    <a:pt x="33" y="21"/>
                  </a:lnTo>
                  <a:lnTo>
                    <a:pt x="36" y="17"/>
                  </a:lnTo>
                  <a:lnTo>
                    <a:pt x="35" y="11"/>
                  </a:lnTo>
                  <a:lnTo>
                    <a:pt x="40" y="6"/>
                  </a:lnTo>
                  <a:lnTo>
                    <a:pt x="41" y="2"/>
                  </a:lnTo>
                  <a:lnTo>
                    <a:pt x="54" y="0"/>
                  </a:lnTo>
                  <a:lnTo>
                    <a:pt x="63" y="4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9" y="17"/>
                  </a:lnTo>
                  <a:lnTo>
                    <a:pt x="65" y="20"/>
                  </a:lnTo>
                  <a:lnTo>
                    <a:pt x="65" y="26"/>
                  </a:lnTo>
                  <a:lnTo>
                    <a:pt x="63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1" name="Freeform 345"/>
            <p:cNvSpPr>
              <a:spLocks/>
            </p:cNvSpPr>
            <p:nvPr/>
          </p:nvSpPr>
          <p:spPr bwMode="gray">
            <a:xfrm>
              <a:off x="2799" y="2166"/>
              <a:ext cx="55" cy="38"/>
            </a:xfrm>
            <a:custGeom>
              <a:avLst/>
              <a:gdLst>
                <a:gd name="T0" fmla="*/ 2147483647 w 42"/>
                <a:gd name="T1" fmla="*/ 2147483647 h 29"/>
                <a:gd name="T2" fmla="*/ 2147483647 w 42"/>
                <a:gd name="T3" fmla="*/ 2147483647 h 29"/>
                <a:gd name="T4" fmla="*/ 2147483647 w 42"/>
                <a:gd name="T5" fmla="*/ 2147483647 h 29"/>
                <a:gd name="T6" fmla="*/ 2147483647 w 42"/>
                <a:gd name="T7" fmla="*/ 2147483647 h 29"/>
                <a:gd name="T8" fmla="*/ 0 w 42"/>
                <a:gd name="T9" fmla="*/ 2147483647 h 29"/>
                <a:gd name="T10" fmla="*/ 2147483647 w 42"/>
                <a:gd name="T11" fmla="*/ 2147483647 h 29"/>
                <a:gd name="T12" fmla="*/ 2147483647 w 42"/>
                <a:gd name="T13" fmla="*/ 2147483647 h 29"/>
                <a:gd name="T14" fmla="*/ 2147483647 w 42"/>
                <a:gd name="T15" fmla="*/ 2147483647 h 29"/>
                <a:gd name="T16" fmla="*/ 2147483647 w 42"/>
                <a:gd name="T17" fmla="*/ 2147483647 h 29"/>
                <a:gd name="T18" fmla="*/ 2147483647 w 42"/>
                <a:gd name="T19" fmla="*/ 2147483647 h 29"/>
                <a:gd name="T20" fmla="*/ 2147483647 w 42"/>
                <a:gd name="T21" fmla="*/ 2147483647 h 29"/>
                <a:gd name="T22" fmla="*/ 2147483647 w 42"/>
                <a:gd name="T23" fmla="*/ 2147483647 h 29"/>
                <a:gd name="T24" fmla="*/ 2147483647 w 42"/>
                <a:gd name="T25" fmla="*/ 0 h 29"/>
                <a:gd name="T26" fmla="*/ 2147483647 w 42"/>
                <a:gd name="T27" fmla="*/ 2147483647 h 29"/>
                <a:gd name="T28" fmla="*/ 2147483647 w 42"/>
                <a:gd name="T29" fmla="*/ 2147483647 h 29"/>
                <a:gd name="T30" fmla="*/ 2147483647 w 42"/>
                <a:gd name="T31" fmla="*/ 2147483647 h 29"/>
                <a:gd name="T32" fmla="*/ 2147483647 w 42"/>
                <a:gd name="T33" fmla="*/ 2147483647 h 29"/>
                <a:gd name="T34" fmla="*/ 2147483647 w 42"/>
                <a:gd name="T35" fmla="*/ 2147483647 h 29"/>
                <a:gd name="T36" fmla="*/ 2147483647 w 42"/>
                <a:gd name="T37" fmla="*/ 2147483647 h 29"/>
                <a:gd name="T38" fmla="*/ 2147483647 w 42"/>
                <a:gd name="T39" fmla="*/ 2147483647 h 29"/>
                <a:gd name="T40" fmla="*/ 2147483647 w 42"/>
                <a:gd name="T41" fmla="*/ 2147483647 h 29"/>
                <a:gd name="T42" fmla="*/ 2147483647 w 42"/>
                <a:gd name="T43" fmla="*/ 2147483647 h 29"/>
                <a:gd name="T44" fmla="*/ 2147483647 w 42"/>
                <a:gd name="T45" fmla="*/ 2147483647 h 29"/>
                <a:gd name="T46" fmla="*/ 2147483647 w 42"/>
                <a:gd name="T47" fmla="*/ 2147483647 h 29"/>
                <a:gd name="T48" fmla="*/ 2147483647 w 42"/>
                <a:gd name="T49" fmla="*/ 2147483647 h 29"/>
                <a:gd name="T50" fmla="*/ 2147483647 w 42"/>
                <a:gd name="T51" fmla="*/ 2147483647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2"/>
                <a:gd name="T79" fmla="*/ 0 h 29"/>
                <a:gd name="T80" fmla="*/ 42 w 42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2" h="29">
                  <a:moveTo>
                    <a:pt x="8" y="29"/>
                  </a:moveTo>
                  <a:lnTo>
                    <a:pt x="9" y="24"/>
                  </a:lnTo>
                  <a:lnTo>
                    <a:pt x="6" y="23"/>
                  </a:lnTo>
                  <a:lnTo>
                    <a:pt x="2" y="26"/>
                  </a:lnTo>
                  <a:lnTo>
                    <a:pt x="0" y="23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9" y="12"/>
                  </a:lnTo>
                  <a:lnTo>
                    <a:pt x="9" y="8"/>
                  </a:lnTo>
                  <a:lnTo>
                    <a:pt x="11" y="3"/>
                  </a:lnTo>
                  <a:lnTo>
                    <a:pt x="16" y="4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32" y="5"/>
                  </a:lnTo>
                  <a:lnTo>
                    <a:pt x="37" y="6"/>
                  </a:lnTo>
                  <a:lnTo>
                    <a:pt x="34" y="10"/>
                  </a:lnTo>
                  <a:lnTo>
                    <a:pt x="36" y="13"/>
                  </a:lnTo>
                  <a:lnTo>
                    <a:pt x="42" y="16"/>
                  </a:lnTo>
                  <a:lnTo>
                    <a:pt x="39" y="21"/>
                  </a:lnTo>
                  <a:lnTo>
                    <a:pt x="28" y="20"/>
                  </a:lnTo>
                  <a:lnTo>
                    <a:pt x="25" y="17"/>
                  </a:lnTo>
                  <a:lnTo>
                    <a:pt x="21" y="18"/>
                  </a:lnTo>
                  <a:lnTo>
                    <a:pt x="20" y="27"/>
                  </a:lnTo>
                  <a:lnTo>
                    <a:pt x="17" y="29"/>
                  </a:lnTo>
                  <a:lnTo>
                    <a:pt x="13" y="28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2" name="Freeform 346"/>
            <p:cNvSpPr>
              <a:spLocks/>
            </p:cNvSpPr>
            <p:nvPr/>
          </p:nvSpPr>
          <p:spPr bwMode="gray">
            <a:xfrm>
              <a:off x="2800" y="2017"/>
              <a:ext cx="111" cy="158"/>
            </a:xfrm>
            <a:custGeom>
              <a:avLst/>
              <a:gdLst>
                <a:gd name="T0" fmla="*/ 2147483647 w 85"/>
                <a:gd name="T1" fmla="*/ 2147483647 h 121"/>
                <a:gd name="T2" fmla="*/ 2147483647 w 85"/>
                <a:gd name="T3" fmla="*/ 2147483647 h 121"/>
                <a:gd name="T4" fmla="*/ 2147483647 w 85"/>
                <a:gd name="T5" fmla="*/ 2147483647 h 121"/>
                <a:gd name="T6" fmla="*/ 2147483647 w 85"/>
                <a:gd name="T7" fmla="*/ 2147483647 h 121"/>
                <a:gd name="T8" fmla="*/ 0 w 85"/>
                <a:gd name="T9" fmla="*/ 2147483647 h 121"/>
                <a:gd name="T10" fmla="*/ 0 w 85"/>
                <a:gd name="T11" fmla="*/ 2147483647 h 121"/>
                <a:gd name="T12" fmla="*/ 2147483647 w 85"/>
                <a:gd name="T13" fmla="*/ 2147483647 h 121"/>
                <a:gd name="T14" fmla="*/ 2147483647 w 85"/>
                <a:gd name="T15" fmla="*/ 2147483647 h 121"/>
                <a:gd name="T16" fmla="*/ 2147483647 w 85"/>
                <a:gd name="T17" fmla="*/ 2147483647 h 121"/>
                <a:gd name="T18" fmla="*/ 2147483647 w 85"/>
                <a:gd name="T19" fmla="*/ 2147483647 h 121"/>
                <a:gd name="T20" fmla="*/ 2147483647 w 85"/>
                <a:gd name="T21" fmla="*/ 2147483647 h 121"/>
                <a:gd name="T22" fmla="*/ 2147483647 w 85"/>
                <a:gd name="T23" fmla="*/ 2147483647 h 121"/>
                <a:gd name="T24" fmla="*/ 2147483647 w 85"/>
                <a:gd name="T25" fmla="*/ 2147483647 h 121"/>
                <a:gd name="T26" fmla="*/ 2147483647 w 85"/>
                <a:gd name="T27" fmla="*/ 2147483647 h 121"/>
                <a:gd name="T28" fmla="*/ 2147483647 w 85"/>
                <a:gd name="T29" fmla="*/ 2147483647 h 121"/>
                <a:gd name="T30" fmla="*/ 2147483647 w 85"/>
                <a:gd name="T31" fmla="*/ 2147483647 h 121"/>
                <a:gd name="T32" fmla="*/ 2147483647 w 85"/>
                <a:gd name="T33" fmla="*/ 2147483647 h 121"/>
                <a:gd name="T34" fmla="*/ 2147483647 w 85"/>
                <a:gd name="T35" fmla="*/ 2147483647 h 121"/>
                <a:gd name="T36" fmla="*/ 2147483647 w 85"/>
                <a:gd name="T37" fmla="*/ 2147483647 h 121"/>
                <a:gd name="T38" fmla="*/ 2147483647 w 85"/>
                <a:gd name="T39" fmla="*/ 2147483647 h 121"/>
                <a:gd name="T40" fmla="*/ 2147483647 w 85"/>
                <a:gd name="T41" fmla="*/ 2147483647 h 121"/>
                <a:gd name="T42" fmla="*/ 2147483647 w 85"/>
                <a:gd name="T43" fmla="*/ 2147483647 h 121"/>
                <a:gd name="T44" fmla="*/ 2147483647 w 85"/>
                <a:gd name="T45" fmla="*/ 0 h 121"/>
                <a:gd name="T46" fmla="*/ 2147483647 w 85"/>
                <a:gd name="T47" fmla="*/ 2147483647 h 121"/>
                <a:gd name="T48" fmla="*/ 2147483647 w 85"/>
                <a:gd name="T49" fmla="*/ 2147483647 h 121"/>
                <a:gd name="T50" fmla="*/ 2147483647 w 85"/>
                <a:gd name="T51" fmla="*/ 2147483647 h 121"/>
                <a:gd name="T52" fmla="*/ 2147483647 w 85"/>
                <a:gd name="T53" fmla="*/ 2147483647 h 121"/>
                <a:gd name="T54" fmla="*/ 2147483647 w 85"/>
                <a:gd name="T55" fmla="*/ 2147483647 h 121"/>
                <a:gd name="T56" fmla="*/ 2147483647 w 85"/>
                <a:gd name="T57" fmla="*/ 2147483647 h 121"/>
                <a:gd name="T58" fmla="*/ 2147483647 w 85"/>
                <a:gd name="T59" fmla="*/ 2147483647 h 121"/>
                <a:gd name="T60" fmla="*/ 2147483647 w 85"/>
                <a:gd name="T61" fmla="*/ 2147483647 h 121"/>
                <a:gd name="T62" fmla="*/ 2147483647 w 85"/>
                <a:gd name="T63" fmla="*/ 2147483647 h 121"/>
                <a:gd name="T64" fmla="*/ 2147483647 w 85"/>
                <a:gd name="T65" fmla="*/ 2147483647 h 121"/>
                <a:gd name="T66" fmla="*/ 2147483647 w 85"/>
                <a:gd name="T67" fmla="*/ 2147483647 h 121"/>
                <a:gd name="T68" fmla="*/ 2147483647 w 85"/>
                <a:gd name="T69" fmla="*/ 2147483647 h 121"/>
                <a:gd name="T70" fmla="*/ 2147483647 w 85"/>
                <a:gd name="T71" fmla="*/ 2147483647 h 121"/>
                <a:gd name="T72" fmla="*/ 2147483647 w 85"/>
                <a:gd name="T73" fmla="*/ 2147483647 h 121"/>
                <a:gd name="T74" fmla="*/ 2147483647 w 85"/>
                <a:gd name="T75" fmla="*/ 2147483647 h 121"/>
                <a:gd name="T76" fmla="*/ 2147483647 w 85"/>
                <a:gd name="T77" fmla="*/ 2147483647 h 121"/>
                <a:gd name="T78" fmla="*/ 2147483647 w 85"/>
                <a:gd name="T79" fmla="*/ 2147483647 h 121"/>
                <a:gd name="T80" fmla="*/ 2147483647 w 85"/>
                <a:gd name="T81" fmla="*/ 2147483647 h 121"/>
                <a:gd name="T82" fmla="*/ 2147483647 w 85"/>
                <a:gd name="T83" fmla="*/ 2147483647 h 121"/>
                <a:gd name="T84" fmla="*/ 2147483647 w 85"/>
                <a:gd name="T85" fmla="*/ 2147483647 h 121"/>
                <a:gd name="T86" fmla="*/ 2147483647 w 85"/>
                <a:gd name="T87" fmla="*/ 2147483647 h 121"/>
                <a:gd name="T88" fmla="*/ 2147483647 w 85"/>
                <a:gd name="T89" fmla="*/ 2147483647 h 121"/>
                <a:gd name="T90" fmla="*/ 2147483647 w 85"/>
                <a:gd name="T91" fmla="*/ 2147483647 h 121"/>
                <a:gd name="T92" fmla="*/ 2147483647 w 85"/>
                <a:gd name="T93" fmla="*/ 2147483647 h 121"/>
                <a:gd name="T94" fmla="*/ 2147483647 w 85"/>
                <a:gd name="T95" fmla="*/ 2147483647 h 121"/>
                <a:gd name="T96" fmla="*/ 2147483647 w 85"/>
                <a:gd name="T97" fmla="*/ 2147483647 h 121"/>
                <a:gd name="T98" fmla="*/ 2147483647 w 85"/>
                <a:gd name="T99" fmla="*/ 2147483647 h 121"/>
                <a:gd name="T100" fmla="*/ 2147483647 w 85"/>
                <a:gd name="T101" fmla="*/ 2147483647 h 121"/>
                <a:gd name="T102" fmla="*/ 2147483647 w 85"/>
                <a:gd name="T103" fmla="*/ 2147483647 h 121"/>
                <a:gd name="T104" fmla="*/ 2147483647 w 85"/>
                <a:gd name="T105" fmla="*/ 2147483647 h 121"/>
                <a:gd name="T106" fmla="*/ 2147483647 w 85"/>
                <a:gd name="T107" fmla="*/ 2147483647 h 121"/>
                <a:gd name="T108" fmla="*/ 2147483647 w 85"/>
                <a:gd name="T109" fmla="*/ 2147483647 h 121"/>
                <a:gd name="T110" fmla="*/ 2147483647 w 85"/>
                <a:gd name="T111" fmla="*/ 2147483647 h 121"/>
                <a:gd name="T112" fmla="*/ 2147483647 w 85"/>
                <a:gd name="T113" fmla="*/ 2147483647 h 12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"/>
                <a:gd name="T172" fmla="*/ 0 h 121"/>
                <a:gd name="T173" fmla="*/ 85 w 85"/>
                <a:gd name="T174" fmla="*/ 121 h 12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" h="121">
                  <a:moveTo>
                    <a:pt x="7" y="90"/>
                  </a:moveTo>
                  <a:lnTo>
                    <a:pt x="6" y="80"/>
                  </a:lnTo>
                  <a:lnTo>
                    <a:pt x="3" y="75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55"/>
                  </a:lnTo>
                  <a:lnTo>
                    <a:pt x="1" y="52"/>
                  </a:lnTo>
                  <a:lnTo>
                    <a:pt x="3" y="49"/>
                  </a:lnTo>
                  <a:lnTo>
                    <a:pt x="10" y="43"/>
                  </a:lnTo>
                  <a:lnTo>
                    <a:pt x="11" y="37"/>
                  </a:lnTo>
                  <a:lnTo>
                    <a:pt x="9" y="33"/>
                  </a:lnTo>
                  <a:lnTo>
                    <a:pt x="12" y="27"/>
                  </a:lnTo>
                  <a:lnTo>
                    <a:pt x="10" y="24"/>
                  </a:lnTo>
                  <a:lnTo>
                    <a:pt x="13" y="19"/>
                  </a:lnTo>
                  <a:lnTo>
                    <a:pt x="18" y="19"/>
                  </a:lnTo>
                  <a:lnTo>
                    <a:pt x="21" y="21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28" y="9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6" y="1"/>
                  </a:lnTo>
                  <a:lnTo>
                    <a:pt x="40" y="7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55" y="11"/>
                  </a:lnTo>
                  <a:lnTo>
                    <a:pt x="60" y="6"/>
                  </a:lnTo>
                  <a:lnTo>
                    <a:pt x="70" y="3"/>
                  </a:lnTo>
                  <a:lnTo>
                    <a:pt x="71" y="9"/>
                  </a:lnTo>
                  <a:lnTo>
                    <a:pt x="73" y="10"/>
                  </a:lnTo>
                  <a:lnTo>
                    <a:pt x="77" y="15"/>
                  </a:lnTo>
                  <a:lnTo>
                    <a:pt x="79" y="23"/>
                  </a:lnTo>
                  <a:lnTo>
                    <a:pt x="77" y="35"/>
                  </a:lnTo>
                  <a:lnTo>
                    <a:pt x="85" y="61"/>
                  </a:lnTo>
                  <a:lnTo>
                    <a:pt x="76" y="62"/>
                  </a:lnTo>
                  <a:lnTo>
                    <a:pt x="73" y="67"/>
                  </a:lnTo>
                  <a:lnTo>
                    <a:pt x="59" y="76"/>
                  </a:lnTo>
                  <a:lnTo>
                    <a:pt x="61" y="87"/>
                  </a:lnTo>
                  <a:lnTo>
                    <a:pt x="74" y="98"/>
                  </a:lnTo>
                  <a:lnTo>
                    <a:pt x="73" y="102"/>
                  </a:lnTo>
                  <a:lnTo>
                    <a:pt x="68" y="107"/>
                  </a:lnTo>
                  <a:lnTo>
                    <a:pt x="69" y="113"/>
                  </a:lnTo>
                  <a:lnTo>
                    <a:pt x="66" y="117"/>
                  </a:lnTo>
                  <a:lnTo>
                    <a:pt x="60" y="115"/>
                  </a:lnTo>
                  <a:lnTo>
                    <a:pt x="54" y="119"/>
                  </a:lnTo>
                  <a:lnTo>
                    <a:pt x="44" y="121"/>
                  </a:lnTo>
                  <a:lnTo>
                    <a:pt x="36" y="120"/>
                  </a:lnTo>
                  <a:lnTo>
                    <a:pt x="31" y="119"/>
                  </a:lnTo>
                  <a:lnTo>
                    <a:pt x="25" y="114"/>
                  </a:lnTo>
                  <a:lnTo>
                    <a:pt x="19" y="115"/>
                  </a:lnTo>
                  <a:lnTo>
                    <a:pt x="15" y="118"/>
                  </a:lnTo>
                  <a:lnTo>
                    <a:pt x="18" y="105"/>
                  </a:lnTo>
                  <a:lnTo>
                    <a:pt x="23" y="92"/>
                  </a:lnTo>
                  <a:lnTo>
                    <a:pt x="16" y="90"/>
                  </a:lnTo>
                  <a:lnTo>
                    <a:pt x="7" y="9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3" name="Freeform 347"/>
            <p:cNvSpPr>
              <a:spLocks/>
            </p:cNvSpPr>
            <p:nvPr/>
          </p:nvSpPr>
          <p:spPr bwMode="gray">
            <a:xfrm>
              <a:off x="2825" y="1968"/>
              <a:ext cx="38" cy="52"/>
            </a:xfrm>
            <a:custGeom>
              <a:avLst/>
              <a:gdLst>
                <a:gd name="T0" fmla="*/ 2147483647 w 29"/>
                <a:gd name="T1" fmla="*/ 2147483647 h 40"/>
                <a:gd name="T2" fmla="*/ 2147483647 w 29"/>
                <a:gd name="T3" fmla="*/ 2147483647 h 40"/>
                <a:gd name="T4" fmla="*/ 2147483647 w 29"/>
                <a:gd name="T5" fmla="*/ 2147483647 h 40"/>
                <a:gd name="T6" fmla="*/ 2147483647 w 29"/>
                <a:gd name="T7" fmla="*/ 2147483647 h 40"/>
                <a:gd name="T8" fmla="*/ 2147483647 w 29"/>
                <a:gd name="T9" fmla="*/ 2147483647 h 40"/>
                <a:gd name="T10" fmla="*/ 2147483647 w 29"/>
                <a:gd name="T11" fmla="*/ 2147483647 h 40"/>
                <a:gd name="T12" fmla="*/ 2147483647 w 29"/>
                <a:gd name="T13" fmla="*/ 2147483647 h 40"/>
                <a:gd name="T14" fmla="*/ 0 w 29"/>
                <a:gd name="T15" fmla="*/ 2147483647 h 40"/>
                <a:gd name="T16" fmla="*/ 2147483647 w 29"/>
                <a:gd name="T17" fmla="*/ 2147483647 h 40"/>
                <a:gd name="T18" fmla="*/ 2147483647 w 29"/>
                <a:gd name="T19" fmla="*/ 2147483647 h 40"/>
                <a:gd name="T20" fmla="*/ 2147483647 w 29"/>
                <a:gd name="T21" fmla="*/ 2147483647 h 40"/>
                <a:gd name="T22" fmla="*/ 2147483647 w 29"/>
                <a:gd name="T23" fmla="*/ 2147483647 h 40"/>
                <a:gd name="T24" fmla="*/ 2147483647 w 29"/>
                <a:gd name="T25" fmla="*/ 0 h 40"/>
                <a:gd name="T26" fmla="*/ 2147483647 w 29"/>
                <a:gd name="T27" fmla="*/ 2147483647 h 40"/>
                <a:gd name="T28" fmla="*/ 2147483647 w 29"/>
                <a:gd name="T29" fmla="*/ 2147483647 h 40"/>
                <a:gd name="T30" fmla="*/ 2147483647 w 29"/>
                <a:gd name="T31" fmla="*/ 2147483647 h 40"/>
                <a:gd name="T32" fmla="*/ 2147483647 w 29"/>
                <a:gd name="T33" fmla="*/ 2147483647 h 40"/>
                <a:gd name="T34" fmla="*/ 2147483647 w 29"/>
                <a:gd name="T35" fmla="*/ 2147483647 h 40"/>
                <a:gd name="T36" fmla="*/ 2147483647 w 29"/>
                <a:gd name="T37" fmla="*/ 2147483647 h 40"/>
                <a:gd name="T38" fmla="*/ 2147483647 w 29"/>
                <a:gd name="T39" fmla="*/ 2147483647 h 40"/>
                <a:gd name="T40" fmla="*/ 2147483647 w 29"/>
                <a:gd name="T41" fmla="*/ 2147483647 h 40"/>
                <a:gd name="T42" fmla="*/ 2147483647 w 29"/>
                <a:gd name="T43" fmla="*/ 2147483647 h 40"/>
                <a:gd name="T44" fmla="*/ 2147483647 w 29"/>
                <a:gd name="T45" fmla="*/ 2147483647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"/>
                <a:gd name="T70" fmla="*/ 0 h 40"/>
                <a:gd name="T71" fmla="*/ 29 w 29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" h="40">
                  <a:moveTo>
                    <a:pt x="17" y="39"/>
                  </a:moveTo>
                  <a:lnTo>
                    <a:pt x="10" y="38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1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1" y="10"/>
                  </a:lnTo>
                  <a:lnTo>
                    <a:pt x="8" y="5"/>
                  </a:lnTo>
                  <a:lnTo>
                    <a:pt x="11" y="6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8" y="13"/>
                  </a:lnTo>
                  <a:lnTo>
                    <a:pt x="21" y="15"/>
                  </a:lnTo>
                  <a:lnTo>
                    <a:pt x="21" y="19"/>
                  </a:lnTo>
                  <a:lnTo>
                    <a:pt x="14" y="24"/>
                  </a:lnTo>
                  <a:lnTo>
                    <a:pt x="14" y="31"/>
                  </a:lnTo>
                  <a:lnTo>
                    <a:pt x="17" y="38"/>
                  </a:lnTo>
                  <a:lnTo>
                    <a:pt x="17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4" name="Freeform 348"/>
            <p:cNvSpPr>
              <a:spLocks/>
            </p:cNvSpPr>
            <p:nvPr/>
          </p:nvSpPr>
          <p:spPr bwMode="gray">
            <a:xfrm>
              <a:off x="2827" y="1949"/>
              <a:ext cx="29" cy="28"/>
            </a:xfrm>
            <a:custGeom>
              <a:avLst/>
              <a:gdLst>
                <a:gd name="T0" fmla="*/ 0 w 22"/>
                <a:gd name="T1" fmla="*/ 2147483647 h 21"/>
                <a:gd name="T2" fmla="*/ 2147483647 w 22"/>
                <a:gd name="T3" fmla="*/ 2147483647 h 21"/>
                <a:gd name="T4" fmla="*/ 2147483647 w 22"/>
                <a:gd name="T5" fmla="*/ 2147483647 h 21"/>
                <a:gd name="T6" fmla="*/ 2147483647 w 22"/>
                <a:gd name="T7" fmla="*/ 2147483647 h 21"/>
                <a:gd name="T8" fmla="*/ 2147483647 w 22"/>
                <a:gd name="T9" fmla="*/ 2147483647 h 21"/>
                <a:gd name="T10" fmla="*/ 2147483647 w 22"/>
                <a:gd name="T11" fmla="*/ 2147483647 h 21"/>
                <a:gd name="T12" fmla="*/ 2147483647 w 22"/>
                <a:gd name="T13" fmla="*/ 0 h 21"/>
                <a:gd name="T14" fmla="*/ 2147483647 w 22"/>
                <a:gd name="T15" fmla="*/ 2147483647 h 21"/>
                <a:gd name="T16" fmla="*/ 2147483647 w 22"/>
                <a:gd name="T17" fmla="*/ 2147483647 h 21"/>
                <a:gd name="T18" fmla="*/ 2147483647 w 22"/>
                <a:gd name="T19" fmla="*/ 2147483647 h 21"/>
                <a:gd name="T20" fmla="*/ 2147483647 w 22"/>
                <a:gd name="T21" fmla="*/ 2147483647 h 21"/>
                <a:gd name="T22" fmla="*/ 2147483647 w 22"/>
                <a:gd name="T23" fmla="*/ 2147483647 h 21"/>
                <a:gd name="T24" fmla="*/ 0 w 22"/>
                <a:gd name="T25" fmla="*/ 2147483647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21"/>
                <a:gd name="T41" fmla="*/ 22 w 22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21">
                  <a:moveTo>
                    <a:pt x="0" y="21"/>
                  </a:moveTo>
                  <a:lnTo>
                    <a:pt x="1" y="16"/>
                  </a:lnTo>
                  <a:lnTo>
                    <a:pt x="5" y="11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2" y="7"/>
                  </a:lnTo>
                  <a:lnTo>
                    <a:pt x="20" y="12"/>
                  </a:lnTo>
                  <a:lnTo>
                    <a:pt x="12" y="12"/>
                  </a:lnTo>
                  <a:lnTo>
                    <a:pt x="9" y="16"/>
                  </a:lnTo>
                  <a:lnTo>
                    <a:pt x="5" y="17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5" name="Freeform 349"/>
            <p:cNvSpPr>
              <a:spLocks/>
            </p:cNvSpPr>
            <p:nvPr/>
          </p:nvSpPr>
          <p:spPr bwMode="gray">
            <a:xfrm>
              <a:off x="2868" y="1643"/>
              <a:ext cx="149" cy="357"/>
            </a:xfrm>
            <a:custGeom>
              <a:avLst/>
              <a:gdLst>
                <a:gd name="T0" fmla="*/ 2147483647 w 115"/>
                <a:gd name="T1" fmla="*/ 2147483647 h 274"/>
                <a:gd name="T2" fmla="*/ 2147483647 w 115"/>
                <a:gd name="T3" fmla="*/ 2147483647 h 274"/>
                <a:gd name="T4" fmla="*/ 2147483647 w 115"/>
                <a:gd name="T5" fmla="*/ 2147483647 h 274"/>
                <a:gd name="T6" fmla="*/ 2147483647 w 115"/>
                <a:gd name="T7" fmla="*/ 2147483647 h 274"/>
                <a:gd name="T8" fmla="*/ 2147483647 w 115"/>
                <a:gd name="T9" fmla="*/ 2147483647 h 274"/>
                <a:gd name="T10" fmla="*/ 2147483647 w 115"/>
                <a:gd name="T11" fmla="*/ 2147483647 h 274"/>
                <a:gd name="T12" fmla="*/ 2147483647 w 115"/>
                <a:gd name="T13" fmla="*/ 2147483647 h 274"/>
                <a:gd name="T14" fmla="*/ 2147483647 w 115"/>
                <a:gd name="T15" fmla="*/ 2147483647 h 274"/>
                <a:gd name="T16" fmla="*/ 2147483647 w 115"/>
                <a:gd name="T17" fmla="*/ 2147483647 h 274"/>
                <a:gd name="T18" fmla="*/ 2147483647 w 115"/>
                <a:gd name="T19" fmla="*/ 2147483647 h 274"/>
                <a:gd name="T20" fmla="*/ 2147483647 w 115"/>
                <a:gd name="T21" fmla="*/ 2147483647 h 274"/>
                <a:gd name="T22" fmla="*/ 2147483647 w 115"/>
                <a:gd name="T23" fmla="*/ 2147483647 h 274"/>
                <a:gd name="T24" fmla="*/ 2147483647 w 115"/>
                <a:gd name="T25" fmla="*/ 2147483647 h 274"/>
                <a:gd name="T26" fmla="*/ 2147483647 w 115"/>
                <a:gd name="T27" fmla="*/ 2147483647 h 274"/>
                <a:gd name="T28" fmla="*/ 2147483647 w 115"/>
                <a:gd name="T29" fmla="*/ 2147483647 h 274"/>
                <a:gd name="T30" fmla="*/ 2147483647 w 115"/>
                <a:gd name="T31" fmla="*/ 2147483647 h 274"/>
                <a:gd name="T32" fmla="*/ 2147483647 w 115"/>
                <a:gd name="T33" fmla="*/ 2147483647 h 274"/>
                <a:gd name="T34" fmla="*/ 2147483647 w 115"/>
                <a:gd name="T35" fmla="*/ 2147483647 h 274"/>
                <a:gd name="T36" fmla="*/ 2147483647 w 115"/>
                <a:gd name="T37" fmla="*/ 2147483647 h 274"/>
                <a:gd name="T38" fmla="*/ 2147483647 w 115"/>
                <a:gd name="T39" fmla="*/ 2147483647 h 274"/>
                <a:gd name="T40" fmla="*/ 2147483647 w 115"/>
                <a:gd name="T41" fmla="*/ 2147483647 h 274"/>
                <a:gd name="T42" fmla="*/ 2147483647 w 115"/>
                <a:gd name="T43" fmla="*/ 2147483647 h 274"/>
                <a:gd name="T44" fmla="*/ 2147483647 w 115"/>
                <a:gd name="T45" fmla="*/ 2147483647 h 274"/>
                <a:gd name="T46" fmla="*/ 2147483647 w 115"/>
                <a:gd name="T47" fmla="*/ 2147483647 h 274"/>
                <a:gd name="T48" fmla="*/ 2147483647 w 115"/>
                <a:gd name="T49" fmla="*/ 2147483647 h 274"/>
                <a:gd name="T50" fmla="*/ 2147483647 w 115"/>
                <a:gd name="T51" fmla="*/ 2147483647 h 274"/>
                <a:gd name="T52" fmla="*/ 2147483647 w 115"/>
                <a:gd name="T53" fmla="*/ 2147483647 h 274"/>
                <a:gd name="T54" fmla="*/ 2147483647 w 115"/>
                <a:gd name="T55" fmla="*/ 2147483647 h 274"/>
                <a:gd name="T56" fmla="*/ 2147483647 w 115"/>
                <a:gd name="T57" fmla="*/ 2147483647 h 274"/>
                <a:gd name="T58" fmla="*/ 2147483647 w 115"/>
                <a:gd name="T59" fmla="*/ 2147483647 h 274"/>
                <a:gd name="T60" fmla="*/ 2147483647 w 115"/>
                <a:gd name="T61" fmla="*/ 2147483647 h 274"/>
                <a:gd name="T62" fmla="*/ 2147483647 w 115"/>
                <a:gd name="T63" fmla="*/ 2147483647 h 274"/>
                <a:gd name="T64" fmla="*/ 2147483647 w 115"/>
                <a:gd name="T65" fmla="*/ 2147483647 h 274"/>
                <a:gd name="T66" fmla="*/ 2147483647 w 115"/>
                <a:gd name="T67" fmla="*/ 2147483647 h 274"/>
                <a:gd name="T68" fmla="*/ 2147483647 w 115"/>
                <a:gd name="T69" fmla="*/ 2147483647 h 274"/>
                <a:gd name="T70" fmla="*/ 2147483647 w 115"/>
                <a:gd name="T71" fmla="*/ 2147483647 h 274"/>
                <a:gd name="T72" fmla="*/ 2147483647 w 115"/>
                <a:gd name="T73" fmla="*/ 2147483647 h 274"/>
                <a:gd name="T74" fmla="*/ 2147483647 w 115"/>
                <a:gd name="T75" fmla="*/ 2147483647 h 274"/>
                <a:gd name="T76" fmla="*/ 2147483647 w 115"/>
                <a:gd name="T77" fmla="*/ 0 h 274"/>
                <a:gd name="T78" fmla="*/ 2147483647 w 115"/>
                <a:gd name="T79" fmla="*/ 2147483647 h 274"/>
                <a:gd name="T80" fmla="*/ 2147483647 w 115"/>
                <a:gd name="T81" fmla="*/ 2147483647 h 274"/>
                <a:gd name="T82" fmla="*/ 2147483647 w 115"/>
                <a:gd name="T83" fmla="*/ 2147483647 h 274"/>
                <a:gd name="T84" fmla="*/ 2147483647 w 115"/>
                <a:gd name="T85" fmla="*/ 2147483647 h 27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5"/>
                <a:gd name="T130" fmla="*/ 0 h 274"/>
                <a:gd name="T131" fmla="*/ 115 w 115"/>
                <a:gd name="T132" fmla="*/ 274 h 27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5" h="274">
                  <a:moveTo>
                    <a:pt x="115" y="57"/>
                  </a:moveTo>
                  <a:lnTo>
                    <a:pt x="106" y="60"/>
                  </a:lnTo>
                  <a:lnTo>
                    <a:pt x="100" y="59"/>
                  </a:lnTo>
                  <a:lnTo>
                    <a:pt x="99" y="63"/>
                  </a:lnTo>
                  <a:lnTo>
                    <a:pt x="94" y="68"/>
                  </a:lnTo>
                  <a:lnTo>
                    <a:pt x="94" y="73"/>
                  </a:lnTo>
                  <a:lnTo>
                    <a:pt x="89" y="82"/>
                  </a:lnTo>
                  <a:lnTo>
                    <a:pt x="90" y="85"/>
                  </a:lnTo>
                  <a:lnTo>
                    <a:pt x="92" y="90"/>
                  </a:lnTo>
                  <a:lnTo>
                    <a:pt x="85" y="100"/>
                  </a:lnTo>
                  <a:lnTo>
                    <a:pt x="78" y="109"/>
                  </a:lnTo>
                  <a:lnTo>
                    <a:pt x="71" y="115"/>
                  </a:lnTo>
                  <a:lnTo>
                    <a:pt x="67" y="121"/>
                  </a:lnTo>
                  <a:lnTo>
                    <a:pt x="61" y="125"/>
                  </a:lnTo>
                  <a:lnTo>
                    <a:pt x="59" y="137"/>
                  </a:lnTo>
                  <a:lnTo>
                    <a:pt x="54" y="141"/>
                  </a:lnTo>
                  <a:lnTo>
                    <a:pt x="54" y="149"/>
                  </a:lnTo>
                  <a:lnTo>
                    <a:pt x="55" y="152"/>
                  </a:lnTo>
                  <a:lnTo>
                    <a:pt x="53" y="156"/>
                  </a:lnTo>
                  <a:lnTo>
                    <a:pt x="53" y="170"/>
                  </a:lnTo>
                  <a:lnTo>
                    <a:pt x="60" y="176"/>
                  </a:lnTo>
                  <a:lnTo>
                    <a:pt x="67" y="185"/>
                  </a:lnTo>
                  <a:lnTo>
                    <a:pt x="67" y="199"/>
                  </a:lnTo>
                  <a:lnTo>
                    <a:pt x="61" y="209"/>
                  </a:lnTo>
                  <a:lnTo>
                    <a:pt x="57" y="208"/>
                  </a:lnTo>
                  <a:lnTo>
                    <a:pt x="54" y="210"/>
                  </a:lnTo>
                  <a:lnTo>
                    <a:pt x="54" y="215"/>
                  </a:lnTo>
                  <a:lnTo>
                    <a:pt x="51" y="214"/>
                  </a:lnTo>
                  <a:lnTo>
                    <a:pt x="47" y="219"/>
                  </a:lnTo>
                  <a:lnTo>
                    <a:pt x="48" y="236"/>
                  </a:lnTo>
                  <a:lnTo>
                    <a:pt x="45" y="247"/>
                  </a:lnTo>
                  <a:lnTo>
                    <a:pt x="41" y="260"/>
                  </a:lnTo>
                  <a:lnTo>
                    <a:pt x="37" y="263"/>
                  </a:lnTo>
                  <a:lnTo>
                    <a:pt x="31" y="263"/>
                  </a:lnTo>
                  <a:lnTo>
                    <a:pt x="25" y="273"/>
                  </a:lnTo>
                  <a:lnTo>
                    <a:pt x="22" y="273"/>
                  </a:lnTo>
                  <a:lnTo>
                    <a:pt x="19" y="274"/>
                  </a:lnTo>
                  <a:lnTo>
                    <a:pt x="15" y="271"/>
                  </a:lnTo>
                  <a:lnTo>
                    <a:pt x="12" y="264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7" y="245"/>
                  </a:lnTo>
                  <a:lnTo>
                    <a:pt x="4" y="240"/>
                  </a:lnTo>
                  <a:lnTo>
                    <a:pt x="5" y="225"/>
                  </a:lnTo>
                  <a:lnTo>
                    <a:pt x="0" y="221"/>
                  </a:lnTo>
                  <a:lnTo>
                    <a:pt x="2" y="212"/>
                  </a:lnTo>
                  <a:lnTo>
                    <a:pt x="3" y="207"/>
                  </a:lnTo>
                  <a:lnTo>
                    <a:pt x="5" y="188"/>
                  </a:lnTo>
                  <a:lnTo>
                    <a:pt x="8" y="184"/>
                  </a:lnTo>
                  <a:lnTo>
                    <a:pt x="10" y="177"/>
                  </a:lnTo>
                  <a:lnTo>
                    <a:pt x="6" y="171"/>
                  </a:lnTo>
                  <a:lnTo>
                    <a:pt x="6" y="168"/>
                  </a:lnTo>
                  <a:lnTo>
                    <a:pt x="12" y="166"/>
                  </a:lnTo>
                  <a:lnTo>
                    <a:pt x="12" y="157"/>
                  </a:lnTo>
                  <a:lnTo>
                    <a:pt x="8" y="151"/>
                  </a:lnTo>
                  <a:lnTo>
                    <a:pt x="6" y="126"/>
                  </a:lnTo>
                  <a:lnTo>
                    <a:pt x="6" y="109"/>
                  </a:lnTo>
                  <a:lnTo>
                    <a:pt x="11" y="102"/>
                  </a:lnTo>
                  <a:lnTo>
                    <a:pt x="20" y="105"/>
                  </a:lnTo>
                  <a:lnTo>
                    <a:pt x="25" y="98"/>
                  </a:lnTo>
                  <a:lnTo>
                    <a:pt x="20" y="89"/>
                  </a:lnTo>
                  <a:lnTo>
                    <a:pt x="26" y="79"/>
                  </a:lnTo>
                  <a:lnTo>
                    <a:pt x="28" y="60"/>
                  </a:lnTo>
                  <a:lnTo>
                    <a:pt x="25" y="54"/>
                  </a:lnTo>
                  <a:lnTo>
                    <a:pt x="29" y="48"/>
                  </a:lnTo>
                  <a:lnTo>
                    <a:pt x="34" y="46"/>
                  </a:lnTo>
                  <a:lnTo>
                    <a:pt x="44" y="35"/>
                  </a:lnTo>
                  <a:lnTo>
                    <a:pt x="45" y="30"/>
                  </a:lnTo>
                  <a:lnTo>
                    <a:pt x="42" y="28"/>
                  </a:lnTo>
                  <a:lnTo>
                    <a:pt x="49" y="22"/>
                  </a:lnTo>
                  <a:lnTo>
                    <a:pt x="52" y="17"/>
                  </a:lnTo>
                  <a:lnTo>
                    <a:pt x="59" y="15"/>
                  </a:lnTo>
                  <a:lnTo>
                    <a:pt x="61" y="9"/>
                  </a:lnTo>
                  <a:lnTo>
                    <a:pt x="67" y="8"/>
                  </a:lnTo>
                  <a:lnTo>
                    <a:pt x="72" y="10"/>
                  </a:lnTo>
                  <a:lnTo>
                    <a:pt x="77" y="8"/>
                  </a:lnTo>
                  <a:lnTo>
                    <a:pt x="79" y="0"/>
                  </a:lnTo>
                  <a:lnTo>
                    <a:pt x="84" y="0"/>
                  </a:lnTo>
                  <a:lnTo>
                    <a:pt x="86" y="5"/>
                  </a:lnTo>
                  <a:lnTo>
                    <a:pt x="92" y="10"/>
                  </a:lnTo>
                  <a:lnTo>
                    <a:pt x="98" y="10"/>
                  </a:lnTo>
                  <a:lnTo>
                    <a:pt x="111" y="20"/>
                  </a:lnTo>
                  <a:lnTo>
                    <a:pt x="107" y="26"/>
                  </a:lnTo>
                  <a:lnTo>
                    <a:pt x="113" y="31"/>
                  </a:lnTo>
                  <a:lnTo>
                    <a:pt x="115" y="38"/>
                  </a:lnTo>
                  <a:lnTo>
                    <a:pt x="113" y="49"/>
                  </a:lnTo>
                  <a:lnTo>
                    <a:pt x="115" y="5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6" name="Freeform 350"/>
            <p:cNvSpPr>
              <a:spLocks/>
            </p:cNvSpPr>
            <p:nvPr/>
          </p:nvSpPr>
          <p:spPr bwMode="gray">
            <a:xfrm>
              <a:off x="3048" y="2153"/>
              <a:ext cx="41" cy="56"/>
            </a:xfrm>
            <a:custGeom>
              <a:avLst/>
              <a:gdLst>
                <a:gd name="T0" fmla="*/ 0 w 32"/>
                <a:gd name="T1" fmla="*/ 2147483647 h 43"/>
                <a:gd name="T2" fmla="*/ 2147483647 w 32"/>
                <a:gd name="T3" fmla="*/ 0 h 43"/>
                <a:gd name="T4" fmla="*/ 2147483647 w 32"/>
                <a:gd name="T5" fmla="*/ 0 h 43"/>
                <a:gd name="T6" fmla="*/ 2147483647 w 32"/>
                <a:gd name="T7" fmla="*/ 2147483647 h 43"/>
                <a:gd name="T8" fmla="*/ 2147483647 w 32"/>
                <a:gd name="T9" fmla="*/ 2147483647 h 43"/>
                <a:gd name="T10" fmla="*/ 2147483647 w 32"/>
                <a:gd name="T11" fmla="*/ 2147483647 h 43"/>
                <a:gd name="T12" fmla="*/ 2147483647 w 32"/>
                <a:gd name="T13" fmla="*/ 2147483647 h 43"/>
                <a:gd name="T14" fmla="*/ 2147483647 w 32"/>
                <a:gd name="T15" fmla="*/ 2147483647 h 43"/>
                <a:gd name="T16" fmla="*/ 2147483647 w 32"/>
                <a:gd name="T17" fmla="*/ 2147483647 h 43"/>
                <a:gd name="T18" fmla="*/ 2147483647 w 32"/>
                <a:gd name="T19" fmla="*/ 2147483647 h 43"/>
                <a:gd name="T20" fmla="*/ 2147483647 w 32"/>
                <a:gd name="T21" fmla="*/ 2147483647 h 43"/>
                <a:gd name="T22" fmla="*/ 2147483647 w 32"/>
                <a:gd name="T23" fmla="*/ 2147483647 h 43"/>
                <a:gd name="T24" fmla="*/ 2147483647 w 32"/>
                <a:gd name="T25" fmla="*/ 2147483647 h 43"/>
                <a:gd name="T26" fmla="*/ 2147483647 w 32"/>
                <a:gd name="T27" fmla="*/ 2147483647 h 43"/>
                <a:gd name="T28" fmla="*/ 2147483647 w 32"/>
                <a:gd name="T29" fmla="*/ 2147483647 h 43"/>
                <a:gd name="T30" fmla="*/ 0 w 32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"/>
                <a:gd name="T49" fmla="*/ 0 h 43"/>
                <a:gd name="T50" fmla="*/ 32 w 32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" h="43">
                  <a:moveTo>
                    <a:pt x="0" y="4"/>
                  </a:moveTo>
                  <a:lnTo>
                    <a:pt x="6" y="0"/>
                  </a:lnTo>
                  <a:lnTo>
                    <a:pt x="20" y="0"/>
                  </a:lnTo>
                  <a:lnTo>
                    <a:pt x="25" y="7"/>
                  </a:lnTo>
                  <a:lnTo>
                    <a:pt x="28" y="20"/>
                  </a:lnTo>
                  <a:lnTo>
                    <a:pt x="32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8" y="41"/>
                  </a:lnTo>
                  <a:lnTo>
                    <a:pt x="18" y="35"/>
                  </a:lnTo>
                  <a:lnTo>
                    <a:pt x="15" y="31"/>
                  </a:lnTo>
                  <a:lnTo>
                    <a:pt x="11" y="14"/>
                  </a:lnTo>
                  <a:lnTo>
                    <a:pt x="6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7" name="Freeform 351"/>
            <p:cNvSpPr>
              <a:spLocks/>
            </p:cNvSpPr>
            <p:nvPr/>
          </p:nvSpPr>
          <p:spPr bwMode="gray">
            <a:xfrm>
              <a:off x="3162" y="1349"/>
              <a:ext cx="7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8" name="Freeform 352"/>
            <p:cNvSpPr>
              <a:spLocks/>
            </p:cNvSpPr>
            <p:nvPr/>
          </p:nvSpPr>
          <p:spPr bwMode="gray">
            <a:xfrm>
              <a:off x="3101" y="1347"/>
              <a:ext cx="27" cy="7"/>
            </a:xfrm>
            <a:custGeom>
              <a:avLst/>
              <a:gdLst>
                <a:gd name="T0" fmla="*/ 0 w 21"/>
                <a:gd name="T1" fmla="*/ 2147483647 h 5"/>
                <a:gd name="T2" fmla="*/ 2147483647 w 21"/>
                <a:gd name="T3" fmla="*/ 2147483647 h 5"/>
                <a:gd name="T4" fmla="*/ 2147483647 w 21"/>
                <a:gd name="T5" fmla="*/ 2147483647 h 5"/>
                <a:gd name="T6" fmla="*/ 2147483647 w 21"/>
                <a:gd name="T7" fmla="*/ 0 h 5"/>
                <a:gd name="T8" fmla="*/ 2147483647 w 21"/>
                <a:gd name="T9" fmla="*/ 0 h 5"/>
                <a:gd name="T10" fmla="*/ 2147483647 w 21"/>
                <a:gd name="T11" fmla="*/ 2147483647 h 5"/>
                <a:gd name="T12" fmla="*/ 2147483647 w 21"/>
                <a:gd name="T13" fmla="*/ 2147483647 h 5"/>
                <a:gd name="T14" fmla="*/ 2147483647 w 21"/>
                <a:gd name="T15" fmla="*/ 2147483647 h 5"/>
                <a:gd name="T16" fmla="*/ 0 w 21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"/>
                <a:gd name="T29" fmla="*/ 21 w 21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">
                  <a:moveTo>
                    <a:pt x="0" y="4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3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59" name="Freeform 353"/>
            <p:cNvSpPr>
              <a:spLocks/>
            </p:cNvSpPr>
            <p:nvPr/>
          </p:nvSpPr>
          <p:spPr bwMode="gray">
            <a:xfrm>
              <a:off x="3062" y="1388"/>
              <a:ext cx="19" cy="2"/>
            </a:xfrm>
            <a:custGeom>
              <a:avLst/>
              <a:gdLst>
                <a:gd name="T0" fmla="*/ 0 w 15"/>
                <a:gd name="T1" fmla="*/ 2147483646 h 2"/>
                <a:gd name="T2" fmla="*/ 2147483647 w 15"/>
                <a:gd name="T3" fmla="*/ 0 h 2"/>
                <a:gd name="T4" fmla="*/ 2147483647 w 15"/>
                <a:gd name="T5" fmla="*/ 0 h 2"/>
                <a:gd name="T6" fmla="*/ 2147483647 w 15"/>
                <a:gd name="T7" fmla="*/ 2147483646 h 2"/>
                <a:gd name="T8" fmla="*/ 2147483647 w 15"/>
                <a:gd name="T9" fmla="*/ 2147483646 h 2"/>
                <a:gd name="T10" fmla="*/ 2147483647 w 15"/>
                <a:gd name="T11" fmla="*/ 2147483646 h 2"/>
                <a:gd name="T12" fmla="*/ 2147483647 w 15"/>
                <a:gd name="T13" fmla="*/ 2147483646 h 2"/>
                <a:gd name="T14" fmla="*/ 2147483647 w 15"/>
                <a:gd name="T15" fmla="*/ 2147483646 h 2"/>
                <a:gd name="T16" fmla="*/ 0 w 15"/>
                <a:gd name="T17" fmla="*/ 2147483646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"/>
                <a:gd name="T29" fmla="*/ 15 w 15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">
                  <a:moveTo>
                    <a:pt x="0" y="2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0" name="Freeform 354"/>
            <p:cNvSpPr>
              <a:spLocks/>
            </p:cNvSpPr>
            <p:nvPr/>
          </p:nvSpPr>
          <p:spPr bwMode="gray">
            <a:xfrm>
              <a:off x="3044" y="1392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0 h 4"/>
                <a:gd name="T10" fmla="*/ 2147483647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0"/>
                  </a:moveTo>
                  <a:lnTo>
                    <a:pt x="5" y="3"/>
                  </a:lnTo>
                  <a:lnTo>
                    <a:pt x="5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1" name="Freeform 355"/>
            <p:cNvSpPr>
              <a:spLocks/>
            </p:cNvSpPr>
            <p:nvPr/>
          </p:nvSpPr>
          <p:spPr bwMode="gray">
            <a:xfrm>
              <a:off x="3060" y="1349"/>
              <a:ext cx="6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2" name="Freeform 356"/>
            <p:cNvSpPr>
              <a:spLocks/>
            </p:cNvSpPr>
            <p:nvPr/>
          </p:nvSpPr>
          <p:spPr bwMode="gray">
            <a:xfrm>
              <a:off x="3034" y="1596"/>
              <a:ext cx="7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0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3" name="Freeform 357"/>
            <p:cNvSpPr>
              <a:spLocks/>
            </p:cNvSpPr>
            <p:nvPr/>
          </p:nvSpPr>
          <p:spPr bwMode="gray">
            <a:xfrm>
              <a:off x="2942" y="1340"/>
              <a:ext cx="116" cy="36"/>
            </a:xfrm>
            <a:custGeom>
              <a:avLst/>
              <a:gdLst>
                <a:gd name="T0" fmla="*/ 2147483647 w 89"/>
                <a:gd name="T1" fmla="*/ 2147483647 h 28"/>
                <a:gd name="T2" fmla="*/ 2147483647 w 89"/>
                <a:gd name="T3" fmla="*/ 2147483647 h 28"/>
                <a:gd name="T4" fmla="*/ 2147483647 w 89"/>
                <a:gd name="T5" fmla="*/ 2147483647 h 28"/>
                <a:gd name="T6" fmla="*/ 2147483647 w 89"/>
                <a:gd name="T7" fmla="*/ 2147483647 h 28"/>
                <a:gd name="T8" fmla="*/ 2147483647 w 89"/>
                <a:gd name="T9" fmla="*/ 2147483647 h 28"/>
                <a:gd name="T10" fmla="*/ 2147483647 w 89"/>
                <a:gd name="T11" fmla="*/ 2147483647 h 28"/>
                <a:gd name="T12" fmla="*/ 2147483647 w 89"/>
                <a:gd name="T13" fmla="*/ 0 h 28"/>
                <a:gd name="T14" fmla="*/ 2147483647 w 89"/>
                <a:gd name="T15" fmla="*/ 2147483647 h 28"/>
                <a:gd name="T16" fmla="*/ 2147483647 w 89"/>
                <a:gd name="T17" fmla="*/ 2147483647 h 28"/>
                <a:gd name="T18" fmla="*/ 2147483647 w 89"/>
                <a:gd name="T19" fmla="*/ 2147483647 h 28"/>
                <a:gd name="T20" fmla="*/ 2147483647 w 89"/>
                <a:gd name="T21" fmla="*/ 2147483647 h 28"/>
                <a:gd name="T22" fmla="*/ 2147483647 w 89"/>
                <a:gd name="T23" fmla="*/ 2147483647 h 28"/>
                <a:gd name="T24" fmla="*/ 2147483647 w 89"/>
                <a:gd name="T25" fmla="*/ 2147483647 h 28"/>
                <a:gd name="T26" fmla="*/ 2147483647 w 89"/>
                <a:gd name="T27" fmla="*/ 2147483647 h 28"/>
                <a:gd name="T28" fmla="*/ 2147483647 w 89"/>
                <a:gd name="T29" fmla="*/ 2147483647 h 28"/>
                <a:gd name="T30" fmla="*/ 2147483647 w 89"/>
                <a:gd name="T31" fmla="*/ 2147483647 h 28"/>
                <a:gd name="T32" fmla="*/ 2147483647 w 89"/>
                <a:gd name="T33" fmla="*/ 2147483647 h 28"/>
                <a:gd name="T34" fmla="*/ 2147483647 w 89"/>
                <a:gd name="T35" fmla="*/ 2147483647 h 28"/>
                <a:gd name="T36" fmla="*/ 2147483647 w 89"/>
                <a:gd name="T37" fmla="*/ 2147483647 h 28"/>
                <a:gd name="T38" fmla="*/ 2147483647 w 89"/>
                <a:gd name="T39" fmla="*/ 2147483647 h 28"/>
                <a:gd name="T40" fmla="*/ 2147483647 w 89"/>
                <a:gd name="T41" fmla="*/ 2147483647 h 28"/>
                <a:gd name="T42" fmla="*/ 2147483647 w 89"/>
                <a:gd name="T43" fmla="*/ 2147483647 h 28"/>
                <a:gd name="T44" fmla="*/ 2147483647 w 89"/>
                <a:gd name="T45" fmla="*/ 2147483647 h 28"/>
                <a:gd name="T46" fmla="*/ 2147483647 w 89"/>
                <a:gd name="T47" fmla="*/ 2147483647 h 28"/>
                <a:gd name="T48" fmla="*/ 2147483647 w 89"/>
                <a:gd name="T49" fmla="*/ 2147483647 h 28"/>
                <a:gd name="T50" fmla="*/ 2147483647 w 89"/>
                <a:gd name="T51" fmla="*/ 2147483647 h 28"/>
                <a:gd name="T52" fmla="*/ 2147483647 w 89"/>
                <a:gd name="T53" fmla="*/ 2147483647 h 28"/>
                <a:gd name="T54" fmla="*/ 2147483647 w 89"/>
                <a:gd name="T55" fmla="*/ 2147483647 h 28"/>
                <a:gd name="T56" fmla="*/ 2147483647 w 89"/>
                <a:gd name="T57" fmla="*/ 2147483647 h 28"/>
                <a:gd name="T58" fmla="*/ 2147483647 w 89"/>
                <a:gd name="T59" fmla="*/ 2147483647 h 28"/>
                <a:gd name="T60" fmla="*/ 2147483647 w 89"/>
                <a:gd name="T61" fmla="*/ 2147483647 h 28"/>
                <a:gd name="T62" fmla="*/ 2147483647 w 89"/>
                <a:gd name="T63" fmla="*/ 2147483647 h 28"/>
                <a:gd name="T64" fmla="*/ 2147483647 w 89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"/>
                <a:gd name="T100" fmla="*/ 0 h 28"/>
                <a:gd name="T101" fmla="*/ 89 w 89"/>
                <a:gd name="T102" fmla="*/ 28 h 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" h="28">
                  <a:moveTo>
                    <a:pt x="20" y="4"/>
                  </a:moveTo>
                  <a:lnTo>
                    <a:pt x="19" y="1"/>
                  </a:lnTo>
                  <a:lnTo>
                    <a:pt x="22" y="1"/>
                  </a:lnTo>
                  <a:lnTo>
                    <a:pt x="25" y="2"/>
                  </a:lnTo>
                  <a:lnTo>
                    <a:pt x="25" y="5"/>
                  </a:lnTo>
                  <a:lnTo>
                    <a:pt x="35" y="5"/>
                  </a:lnTo>
                  <a:lnTo>
                    <a:pt x="36" y="6"/>
                  </a:lnTo>
                  <a:lnTo>
                    <a:pt x="35" y="9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6"/>
                  </a:lnTo>
                  <a:lnTo>
                    <a:pt x="41" y="3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49" y="4"/>
                  </a:lnTo>
                  <a:lnTo>
                    <a:pt x="46" y="5"/>
                  </a:lnTo>
                  <a:lnTo>
                    <a:pt x="48" y="6"/>
                  </a:lnTo>
                  <a:lnTo>
                    <a:pt x="49" y="8"/>
                  </a:lnTo>
                  <a:lnTo>
                    <a:pt x="54" y="9"/>
                  </a:lnTo>
                  <a:lnTo>
                    <a:pt x="58" y="7"/>
                  </a:lnTo>
                  <a:lnTo>
                    <a:pt x="59" y="4"/>
                  </a:lnTo>
                  <a:lnTo>
                    <a:pt x="70" y="5"/>
                  </a:lnTo>
                  <a:lnTo>
                    <a:pt x="75" y="7"/>
                  </a:lnTo>
                  <a:lnTo>
                    <a:pt x="82" y="8"/>
                  </a:lnTo>
                  <a:lnTo>
                    <a:pt x="89" y="9"/>
                  </a:lnTo>
                  <a:lnTo>
                    <a:pt x="85" y="10"/>
                  </a:lnTo>
                  <a:lnTo>
                    <a:pt x="84" y="16"/>
                  </a:lnTo>
                  <a:lnTo>
                    <a:pt x="81" y="18"/>
                  </a:lnTo>
                  <a:lnTo>
                    <a:pt x="81" y="19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67" y="28"/>
                  </a:lnTo>
                  <a:lnTo>
                    <a:pt x="58" y="27"/>
                  </a:lnTo>
                  <a:lnTo>
                    <a:pt x="50" y="27"/>
                  </a:lnTo>
                  <a:lnTo>
                    <a:pt x="39" y="27"/>
                  </a:lnTo>
                  <a:lnTo>
                    <a:pt x="26" y="27"/>
                  </a:lnTo>
                  <a:lnTo>
                    <a:pt x="22" y="25"/>
                  </a:lnTo>
                  <a:lnTo>
                    <a:pt x="20" y="24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8" y="22"/>
                  </a:lnTo>
                  <a:lnTo>
                    <a:pt x="27" y="20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37" y="18"/>
                  </a:lnTo>
                  <a:lnTo>
                    <a:pt x="32" y="16"/>
                  </a:lnTo>
                  <a:lnTo>
                    <a:pt x="21" y="16"/>
                  </a:lnTo>
                  <a:lnTo>
                    <a:pt x="12" y="18"/>
                  </a:lnTo>
                  <a:lnTo>
                    <a:pt x="6" y="17"/>
                  </a:lnTo>
                  <a:lnTo>
                    <a:pt x="2" y="15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3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7"/>
                  </a:lnTo>
                  <a:lnTo>
                    <a:pt x="14" y="9"/>
                  </a:lnTo>
                  <a:lnTo>
                    <a:pt x="15" y="7"/>
                  </a:lnTo>
                  <a:lnTo>
                    <a:pt x="11" y="5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8" y="5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4" name="Freeform 358"/>
            <p:cNvSpPr>
              <a:spLocks/>
            </p:cNvSpPr>
            <p:nvPr/>
          </p:nvSpPr>
          <p:spPr bwMode="gray">
            <a:xfrm>
              <a:off x="2977" y="1624"/>
              <a:ext cx="132" cy="267"/>
            </a:xfrm>
            <a:custGeom>
              <a:avLst/>
              <a:gdLst>
                <a:gd name="T0" fmla="*/ 2147483647 w 101"/>
                <a:gd name="T1" fmla="*/ 2147483647 h 205"/>
                <a:gd name="T2" fmla="*/ 2147483647 w 101"/>
                <a:gd name="T3" fmla="*/ 2147483647 h 205"/>
                <a:gd name="T4" fmla="*/ 2147483647 w 101"/>
                <a:gd name="T5" fmla="*/ 2147483647 h 205"/>
                <a:gd name="T6" fmla="*/ 2147483647 w 101"/>
                <a:gd name="T7" fmla="*/ 2147483647 h 205"/>
                <a:gd name="T8" fmla="*/ 2147483647 w 101"/>
                <a:gd name="T9" fmla="*/ 2147483647 h 205"/>
                <a:gd name="T10" fmla="*/ 2147483647 w 101"/>
                <a:gd name="T11" fmla="*/ 2147483647 h 205"/>
                <a:gd name="T12" fmla="*/ 2147483647 w 101"/>
                <a:gd name="T13" fmla="*/ 2147483647 h 205"/>
                <a:gd name="T14" fmla="*/ 2147483647 w 101"/>
                <a:gd name="T15" fmla="*/ 2147483647 h 205"/>
                <a:gd name="T16" fmla="*/ 2147483647 w 101"/>
                <a:gd name="T17" fmla="*/ 2147483647 h 205"/>
                <a:gd name="T18" fmla="*/ 2147483647 w 101"/>
                <a:gd name="T19" fmla="*/ 2147483647 h 205"/>
                <a:gd name="T20" fmla="*/ 2147483647 w 101"/>
                <a:gd name="T21" fmla="*/ 2147483647 h 205"/>
                <a:gd name="T22" fmla="*/ 2147483647 w 101"/>
                <a:gd name="T23" fmla="*/ 2147483647 h 205"/>
                <a:gd name="T24" fmla="*/ 2147483647 w 101"/>
                <a:gd name="T25" fmla="*/ 2147483647 h 205"/>
                <a:gd name="T26" fmla="*/ 2147483647 w 101"/>
                <a:gd name="T27" fmla="*/ 2147483647 h 205"/>
                <a:gd name="T28" fmla="*/ 2147483647 w 101"/>
                <a:gd name="T29" fmla="*/ 2147483647 h 205"/>
                <a:gd name="T30" fmla="*/ 2147483647 w 101"/>
                <a:gd name="T31" fmla="*/ 2147483647 h 205"/>
                <a:gd name="T32" fmla="*/ 2147483647 w 101"/>
                <a:gd name="T33" fmla="*/ 2147483647 h 205"/>
                <a:gd name="T34" fmla="*/ 2147483647 w 101"/>
                <a:gd name="T35" fmla="*/ 2147483647 h 205"/>
                <a:gd name="T36" fmla="*/ 2147483647 w 101"/>
                <a:gd name="T37" fmla="*/ 2147483647 h 205"/>
                <a:gd name="T38" fmla="*/ 2147483647 w 101"/>
                <a:gd name="T39" fmla="*/ 2147483647 h 205"/>
                <a:gd name="T40" fmla="*/ 2147483647 w 101"/>
                <a:gd name="T41" fmla="*/ 2147483647 h 205"/>
                <a:gd name="T42" fmla="*/ 2147483647 w 101"/>
                <a:gd name="T43" fmla="*/ 2147483647 h 205"/>
                <a:gd name="T44" fmla="*/ 2147483647 w 101"/>
                <a:gd name="T45" fmla="*/ 2147483647 h 205"/>
                <a:gd name="T46" fmla="*/ 0 w 101"/>
                <a:gd name="T47" fmla="*/ 2147483647 h 205"/>
                <a:gd name="T48" fmla="*/ 2147483647 w 101"/>
                <a:gd name="T49" fmla="*/ 2147483647 h 205"/>
                <a:gd name="T50" fmla="*/ 2147483647 w 101"/>
                <a:gd name="T51" fmla="*/ 2147483647 h 205"/>
                <a:gd name="T52" fmla="*/ 2147483647 w 101"/>
                <a:gd name="T53" fmla="*/ 2147483647 h 205"/>
                <a:gd name="T54" fmla="*/ 2147483647 w 101"/>
                <a:gd name="T55" fmla="*/ 2147483647 h 205"/>
                <a:gd name="T56" fmla="*/ 2147483647 w 101"/>
                <a:gd name="T57" fmla="*/ 2147483647 h 205"/>
                <a:gd name="T58" fmla="*/ 2147483647 w 101"/>
                <a:gd name="T59" fmla="*/ 0 h 205"/>
                <a:gd name="T60" fmla="*/ 2147483647 w 101"/>
                <a:gd name="T61" fmla="*/ 2147483647 h 205"/>
                <a:gd name="T62" fmla="*/ 2147483647 w 101"/>
                <a:gd name="T63" fmla="*/ 2147483647 h 205"/>
                <a:gd name="T64" fmla="*/ 2147483647 w 101"/>
                <a:gd name="T65" fmla="*/ 2147483647 h 205"/>
                <a:gd name="T66" fmla="*/ 2147483647 w 101"/>
                <a:gd name="T67" fmla="*/ 2147483647 h 205"/>
                <a:gd name="T68" fmla="*/ 2147483647 w 101"/>
                <a:gd name="T69" fmla="*/ 2147483647 h 205"/>
                <a:gd name="T70" fmla="*/ 2147483647 w 101"/>
                <a:gd name="T71" fmla="*/ 2147483647 h 205"/>
                <a:gd name="T72" fmla="*/ 2147483647 w 101"/>
                <a:gd name="T73" fmla="*/ 2147483647 h 205"/>
                <a:gd name="T74" fmla="*/ 2147483647 w 101"/>
                <a:gd name="T75" fmla="*/ 2147483647 h 205"/>
                <a:gd name="T76" fmla="*/ 2147483647 w 101"/>
                <a:gd name="T77" fmla="*/ 2147483647 h 205"/>
                <a:gd name="T78" fmla="*/ 2147483647 w 101"/>
                <a:gd name="T79" fmla="*/ 2147483647 h 205"/>
                <a:gd name="T80" fmla="*/ 2147483647 w 101"/>
                <a:gd name="T81" fmla="*/ 2147483647 h 20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205"/>
                <a:gd name="T125" fmla="*/ 101 w 101"/>
                <a:gd name="T126" fmla="*/ 205 h 20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205">
                  <a:moveTo>
                    <a:pt x="72" y="189"/>
                  </a:moveTo>
                  <a:lnTo>
                    <a:pt x="64" y="193"/>
                  </a:lnTo>
                  <a:lnTo>
                    <a:pt x="60" y="191"/>
                  </a:lnTo>
                  <a:lnTo>
                    <a:pt x="58" y="193"/>
                  </a:lnTo>
                  <a:lnTo>
                    <a:pt x="49" y="195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201"/>
                  </a:lnTo>
                  <a:lnTo>
                    <a:pt x="33" y="201"/>
                  </a:lnTo>
                  <a:lnTo>
                    <a:pt x="29" y="203"/>
                  </a:lnTo>
                  <a:lnTo>
                    <a:pt x="24" y="205"/>
                  </a:lnTo>
                  <a:lnTo>
                    <a:pt x="21" y="204"/>
                  </a:lnTo>
                  <a:lnTo>
                    <a:pt x="20" y="198"/>
                  </a:lnTo>
                  <a:lnTo>
                    <a:pt x="15" y="198"/>
                  </a:lnTo>
                  <a:lnTo>
                    <a:pt x="13" y="194"/>
                  </a:lnTo>
                  <a:lnTo>
                    <a:pt x="9" y="194"/>
                  </a:lnTo>
                  <a:lnTo>
                    <a:pt x="7" y="178"/>
                  </a:lnTo>
                  <a:lnTo>
                    <a:pt x="10" y="175"/>
                  </a:lnTo>
                  <a:lnTo>
                    <a:pt x="8" y="167"/>
                  </a:lnTo>
                  <a:lnTo>
                    <a:pt x="7" y="162"/>
                  </a:lnTo>
                  <a:lnTo>
                    <a:pt x="5" y="155"/>
                  </a:lnTo>
                  <a:lnTo>
                    <a:pt x="5" y="150"/>
                  </a:lnTo>
                  <a:lnTo>
                    <a:pt x="5" y="145"/>
                  </a:lnTo>
                  <a:lnTo>
                    <a:pt x="10" y="140"/>
                  </a:lnTo>
                  <a:lnTo>
                    <a:pt x="10" y="135"/>
                  </a:lnTo>
                  <a:lnTo>
                    <a:pt x="14" y="134"/>
                  </a:lnTo>
                  <a:lnTo>
                    <a:pt x="16" y="129"/>
                  </a:lnTo>
                  <a:lnTo>
                    <a:pt x="20" y="125"/>
                  </a:lnTo>
                  <a:lnTo>
                    <a:pt x="23" y="124"/>
                  </a:lnTo>
                  <a:lnTo>
                    <a:pt x="25" y="117"/>
                  </a:lnTo>
                  <a:lnTo>
                    <a:pt x="29" y="115"/>
                  </a:lnTo>
                  <a:lnTo>
                    <a:pt x="35" y="108"/>
                  </a:lnTo>
                  <a:lnTo>
                    <a:pt x="39" y="95"/>
                  </a:lnTo>
                  <a:lnTo>
                    <a:pt x="43" y="95"/>
                  </a:lnTo>
                  <a:lnTo>
                    <a:pt x="46" y="91"/>
                  </a:lnTo>
                  <a:lnTo>
                    <a:pt x="45" y="87"/>
                  </a:lnTo>
                  <a:lnTo>
                    <a:pt x="46" y="82"/>
                  </a:lnTo>
                  <a:lnTo>
                    <a:pt x="38" y="74"/>
                  </a:lnTo>
                  <a:lnTo>
                    <a:pt x="31" y="72"/>
                  </a:lnTo>
                  <a:lnTo>
                    <a:pt x="29" y="64"/>
                  </a:lnTo>
                  <a:lnTo>
                    <a:pt x="31" y="54"/>
                  </a:lnTo>
                  <a:lnTo>
                    <a:pt x="29" y="46"/>
                  </a:lnTo>
                  <a:lnTo>
                    <a:pt x="23" y="42"/>
                  </a:lnTo>
                  <a:lnTo>
                    <a:pt x="27" y="35"/>
                  </a:lnTo>
                  <a:lnTo>
                    <a:pt x="14" y="25"/>
                  </a:lnTo>
                  <a:lnTo>
                    <a:pt x="8" y="25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8" y="21"/>
                  </a:lnTo>
                  <a:lnTo>
                    <a:pt x="25" y="22"/>
                  </a:lnTo>
                  <a:lnTo>
                    <a:pt x="32" y="19"/>
                  </a:lnTo>
                  <a:lnTo>
                    <a:pt x="37" y="19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50" y="16"/>
                  </a:lnTo>
                  <a:lnTo>
                    <a:pt x="51" y="4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76" y="4"/>
                  </a:lnTo>
                  <a:lnTo>
                    <a:pt x="76" y="14"/>
                  </a:lnTo>
                  <a:lnTo>
                    <a:pt x="70" y="22"/>
                  </a:lnTo>
                  <a:lnTo>
                    <a:pt x="70" y="27"/>
                  </a:lnTo>
                  <a:lnTo>
                    <a:pt x="78" y="32"/>
                  </a:lnTo>
                  <a:lnTo>
                    <a:pt x="82" y="41"/>
                  </a:lnTo>
                  <a:lnTo>
                    <a:pt x="76" y="49"/>
                  </a:lnTo>
                  <a:lnTo>
                    <a:pt x="85" y="64"/>
                  </a:lnTo>
                  <a:lnTo>
                    <a:pt x="84" y="76"/>
                  </a:lnTo>
                  <a:lnTo>
                    <a:pt x="85" y="84"/>
                  </a:lnTo>
                  <a:lnTo>
                    <a:pt x="83" y="93"/>
                  </a:lnTo>
                  <a:lnTo>
                    <a:pt x="87" y="97"/>
                  </a:lnTo>
                  <a:lnTo>
                    <a:pt x="85" y="102"/>
                  </a:lnTo>
                  <a:lnTo>
                    <a:pt x="89" y="110"/>
                  </a:lnTo>
                  <a:lnTo>
                    <a:pt x="89" y="116"/>
                  </a:lnTo>
                  <a:lnTo>
                    <a:pt x="85" y="123"/>
                  </a:lnTo>
                  <a:lnTo>
                    <a:pt x="87" y="129"/>
                  </a:lnTo>
                  <a:lnTo>
                    <a:pt x="93" y="131"/>
                  </a:lnTo>
                  <a:lnTo>
                    <a:pt x="101" y="142"/>
                  </a:lnTo>
                  <a:lnTo>
                    <a:pt x="84" y="164"/>
                  </a:lnTo>
                  <a:lnTo>
                    <a:pt x="74" y="179"/>
                  </a:lnTo>
                  <a:lnTo>
                    <a:pt x="72" y="1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5" name="Freeform 359"/>
            <p:cNvSpPr>
              <a:spLocks/>
            </p:cNvSpPr>
            <p:nvPr/>
          </p:nvSpPr>
          <p:spPr bwMode="gray">
            <a:xfrm>
              <a:off x="3008" y="1900"/>
              <a:ext cx="52" cy="48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0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0 h 37"/>
                <a:gd name="T28" fmla="*/ 2147483647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37"/>
                <a:gd name="T59" fmla="*/ 40 w 40"/>
                <a:gd name="T60" fmla="*/ 37 h 3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37">
                  <a:moveTo>
                    <a:pt x="40" y="36"/>
                  </a:moveTo>
                  <a:lnTo>
                    <a:pt x="30" y="37"/>
                  </a:lnTo>
                  <a:lnTo>
                    <a:pt x="25" y="35"/>
                  </a:lnTo>
                  <a:lnTo>
                    <a:pt x="22" y="29"/>
                  </a:lnTo>
                  <a:lnTo>
                    <a:pt x="17" y="29"/>
                  </a:lnTo>
                  <a:lnTo>
                    <a:pt x="11" y="30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28" y="1"/>
                  </a:lnTo>
                  <a:lnTo>
                    <a:pt x="40" y="2"/>
                  </a:lnTo>
                  <a:lnTo>
                    <a:pt x="37" y="19"/>
                  </a:lnTo>
                  <a:lnTo>
                    <a:pt x="40" y="27"/>
                  </a:lnTo>
                  <a:lnTo>
                    <a:pt x="40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6" name="Freeform 360"/>
            <p:cNvSpPr>
              <a:spLocks/>
            </p:cNvSpPr>
            <p:nvPr/>
          </p:nvSpPr>
          <p:spPr bwMode="gray">
            <a:xfrm>
              <a:off x="3024" y="1596"/>
              <a:ext cx="7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2147483647 h 2"/>
                <a:gd name="T4" fmla="*/ 0 w 5"/>
                <a:gd name="T5" fmla="*/ 2147483647 h 2"/>
                <a:gd name="T6" fmla="*/ 2147483647 w 5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2"/>
                <a:gd name="T14" fmla="*/ 5 w 5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2">
                  <a:moveTo>
                    <a:pt x="4" y="0"/>
                  </a:moveTo>
                  <a:lnTo>
                    <a:pt x="5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7" name="Freeform 361"/>
            <p:cNvSpPr>
              <a:spLocks/>
            </p:cNvSpPr>
            <p:nvPr/>
          </p:nvSpPr>
          <p:spPr bwMode="gray">
            <a:xfrm>
              <a:off x="2789" y="1596"/>
              <a:ext cx="311" cy="350"/>
            </a:xfrm>
            <a:custGeom>
              <a:avLst/>
              <a:gdLst>
                <a:gd name="T0" fmla="*/ 2147483647 w 239"/>
                <a:gd name="T1" fmla="*/ 2147483647 h 268"/>
                <a:gd name="T2" fmla="*/ 2147483647 w 239"/>
                <a:gd name="T3" fmla="*/ 2147483647 h 268"/>
                <a:gd name="T4" fmla="*/ 2147483647 w 239"/>
                <a:gd name="T5" fmla="*/ 2147483647 h 268"/>
                <a:gd name="T6" fmla="*/ 2147483647 w 239"/>
                <a:gd name="T7" fmla="*/ 2147483647 h 268"/>
                <a:gd name="T8" fmla="*/ 2147483647 w 239"/>
                <a:gd name="T9" fmla="*/ 2147483647 h 268"/>
                <a:gd name="T10" fmla="*/ 2147483647 w 239"/>
                <a:gd name="T11" fmla="*/ 2147483647 h 268"/>
                <a:gd name="T12" fmla="*/ 2147483647 w 239"/>
                <a:gd name="T13" fmla="*/ 2147483647 h 268"/>
                <a:gd name="T14" fmla="*/ 2147483647 w 239"/>
                <a:gd name="T15" fmla="*/ 2147483647 h 268"/>
                <a:gd name="T16" fmla="*/ 2147483647 w 239"/>
                <a:gd name="T17" fmla="*/ 2147483647 h 268"/>
                <a:gd name="T18" fmla="*/ 2147483647 w 239"/>
                <a:gd name="T19" fmla="*/ 2147483647 h 268"/>
                <a:gd name="T20" fmla="*/ 2147483647 w 239"/>
                <a:gd name="T21" fmla="*/ 2147483647 h 268"/>
                <a:gd name="T22" fmla="*/ 2147483647 w 239"/>
                <a:gd name="T23" fmla="*/ 2147483647 h 268"/>
                <a:gd name="T24" fmla="*/ 2147483647 w 239"/>
                <a:gd name="T25" fmla="*/ 2147483647 h 268"/>
                <a:gd name="T26" fmla="*/ 2147483647 w 239"/>
                <a:gd name="T27" fmla="*/ 2147483647 h 268"/>
                <a:gd name="T28" fmla="*/ 2147483647 w 239"/>
                <a:gd name="T29" fmla="*/ 2147483647 h 268"/>
                <a:gd name="T30" fmla="*/ 2147483647 w 239"/>
                <a:gd name="T31" fmla="*/ 2147483647 h 268"/>
                <a:gd name="T32" fmla="*/ 2147483647 w 239"/>
                <a:gd name="T33" fmla="*/ 2147483647 h 268"/>
                <a:gd name="T34" fmla="*/ 2147483647 w 239"/>
                <a:gd name="T35" fmla="*/ 2147483647 h 268"/>
                <a:gd name="T36" fmla="*/ 2147483647 w 239"/>
                <a:gd name="T37" fmla="*/ 2147483647 h 268"/>
                <a:gd name="T38" fmla="*/ 2147483647 w 239"/>
                <a:gd name="T39" fmla="*/ 2147483647 h 268"/>
                <a:gd name="T40" fmla="*/ 2147483647 w 239"/>
                <a:gd name="T41" fmla="*/ 2147483647 h 268"/>
                <a:gd name="T42" fmla="*/ 2147483647 w 239"/>
                <a:gd name="T43" fmla="*/ 2147483647 h 268"/>
                <a:gd name="T44" fmla="*/ 2147483647 w 239"/>
                <a:gd name="T45" fmla="*/ 2147483647 h 268"/>
                <a:gd name="T46" fmla="*/ 2147483647 w 239"/>
                <a:gd name="T47" fmla="*/ 2147483647 h 268"/>
                <a:gd name="T48" fmla="*/ 2147483647 w 239"/>
                <a:gd name="T49" fmla="*/ 2147483647 h 268"/>
                <a:gd name="T50" fmla="*/ 0 w 239"/>
                <a:gd name="T51" fmla="*/ 2147483647 h 268"/>
                <a:gd name="T52" fmla="*/ 2147483647 w 239"/>
                <a:gd name="T53" fmla="*/ 2147483647 h 268"/>
                <a:gd name="T54" fmla="*/ 2147483647 w 239"/>
                <a:gd name="T55" fmla="*/ 2147483647 h 268"/>
                <a:gd name="T56" fmla="*/ 2147483647 w 239"/>
                <a:gd name="T57" fmla="*/ 2147483647 h 268"/>
                <a:gd name="T58" fmla="*/ 2147483647 w 239"/>
                <a:gd name="T59" fmla="*/ 2147483647 h 268"/>
                <a:gd name="T60" fmla="*/ 2147483647 w 239"/>
                <a:gd name="T61" fmla="*/ 2147483647 h 268"/>
                <a:gd name="T62" fmla="*/ 2147483647 w 239"/>
                <a:gd name="T63" fmla="*/ 2147483647 h 268"/>
                <a:gd name="T64" fmla="*/ 2147483647 w 239"/>
                <a:gd name="T65" fmla="*/ 2147483647 h 268"/>
                <a:gd name="T66" fmla="*/ 2147483647 w 239"/>
                <a:gd name="T67" fmla="*/ 2147483647 h 268"/>
                <a:gd name="T68" fmla="*/ 2147483647 w 239"/>
                <a:gd name="T69" fmla="*/ 2147483647 h 268"/>
                <a:gd name="T70" fmla="*/ 2147483647 w 239"/>
                <a:gd name="T71" fmla="*/ 2147483647 h 268"/>
                <a:gd name="T72" fmla="*/ 2147483647 w 239"/>
                <a:gd name="T73" fmla="*/ 2147483647 h 268"/>
                <a:gd name="T74" fmla="*/ 2147483647 w 239"/>
                <a:gd name="T75" fmla="*/ 2147483647 h 268"/>
                <a:gd name="T76" fmla="*/ 2147483647 w 239"/>
                <a:gd name="T77" fmla="*/ 2147483647 h 268"/>
                <a:gd name="T78" fmla="*/ 2147483647 w 239"/>
                <a:gd name="T79" fmla="*/ 2147483647 h 268"/>
                <a:gd name="T80" fmla="*/ 2147483647 w 239"/>
                <a:gd name="T81" fmla="*/ 2147483647 h 268"/>
                <a:gd name="T82" fmla="*/ 2147483647 w 239"/>
                <a:gd name="T83" fmla="*/ 2147483647 h 268"/>
                <a:gd name="T84" fmla="*/ 2147483647 w 239"/>
                <a:gd name="T85" fmla="*/ 2147483647 h 268"/>
                <a:gd name="T86" fmla="*/ 2147483647 w 239"/>
                <a:gd name="T87" fmla="*/ 2147483647 h 268"/>
                <a:gd name="T88" fmla="*/ 2147483647 w 239"/>
                <a:gd name="T89" fmla="*/ 2147483647 h 268"/>
                <a:gd name="T90" fmla="*/ 2147483647 w 239"/>
                <a:gd name="T91" fmla="*/ 2147483647 h 268"/>
                <a:gd name="T92" fmla="*/ 2147483647 w 239"/>
                <a:gd name="T93" fmla="*/ 2147483647 h 268"/>
                <a:gd name="T94" fmla="*/ 2147483647 w 239"/>
                <a:gd name="T95" fmla="*/ 2147483647 h 268"/>
                <a:gd name="T96" fmla="*/ 2147483647 w 239"/>
                <a:gd name="T97" fmla="*/ 2147483647 h 268"/>
                <a:gd name="T98" fmla="*/ 2147483647 w 239"/>
                <a:gd name="T99" fmla="*/ 2147483647 h 268"/>
                <a:gd name="T100" fmla="*/ 2147483647 w 239"/>
                <a:gd name="T101" fmla="*/ 2147483647 h 268"/>
                <a:gd name="T102" fmla="*/ 2147483647 w 239"/>
                <a:gd name="T103" fmla="*/ 2147483647 h 268"/>
                <a:gd name="T104" fmla="*/ 2147483647 w 239"/>
                <a:gd name="T105" fmla="*/ 2147483647 h 268"/>
                <a:gd name="T106" fmla="*/ 2147483647 w 239"/>
                <a:gd name="T107" fmla="*/ 0 h 268"/>
                <a:gd name="T108" fmla="*/ 2147483647 w 239"/>
                <a:gd name="T109" fmla="*/ 2147483647 h 268"/>
                <a:gd name="T110" fmla="*/ 2147483647 w 239"/>
                <a:gd name="T111" fmla="*/ 2147483647 h 268"/>
                <a:gd name="T112" fmla="*/ 2147483647 w 239"/>
                <a:gd name="T113" fmla="*/ 2147483647 h 268"/>
                <a:gd name="T114" fmla="*/ 2147483647 w 239"/>
                <a:gd name="T115" fmla="*/ 2147483647 h 2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39"/>
                <a:gd name="T175" fmla="*/ 0 h 268"/>
                <a:gd name="T176" fmla="*/ 239 w 239"/>
                <a:gd name="T177" fmla="*/ 268 h 2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39" h="268">
                  <a:moveTo>
                    <a:pt x="221" y="35"/>
                  </a:moveTo>
                  <a:lnTo>
                    <a:pt x="221" y="25"/>
                  </a:lnTo>
                  <a:lnTo>
                    <a:pt x="212" y="20"/>
                  </a:lnTo>
                  <a:lnTo>
                    <a:pt x="204" y="21"/>
                  </a:lnTo>
                  <a:lnTo>
                    <a:pt x="196" y="25"/>
                  </a:lnTo>
                  <a:lnTo>
                    <a:pt x="195" y="37"/>
                  </a:lnTo>
                  <a:lnTo>
                    <a:pt x="188" y="42"/>
                  </a:lnTo>
                  <a:lnTo>
                    <a:pt x="186" y="42"/>
                  </a:lnTo>
                  <a:lnTo>
                    <a:pt x="182" y="40"/>
                  </a:lnTo>
                  <a:lnTo>
                    <a:pt x="177" y="40"/>
                  </a:lnTo>
                  <a:lnTo>
                    <a:pt x="170" y="43"/>
                  </a:lnTo>
                  <a:lnTo>
                    <a:pt x="163" y="41"/>
                  </a:lnTo>
                  <a:lnTo>
                    <a:pt x="155" y="33"/>
                  </a:lnTo>
                  <a:lnTo>
                    <a:pt x="149" y="33"/>
                  </a:lnTo>
                  <a:lnTo>
                    <a:pt x="145" y="36"/>
                  </a:lnTo>
                  <a:lnTo>
                    <a:pt x="140" y="36"/>
                  </a:lnTo>
                  <a:lnTo>
                    <a:pt x="138" y="44"/>
                  </a:lnTo>
                  <a:lnTo>
                    <a:pt x="133" y="46"/>
                  </a:lnTo>
                  <a:lnTo>
                    <a:pt x="128" y="44"/>
                  </a:lnTo>
                  <a:lnTo>
                    <a:pt x="122" y="45"/>
                  </a:lnTo>
                  <a:lnTo>
                    <a:pt x="120" y="51"/>
                  </a:lnTo>
                  <a:lnTo>
                    <a:pt x="113" y="53"/>
                  </a:lnTo>
                  <a:lnTo>
                    <a:pt x="110" y="58"/>
                  </a:lnTo>
                  <a:lnTo>
                    <a:pt x="103" y="64"/>
                  </a:lnTo>
                  <a:lnTo>
                    <a:pt x="106" y="66"/>
                  </a:lnTo>
                  <a:lnTo>
                    <a:pt x="105" y="71"/>
                  </a:lnTo>
                  <a:lnTo>
                    <a:pt x="95" y="82"/>
                  </a:lnTo>
                  <a:lnTo>
                    <a:pt x="90" y="84"/>
                  </a:lnTo>
                  <a:lnTo>
                    <a:pt x="86" y="90"/>
                  </a:lnTo>
                  <a:lnTo>
                    <a:pt x="89" y="96"/>
                  </a:lnTo>
                  <a:lnTo>
                    <a:pt x="87" y="115"/>
                  </a:lnTo>
                  <a:lnTo>
                    <a:pt x="81" y="125"/>
                  </a:lnTo>
                  <a:lnTo>
                    <a:pt x="86" y="134"/>
                  </a:lnTo>
                  <a:lnTo>
                    <a:pt x="81" y="141"/>
                  </a:lnTo>
                  <a:lnTo>
                    <a:pt x="72" y="138"/>
                  </a:lnTo>
                  <a:lnTo>
                    <a:pt x="67" y="145"/>
                  </a:lnTo>
                  <a:lnTo>
                    <a:pt x="67" y="162"/>
                  </a:lnTo>
                  <a:lnTo>
                    <a:pt x="69" y="187"/>
                  </a:lnTo>
                  <a:lnTo>
                    <a:pt x="73" y="193"/>
                  </a:lnTo>
                  <a:lnTo>
                    <a:pt x="73" y="202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71" y="213"/>
                  </a:lnTo>
                  <a:lnTo>
                    <a:pt x="69" y="220"/>
                  </a:lnTo>
                  <a:lnTo>
                    <a:pt x="66" y="224"/>
                  </a:lnTo>
                  <a:lnTo>
                    <a:pt x="64" y="243"/>
                  </a:lnTo>
                  <a:lnTo>
                    <a:pt x="63" y="248"/>
                  </a:lnTo>
                  <a:lnTo>
                    <a:pt x="61" y="257"/>
                  </a:lnTo>
                  <a:lnTo>
                    <a:pt x="59" y="251"/>
                  </a:lnTo>
                  <a:lnTo>
                    <a:pt x="59" y="245"/>
                  </a:lnTo>
                  <a:lnTo>
                    <a:pt x="54" y="240"/>
                  </a:lnTo>
                  <a:lnTo>
                    <a:pt x="56" y="234"/>
                  </a:lnTo>
                  <a:lnTo>
                    <a:pt x="53" y="233"/>
                  </a:lnTo>
                  <a:lnTo>
                    <a:pt x="51" y="235"/>
                  </a:lnTo>
                  <a:lnTo>
                    <a:pt x="51" y="241"/>
                  </a:lnTo>
                  <a:lnTo>
                    <a:pt x="47" y="245"/>
                  </a:lnTo>
                  <a:lnTo>
                    <a:pt x="42" y="245"/>
                  </a:lnTo>
                  <a:lnTo>
                    <a:pt x="43" y="243"/>
                  </a:lnTo>
                  <a:lnTo>
                    <a:pt x="39" y="246"/>
                  </a:lnTo>
                  <a:lnTo>
                    <a:pt x="39" y="249"/>
                  </a:lnTo>
                  <a:lnTo>
                    <a:pt x="33" y="258"/>
                  </a:lnTo>
                  <a:lnTo>
                    <a:pt x="29" y="261"/>
                  </a:lnTo>
                  <a:lnTo>
                    <a:pt x="24" y="265"/>
                  </a:lnTo>
                  <a:lnTo>
                    <a:pt x="18" y="268"/>
                  </a:lnTo>
                  <a:lnTo>
                    <a:pt x="15" y="262"/>
                  </a:lnTo>
                  <a:lnTo>
                    <a:pt x="18" y="257"/>
                  </a:lnTo>
                  <a:lnTo>
                    <a:pt x="15" y="256"/>
                  </a:lnTo>
                  <a:lnTo>
                    <a:pt x="14" y="258"/>
                  </a:lnTo>
                  <a:lnTo>
                    <a:pt x="9" y="258"/>
                  </a:lnTo>
                  <a:lnTo>
                    <a:pt x="9" y="253"/>
                  </a:lnTo>
                  <a:lnTo>
                    <a:pt x="7" y="253"/>
                  </a:lnTo>
                  <a:lnTo>
                    <a:pt x="4" y="248"/>
                  </a:lnTo>
                  <a:lnTo>
                    <a:pt x="5" y="245"/>
                  </a:lnTo>
                  <a:lnTo>
                    <a:pt x="9" y="244"/>
                  </a:lnTo>
                  <a:lnTo>
                    <a:pt x="9" y="240"/>
                  </a:lnTo>
                  <a:lnTo>
                    <a:pt x="12" y="236"/>
                  </a:lnTo>
                  <a:lnTo>
                    <a:pt x="9" y="235"/>
                  </a:lnTo>
                  <a:lnTo>
                    <a:pt x="7" y="238"/>
                  </a:lnTo>
                  <a:lnTo>
                    <a:pt x="3" y="239"/>
                  </a:lnTo>
                  <a:lnTo>
                    <a:pt x="3" y="235"/>
                  </a:lnTo>
                  <a:lnTo>
                    <a:pt x="4" y="231"/>
                  </a:lnTo>
                  <a:lnTo>
                    <a:pt x="8" y="229"/>
                  </a:lnTo>
                  <a:lnTo>
                    <a:pt x="10" y="225"/>
                  </a:lnTo>
                  <a:lnTo>
                    <a:pt x="14" y="219"/>
                  </a:lnTo>
                  <a:lnTo>
                    <a:pt x="15" y="215"/>
                  </a:lnTo>
                  <a:lnTo>
                    <a:pt x="13" y="216"/>
                  </a:lnTo>
                  <a:lnTo>
                    <a:pt x="9" y="221"/>
                  </a:lnTo>
                  <a:lnTo>
                    <a:pt x="6" y="221"/>
                  </a:lnTo>
                  <a:lnTo>
                    <a:pt x="3" y="219"/>
                  </a:lnTo>
                  <a:lnTo>
                    <a:pt x="6" y="215"/>
                  </a:lnTo>
                  <a:lnTo>
                    <a:pt x="5" y="213"/>
                  </a:lnTo>
                  <a:lnTo>
                    <a:pt x="3" y="211"/>
                  </a:lnTo>
                  <a:lnTo>
                    <a:pt x="2" y="207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4" y="205"/>
                  </a:lnTo>
                  <a:lnTo>
                    <a:pt x="17" y="204"/>
                  </a:lnTo>
                  <a:lnTo>
                    <a:pt x="21" y="203"/>
                  </a:lnTo>
                  <a:lnTo>
                    <a:pt x="22" y="200"/>
                  </a:lnTo>
                  <a:lnTo>
                    <a:pt x="18" y="201"/>
                  </a:lnTo>
                  <a:lnTo>
                    <a:pt x="15" y="202"/>
                  </a:lnTo>
                  <a:lnTo>
                    <a:pt x="7" y="202"/>
                  </a:lnTo>
                  <a:lnTo>
                    <a:pt x="5" y="204"/>
                  </a:lnTo>
                  <a:lnTo>
                    <a:pt x="0" y="203"/>
                  </a:lnTo>
                  <a:lnTo>
                    <a:pt x="1" y="196"/>
                  </a:lnTo>
                  <a:lnTo>
                    <a:pt x="0" y="190"/>
                  </a:lnTo>
                  <a:lnTo>
                    <a:pt x="2" y="188"/>
                  </a:lnTo>
                  <a:lnTo>
                    <a:pt x="2" y="185"/>
                  </a:lnTo>
                  <a:lnTo>
                    <a:pt x="4" y="182"/>
                  </a:lnTo>
                  <a:lnTo>
                    <a:pt x="7" y="181"/>
                  </a:lnTo>
                  <a:lnTo>
                    <a:pt x="10" y="175"/>
                  </a:lnTo>
                  <a:lnTo>
                    <a:pt x="18" y="175"/>
                  </a:lnTo>
                  <a:lnTo>
                    <a:pt x="18" y="173"/>
                  </a:lnTo>
                  <a:lnTo>
                    <a:pt x="15" y="172"/>
                  </a:lnTo>
                  <a:lnTo>
                    <a:pt x="16" y="169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1"/>
                  </a:lnTo>
                  <a:lnTo>
                    <a:pt x="28" y="161"/>
                  </a:lnTo>
                  <a:lnTo>
                    <a:pt x="29" y="158"/>
                  </a:lnTo>
                  <a:lnTo>
                    <a:pt x="35" y="154"/>
                  </a:lnTo>
                  <a:lnTo>
                    <a:pt x="38" y="155"/>
                  </a:lnTo>
                  <a:lnTo>
                    <a:pt x="39" y="152"/>
                  </a:lnTo>
                  <a:lnTo>
                    <a:pt x="42" y="150"/>
                  </a:lnTo>
                  <a:lnTo>
                    <a:pt x="43" y="14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64" y="113"/>
                  </a:lnTo>
                  <a:lnTo>
                    <a:pt x="68" y="112"/>
                  </a:lnTo>
                  <a:lnTo>
                    <a:pt x="71" y="108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70" y="103"/>
                  </a:lnTo>
                  <a:lnTo>
                    <a:pt x="72" y="95"/>
                  </a:lnTo>
                  <a:lnTo>
                    <a:pt x="73" y="88"/>
                  </a:lnTo>
                  <a:lnTo>
                    <a:pt x="79" y="88"/>
                  </a:lnTo>
                  <a:lnTo>
                    <a:pt x="82" y="84"/>
                  </a:lnTo>
                  <a:lnTo>
                    <a:pt x="79" y="82"/>
                  </a:lnTo>
                  <a:lnTo>
                    <a:pt x="74" y="84"/>
                  </a:lnTo>
                  <a:lnTo>
                    <a:pt x="74" y="78"/>
                  </a:lnTo>
                  <a:lnTo>
                    <a:pt x="77" y="77"/>
                  </a:lnTo>
                  <a:lnTo>
                    <a:pt x="83" y="71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4" y="66"/>
                  </a:lnTo>
                  <a:lnTo>
                    <a:pt x="90" y="65"/>
                  </a:lnTo>
                  <a:lnTo>
                    <a:pt x="90" y="64"/>
                  </a:lnTo>
                  <a:lnTo>
                    <a:pt x="94" y="63"/>
                  </a:lnTo>
                  <a:lnTo>
                    <a:pt x="98" y="63"/>
                  </a:lnTo>
                  <a:lnTo>
                    <a:pt x="99" y="60"/>
                  </a:lnTo>
                  <a:lnTo>
                    <a:pt x="92" y="60"/>
                  </a:lnTo>
                  <a:lnTo>
                    <a:pt x="100" y="53"/>
                  </a:lnTo>
                  <a:lnTo>
                    <a:pt x="103" y="55"/>
                  </a:lnTo>
                  <a:lnTo>
                    <a:pt x="106" y="54"/>
                  </a:lnTo>
                  <a:lnTo>
                    <a:pt x="105" y="49"/>
                  </a:lnTo>
                  <a:lnTo>
                    <a:pt x="112" y="49"/>
                  </a:lnTo>
                  <a:lnTo>
                    <a:pt x="113" y="47"/>
                  </a:lnTo>
                  <a:lnTo>
                    <a:pt x="109" y="47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3" y="44"/>
                  </a:lnTo>
                  <a:lnTo>
                    <a:pt x="116" y="41"/>
                  </a:lnTo>
                  <a:lnTo>
                    <a:pt x="116" y="39"/>
                  </a:lnTo>
                  <a:lnTo>
                    <a:pt x="118" y="35"/>
                  </a:lnTo>
                  <a:lnTo>
                    <a:pt x="123" y="34"/>
                  </a:lnTo>
                  <a:lnTo>
                    <a:pt x="124" y="36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29" y="29"/>
                  </a:lnTo>
                  <a:lnTo>
                    <a:pt x="131" y="26"/>
                  </a:lnTo>
                  <a:lnTo>
                    <a:pt x="134" y="26"/>
                  </a:lnTo>
                  <a:lnTo>
                    <a:pt x="135" y="29"/>
                  </a:lnTo>
                  <a:lnTo>
                    <a:pt x="137" y="24"/>
                  </a:lnTo>
                  <a:lnTo>
                    <a:pt x="139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9" y="30"/>
                  </a:lnTo>
                  <a:lnTo>
                    <a:pt x="140" y="32"/>
                  </a:lnTo>
                  <a:lnTo>
                    <a:pt x="143" y="32"/>
                  </a:lnTo>
                  <a:lnTo>
                    <a:pt x="145" y="29"/>
                  </a:lnTo>
                  <a:lnTo>
                    <a:pt x="145" y="25"/>
                  </a:lnTo>
                  <a:lnTo>
                    <a:pt x="148" y="23"/>
                  </a:lnTo>
                  <a:lnTo>
                    <a:pt x="153" y="22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8" y="22"/>
                  </a:lnTo>
                  <a:lnTo>
                    <a:pt x="150" y="18"/>
                  </a:lnTo>
                  <a:lnTo>
                    <a:pt x="151" y="16"/>
                  </a:lnTo>
                  <a:lnTo>
                    <a:pt x="155" y="15"/>
                  </a:lnTo>
                  <a:lnTo>
                    <a:pt x="160" y="16"/>
                  </a:lnTo>
                  <a:lnTo>
                    <a:pt x="164" y="20"/>
                  </a:lnTo>
                  <a:lnTo>
                    <a:pt x="166" y="22"/>
                  </a:lnTo>
                  <a:lnTo>
                    <a:pt x="172" y="21"/>
                  </a:lnTo>
                  <a:lnTo>
                    <a:pt x="171" y="17"/>
                  </a:lnTo>
                  <a:lnTo>
                    <a:pt x="174" y="13"/>
                  </a:lnTo>
                  <a:lnTo>
                    <a:pt x="179" y="12"/>
                  </a:lnTo>
                  <a:lnTo>
                    <a:pt x="181" y="10"/>
                  </a:lnTo>
                  <a:lnTo>
                    <a:pt x="184" y="8"/>
                  </a:lnTo>
                  <a:lnTo>
                    <a:pt x="181" y="6"/>
                  </a:lnTo>
                  <a:lnTo>
                    <a:pt x="182" y="3"/>
                  </a:lnTo>
                  <a:lnTo>
                    <a:pt x="185" y="3"/>
                  </a:lnTo>
                  <a:lnTo>
                    <a:pt x="192" y="4"/>
                  </a:lnTo>
                  <a:lnTo>
                    <a:pt x="194" y="6"/>
                  </a:lnTo>
                  <a:lnTo>
                    <a:pt x="190" y="8"/>
                  </a:lnTo>
                  <a:lnTo>
                    <a:pt x="186" y="12"/>
                  </a:lnTo>
                  <a:lnTo>
                    <a:pt x="185" y="19"/>
                  </a:lnTo>
                  <a:lnTo>
                    <a:pt x="192" y="15"/>
                  </a:lnTo>
                  <a:lnTo>
                    <a:pt x="194" y="10"/>
                  </a:lnTo>
                  <a:lnTo>
                    <a:pt x="198" y="5"/>
                  </a:lnTo>
                  <a:lnTo>
                    <a:pt x="202" y="5"/>
                  </a:lnTo>
                  <a:lnTo>
                    <a:pt x="200" y="7"/>
                  </a:lnTo>
                  <a:lnTo>
                    <a:pt x="202" y="9"/>
                  </a:lnTo>
                  <a:lnTo>
                    <a:pt x="205" y="4"/>
                  </a:lnTo>
                  <a:lnTo>
                    <a:pt x="204" y="0"/>
                  </a:lnTo>
                  <a:lnTo>
                    <a:pt x="213" y="1"/>
                  </a:lnTo>
                  <a:lnTo>
                    <a:pt x="217" y="4"/>
                  </a:lnTo>
                  <a:lnTo>
                    <a:pt x="213" y="7"/>
                  </a:lnTo>
                  <a:lnTo>
                    <a:pt x="216" y="9"/>
                  </a:lnTo>
                  <a:lnTo>
                    <a:pt x="219" y="6"/>
                  </a:lnTo>
                  <a:lnTo>
                    <a:pt x="223" y="5"/>
                  </a:lnTo>
                  <a:lnTo>
                    <a:pt x="236" y="13"/>
                  </a:lnTo>
                  <a:lnTo>
                    <a:pt x="230" y="19"/>
                  </a:lnTo>
                  <a:lnTo>
                    <a:pt x="220" y="17"/>
                  </a:lnTo>
                  <a:lnTo>
                    <a:pt x="219" y="19"/>
                  </a:lnTo>
                  <a:lnTo>
                    <a:pt x="227" y="23"/>
                  </a:lnTo>
                  <a:lnTo>
                    <a:pt x="227" y="25"/>
                  </a:lnTo>
                  <a:lnTo>
                    <a:pt x="230" y="26"/>
                  </a:lnTo>
                  <a:lnTo>
                    <a:pt x="235" y="23"/>
                  </a:lnTo>
                  <a:lnTo>
                    <a:pt x="239" y="25"/>
                  </a:lnTo>
                  <a:lnTo>
                    <a:pt x="226" y="30"/>
                  </a:lnTo>
                  <a:lnTo>
                    <a:pt x="226" y="32"/>
                  </a:lnTo>
                  <a:lnTo>
                    <a:pt x="221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8" name="Freeform 362"/>
            <p:cNvSpPr>
              <a:spLocks/>
            </p:cNvSpPr>
            <p:nvPr/>
          </p:nvSpPr>
          <p:spPr bwMode="gray">
            <a:xfrm>
              <a:off x="2982" y="1979"/>
              <a:ext cx="67" cy="55"/>
            </a:xfrm>
            <a:custGeom>
              <a:avLst/>
              <a:gdLst>
                <a:gd name="T0" fmla="*/ 2147483647 w 51"/>
                <a:gd name="T1" fmla="*/ 2147483647 h 43"/>
                <a:gd name="T2" fmla="*/ 0 w 51"/>
                <a:gd name="T3" fmla="*/ 2147483647 h 43"/>
                <a:gd name="T4" fmla="*/ 2147483647 w 51"/>
                <a:gd name="T5" fmla="*/ 0 h 43"/>
                <a:gd name="T6" fmla="*/ 2147483647 w 51"/>
                <a:gd name="T7" fmla="*/ 0 h 43"/>
                <a:gd name="T8" fmla="*/ 2147483647 w 51"/>
                <a:gd name="T9" fmla="*/ 2147483647 h 43"/>
                <a:gd name="T10" fmla="*/ 2147483647 w 51"/>
                <a:gd name="T11" fmla="*/ 2147483647 h 43"/>
                <a:gd name="T12" fmla="*/ 2147483647 w 51"/>
                <a:gd name="T13" fmla="*/ 2147483647 h 43"/>
                <a:gd name="T14" fmla="*/ 2147483647 w 51"/>
                <a:gd name="T15" fmla="*/ 2147483647 h 43"/>
                <a:gd name="T16" fmla="*/ 2147483647 w 51"/>
                <a:gd name="T17" fmla="*/ 2147483647 h 43"/>
                <a:gd name="T18" fmla="*/ 2147483647 w 51"/>
                <a:gd name="T19" fmla="*/ 2147483647 h 43"/>
                <a:gd name="T20" fmla="*/ 2147483647 w 51"/>
                <a:gd name="T21" fmla="*/ 2147483647 h 43"/>
                <a:gd name="T22" fmla="*/ 2147483647 w 51"/>
                <a:gd name="T23" fmla="*/ 2147483647 h 43"/>
                <a:gd name="T24" fmla="*/ 2147483647 w 51"/>
                <a:gd name="T25" fmla="*/ 2147483647 h 43"/>
                <a:gd name="T26" fmla="*/ 2147483647 w 51"/>
                <a:gd name="T27" fmla="*/ 2147483647 h 43"/>
                <a:gd name="T28" fmla="*/ 2147483647 w 51"/>
                <a:gd name="T29" fmla="*/ 2147483647 h 43"/>
                <a:gd name="T30" fmla="*/ 2147483647 w 51"/>
                <a:gd name="T31" fmla="*/ 2147483647 h 43"/>
                <a:gd name="T32" fmla="*/ 2147483647 w 51"/>
                <a:gd name="T33" fmla="*/ 2147483647 h 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43"/>
                <a:gd name="T53" fmla="*/ 51 w 51"/>
                <a:gd name="T54" fmla="*/ 43 h 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43">
                  <a:moveTo>
                    <a:pt x="2" y="23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25" y="0"/>
                  </a:lnTo>
                  <a:lnTo>
                    <a:pt x="42" y="4"/>
                  </a:lnTo>
                  <a:lnTo>
                    <a:pt x="51" y="16"/>
                  </a:lnTo>
                  <a:lnTo>
                    <a:pt x="45" y="25"/>
                  </a:lnTo>
                  <a:lnTo>
                    <a:pt x="41" y="33"/>
                  </a:lnTo>
                  <a:lnTo>
                    <a:pt x="33" y="36"/>
                  </a:lnTo>
                  <a:lnTo>
                    <a:pt x="33" y="40"/>
                  </a:lnTo>
                  <a:lnTo>
                    <a:pt x="30" y="43"/>
                  </a:lnTo>
                  <a:lnTo>
                    <a:pt x="22" y="40"/>
                  </a:lnTo>
                  <a:lnTo>
                    <a:pt x="20" y="36"/>
                  </a:lnTo>
                  <a:lnTo>
                    <a:pt x="17" y="37"/>
                  </a:lnTo>
                  <a:lnTo>
                    <a:pt x="13" y="28"/>
                  </a:lnTo>
                  <a:lnTo>
                    <a:pt x="9" y="26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69" name="Freeform 363"/>
            <p:cNvSpPr>
              <a:spLocks/>
            </p:cNvSpPr>
            <p:nvPr/>
          </p:nvSpPr>
          <p:spPr bwMode="gray">
            <a:xfrm>
              <a:off x="3008" y="1986"/>
              <a:ext cx="110" cy="104"/>
            </a:xfrm>
            <a:custGeom>
              <a:avLst/>
              <a:gdLst>
                <a:gd name="T0" fmla="*/ 2147483647 w 84"/>
                <a:gd name="T1" fmla="*/ 2147483647 h 80"/>
                <a:gd name="T2" fmla="*/ 2147483647 w 84"/>
                <a:gd name="T3" fmla="*/ 2147483647 h 80"/>
                <a:gd name="T4" fmla="*/ 2147483647 w 84"/>
                <a:gd name="T5" fmla="*/ 2147483647 h 80"/>
                <a:gd name="T6" fmla="*/ 2147483647 w 84"/>
                <a:gd name="T7" fmla="*/ 2147483647 h 80"/>
                <a:gd name="T8" fmla="*/ 2147483647 w 84"/>
                <a:gd name="T9" fmla="*/ 2147483647 h 80"/>
                <a:gd name="T10" fmla="*/ 2147483647 w 84"/>
                <a:gd name="T11" fmla="*/ 2147483647 h 80"/>
                <a:gd name="T12" fmla="*/ 2147483647 w 84"/>
                <a:gd name="T13" fmla="*/ 2147483647 h 80"/>
                <a:gd name="T14" fmla="*/ 2147483647 w 84"/>
                <a:gd name="T15" fmla="*/ 2147483647 h 80"/>
                <a:gd name="T16" fmla="*/ 2147483647 w 84"/>
                <a:gd name="T17" fmla="*/ 2147483647 h 80"/>
                <a:gd name="T18" fmla="*/ 2147483647 w 84"/>
                <a:gd name="T19" fmla="*/ 2147483647 h 80"/>
                <a:gd name="T20" fmla="*/ 2147483647 w 84"/>
                <a:gd name="T21" fmla="*/ 2147483647 h 80"/>
                <a:gd name="T22" fmla="*/ 2147483647 w 84"/>
                <a:gd name="T23" fmla="*/ 2147483647 h 80"/>
                <a:gd name="T24" fmla="*/ 0 w 84"/>
                <a:gd name="T25" fmla="*/ 2147483647 h 80"/>
                <a:gd name="T26" fmla="*/ 2147483647 w 84"/>
                <a:gd name="T27" fmla="*/ 2147483647 h 80"/>
                <a:gd name="T28" fmla="*/ 2147483647 w 84"/>
                <a:gd name="T29" fmla="*/ 2147483647 h 80"/>
                <a:gd name="T30" fmla="*/ 2147483647 w 84"/>
                <a:gd name="T31" fmla="*/ 2147483647 h 80"/>
                <a:gd name="T32" fmla="*/ 2147483647 w 84"/>
                <a:gd name="T33" fmla="*/ 2147483647 h 80"/>
                <a:gd name="T34" fmla="*/ 2147483647 w 84"/>
                <a:gd name="T35" fmla="*/ 2147483647 h 80"/>
                <a:gd name="T36" fmla="*/ 2147483647 w 84"/>
                <a:gd name="T37" fmla="*/ 2147483647 h 80"/>
                <a:gd name="T38" fmla="*/ 2147483647 w 84"/>
                <a:gd name="T39" fmla="*/ 2147483647 h 80"/>
                <a:gd name="T40" fmla="*/ 2147483647 w 84"/>
                <a:gd name="T41" fmla="*/ 2147483647 h 80"/>
                <a:gd name="T42" fmla="*/ 2147483647 w 84"/>
                <a:gd name="T43" fmla="*/ 2147483647 h 80"/>
                <a:gd name="T44" fmla="*/ 2147483647 w 84"/>
                <a:gd name="T45" fmla="*/ 2147483647 h 80"/>
                <a:gd name="T46" fmla="*/ 2147483647 w 84"/>
                <a:gd name="T47" fmla="*/ 0 h 80"/>
                <a:gd name="T48" fmla="*/ 2147483647 w 84"/>
                <a:gd name="T49" fmla="*/ 0 h 80"/>
                <a:gd name="T50" fmla="*/ 2147483647 w 84"/>
                <a:gd name="T51" fmla="*/ 2147483647 h 80"/>
                <a:gd name="T52" fmla="*/ 2147483647 w 84"/>
                <a:gd name="T53" fmla="*/ 2147483647 h 80"/>
                <a:gd name="T54" fmla="*/ 2147483647 w 84"/>
                <a:gd name="T55" fmla="*/ 2147483647 h 80"/>
                <a:gd name="T56" fmla="*/ 2147483647 w 84"/>
                <a:gd name="T57" fmla="*/ 2147483647 h 80"/>
                <a:gd name="T58" fmla="*/ 2147483647 w 84"/>
                <a:gd name="T59" fmla="*/ 2147483647 h 80"/>
                <a:gd name="T60" fmla="*/ 2147483647 w 84"/>
                <a:gd name="T61" fmla="*/ 2147483647 h 80"/>
                <a:gd name="T62" fmla="*/ 2147483647 w 84"/>
                <a:gd name="T63" fmla="*/ 2147483647 h 80"/>
                <a:gd name="T64" fmla="*/ 2147483647 w 84"/>
                <a:gd name="T65" fmla="*/ 2147483647 h 80"/>
                <a:gd name="T66" fmla="*/ 2147483647 w 84"/>
                <a:gd name="T67" fmla="*/ 2147483647 h 80"/>
                <a:gd name="T68" fmla="*/ 2147483647 w 84"/>
                <a:gd name="T69" fmla="*/ 2147483647 h 80"/>
                <a:gd name="T70" fmla="*/ 2147483647 w 84"/>
                <a:gd name="T71" fmla="*/ 2147483647 h 80"/>
                <a:gd name="T72" fmla="*/ 2147483647 w 84"/>
                <a:gd name="T73" fmla="*/ 2147483647 h 80"/>
                <a:gd name="T74" fmla="*/ 2147483647 w 84"/>
                <a:gd name="T75" fmla="*/ 2147483647 h 80"/>
                <a:gd name="T76" fmla="*/ 2147483647 w 84"/>
                <a:gd name="T77" fmla="*/ 2147483647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4"/>
                <a:gd name="T118" fmla="*/ 0 h 80"/>
                <a:gd name="T119" fmla="*/ 84 w 84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4" h="80">
                  <a:moveTo>
                    <a:pt x="77" y="67"/>
                  </a:moveTo>
                  <a:lnTo>
                    <a:pt x="68" y="70"/>
                  </a:lnTo>
                  <a:lnTo>
                    <a:pt x="66" y="76"/>
                  </a:lnTo>
                  <a:lnTo>
                    <a:pt x="61" y="78"/>
                  </a:lnTo>
                  <a:lnTo>
                    <a:pt x="46" y="72"/>
                  </a:lnTo>
                  <a:lnTo>
                    <a:pt x="42" y="74"/>
                  </a:lnTo>
                  <a:lnTo>
                    <a:pt x="36" y="72"/>
                  </a:lnTo>
                  <a:lnTo>
                    <a:pt x="31" y="72"/>
                  </a:lnTo>
                  <a:lnTo>
                    <a:pt x="25" y="69"/>
                  </a:lnTo>
                  <a:lnTo>
                    <a:pt x="18" y="70"/>
                  </a:lnTo>
                  <a:lnTo>
                    <a:pt x="9" y="80"/>
                  </a:lnTo>
                  <a:lnTo>
                    <a:pt x="8" y="71"/>
                  </a:lnTo>
                  <a:lnTo>
                    <a:pt x="0" y="63"/>
                  </a:lnTo>
                  <a:lnTo>
                    <a:pt x="8" y="55"/>
                  </a:lnTo>
                  <a:lnTo>
                    <a:pt x="2" y="45"/>
                  </a:lnTo>
                  <a:lnTo>
                    <a:pt x="2" y="34"/>
                  </a:lnTo>
                  <a:lnTo>
                    <a:pt x="10" y="37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21" y="27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5" y="10"/>
                  </a:lnTo>
                  <a:lnTo>
                    <a:pt x="43" y="0"/>
                  </a:lnTo>
                  <a:lnTo>
                    <a:pt x="49" y="0"/>
                  </a:lnTo>
                  <a:lnTo>
                    <a:pt x="54" y="5"/>
                  </a:lnTo>
                  <a:lnTo>
                    <a:pt x="59" y="4"/>
                  </a:lnTo>
                  <a:lnTo>
                    <a:pt x="65" y="5"/>
                  </a:lnTo>
                  <a:lnTo>
                    <a:pt x="69" y="10"/>
                  </a:lnTo>
                  <a:lnTo>
                    <a:pt x="70" y="26"/>
                  </a:lnTo>
                  <a:lnTo>
                    <a:pt x="74" y="35"/>
                  </a:lnTo>
                  <a:lnTo>
                    <a:pt x="84" y="45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4" y="50"/>
                  </a:lnTo>
                  <a:lnTo>
                    <a:pt x="70" y="50"/>
                  </a:lnTo>
                  <a:lnTo>
                    <a:pt x="71" y="56"/>
                  </a:lnTo>
                  <a:lnTo>
                    <a:pt x="75" y="60"/>
                  </a:lnTo>
                  <a:lnTo>
                    <a:pt x="77" y="6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0" name="Freeform 364"/>
            <p:cNvSpPr>
              <a:spLocks/>
            </p:cNvSpPr>
            <p:nvPr/>
          </p:nvSpPr>
          <p:spPr bwMode="gray">
            <a:xfrm>
              <a:off x="2979" y="1938"/>
              <a:ext cx="87" cy="61"/>
            </a:xfrm>
            <a:custGeom>
              <a:avLst/>
              <a:gdLst>
                <a:gd name="T0" fmla="*/ 2147483647 w 67"/>
                <a:gd name="T1" fmla="*/ 2147483647 h 47"/>
                <a:gd name="T2" fmla="*/ 2147483647 w 67"/>
                <a:gd name="T3" fmla="*/ 2147483647 h 47"/>
                <a:gd name="T4" fmla="*/ 2147483647 w 67"/>
                <a:gd name="T5" fmla="*/ 2147483647 h 47"/>
                <a:gd name="T6" fmla="*/ 2147483647 w 67"/>
                <a:gd name="T7" fmla="*/ 2147483647 h 47"/>
                <a:gd name="T8" fmla="*/ 2147483647 w 67"/>
                <a:gd name="T9" fmla="*/ 2147483647 h 47"/>
                <a:gd name="T10" fmla="*/ 2147483647 w 67"/>
                <a:gd name="T11" fmla="*/ 2147483647 h 47"/>
                <a:gd name="T12" fmla="*/ 2147483647 w 67"/>
                <a:gd name="T13" fmla="*/ 2147483647 h 47"/>
                <a:gd name="T14" fmla="*/ 0 w 67"/>
                <a:gd name="T15" fmla="*/ 2147483647 h 47"/>
                <a:gd name="T16" fmla="*/ 2147483647 w 67"/>
                <a:gd name="T17" fmla="*/ 2147483647 h 47"/>
                <a:gd name="T18" fmla="*/ 2147483647 w 67"/>
                <a:gd name="T19" fmla="*/ 2147483647 h 47"/>
                <a:gd name="T20" fmla="*/ 2147483647 w 67"/>
                <a:gd name="T21" fmla="*/ 2147483647 h 47"/>
                <a:gd name="T22" fmla="*/ 2147483647 w 67"/>
                <a:gd name="T23" fmla="*/ 2147483647 h 47"/>
                <a:gd name="T24" fmla="*/ 2147483647 w 67"/>
                <a:gd name="T25" fmla="*/ 2147483647 h 47"/>
                <a:gd name="T26" fmla="*/ 2147483647 w 67"/>
                <a:gd name="T27" fmla="*/ 2147483647 h 47"/>
                <a:gd name="T28" fmla="*/ 2147483647 w 67"/>
                <a:gd name="T29" fmla="*/ 2147483647 h 47"/>
                <a:gd name="T30" fmla="*/ 2147483647 w 67"/>
                <a:gd name="T31" fmla="*/ 2147483647 h 47"/>
                <a:gd name="T32" fmla="*/ 2147483647 w 67"/>
                <a:gd name="T33" fmla="*/ 2147483647 h 47"/>
                <a:gd name="T34" fmla="*/ 2147483647 w 67"/>
                <a:gd name="T35" fmla="*/ 2147483647 h 47"/>
                <a:gd name="T36" fmla="*/ 2147483647 w 67"/>
                <a:gd name="T37" fmla="*/ 2147483647 h 47"/>
                <a:gd name="T38" fmla="*/ 2147483647 w 67"/>
                <a:gd name="T39" fmla="*/ 0 h 47"/>
                <a:gd name="T40" fmla="*/ 2147483647 w 67"/>
                <a:gd name="T41" fmla="*/ 0 h 47"/>
                <a:gd name="T42" fmla="*/ 2147483647 w 67"/>
                <a:gd name="T43" fmla="*/ 2147483647 h 47"/>
                <a:gd name="T44" fmla="*/ 2147483647 w 67"/>
                <a:gd name="T45" fmla="*/ 2147483647 h 47"/>
                <a:gd name="T46" fmla="*/ 2147483647 w 67"/>
                <a:gd name="T47" fmla="*/ 2147483647 h 47"/>
                <a:gd name="T48" fmla="*/ 2147483647 w 67"/>
                <a:gd name="T49" fmla="*/ 2147483647 h 47"/>
                <a:gd name="T50" fmla="*/ 2147483647 w 67"/>
                <a:gd name="T51" fmla="*/ 2147483647 h 47"/>
                <a:gd name="T52" fmla="*/ 2147483647 w 67"/>
                <a:gd name="T53" fmla="*/ 2147483647 h 4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47"/>
                <a:gd name="T83" fmla="*/ 67 w 67"/>
                <a:gd name="T84" fmla="*/ 47 h 4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47">
                  <a:moveTo>
                    <a:pt x="66" y="37"/>
                  </a:moveTo>
                  <a:lnTo>
                    <a:pt x="58" y="47"/>
                  </a:lnTo>
                  <a:lnTo>
                    <a:pt x="54" y="47"/>
                  </a:lnTo>
                  <a:lnTo>
                    <a:pt x="45" y="35"/>
                  </a:lnTo>
                  <a:lnTo>
                    <a:pt x="28" y="31"/>
                  </a:lnTo>
                  <a:lnTo>
                    <a:pt x="7" y="3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1" y="27"/>
                  </a:lnTo>
                  <a:lnTo>
                    <a:pt x="6" y="22"/>
                  </a:lnTo>
                  <a:lnTo>
                    <a:pt x="5" y="12"/>
                  </a:lnTo>
                  <a:lnTo>
                    <a:pt x="11" y="10"/>
                  </a:lnTo>
                  <a:lnTo>
                    <a:pt x="18" y="7"/>
                  </a:lnTo>
                  <a:lnTo>
                    <a:pt x="20" y="13"/>
                  </a:lnTo>
                  <a:lnTo>
                    <a:pt x="26" y="21"/>
                  </a:lnTo>
                  <a:lnTo>
                    <a:pt x="33" y="20"/>
                  </a:lnTo>
                  <a:lnTo>
                    <a:pt x="35" y="8"/>
                  </a:lnTo>
                  <a:lnTo>
                    <a:pt x="34" y="3"/>
                  </a:lnTo>
                  <a:lnTo>
                    <a:pt x="34" y="1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48" y="6"/>
                  </a:lnTo>
                  <a:lnTo>
                    <a:pt x="53" y="8"/>
                  </a:lnTo>
                  <a:lnTo>
                    <a:pt x="63" y="7"/>
                  </a:lnTo>
                  <a:lnTo>
                    <a:pt x="63" y="18"/>
                  </a:lnTo>
                  <a:lnTo>
                    <a:pt x="67" y="24"/>
                  </a:lnTo>
                  <a:lnTo>
                    <a:pt x="66" y="3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1" name="Freeform 365"/>
            <p:cNvSpPr>
              <a:spLocks/>
            </p:cNvSpPr>
            <p:nvPr/>
          </p:nvSpPr>
          <p:spPr bwMode="gray">
            <a:xfrm>
              <a:off x="2499" y="2493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2" name="Freeform 366"/>
            <p:cNvSpPr>
              <a:spLocks/>
            </p:cNvSpPr>
            <p:nvPr/>
          </p:nvSpPr>
          <p:spPr bwMode="gray">
            <a:xfrm>
              <a:off x="2510" y="2502"/>
              <a:ext cx="6" cy="4"/>
            </a:xfrm>
            <a:custGeom>
              <a:avLst/>
              <a:gdLst>
                <a:gd name="T0" fmla="*/ 0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3" name="Freeform 367"/>
            <p:cNvSpPr>
              <a:spLocks/>
            </p:cNvSpPr>
            <p:nvPr/>
          </p:nvSpPr>
          <p:spPr bwMode="gray">
            <a:xfrm>
              <a:off x="2521" y="2500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0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4" name="Freeform 368"/>
            <p:cNvSpPr>
              <a:spLocks/>
            </p:cNvSpPr>
            <p:nvPr/>
          </p:nvSpPr>
          <p:spPr bwMode="gray">
            <a:xfrm>
              <a:off x="2529" y="2495"/>
              <a:ext cx="5" cy="6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5" name="Freeform 369"/>
            <p:cNvSpPr>
              <a:spLocks/>
            </p:cNvSpPr>
            <p:nvPr/>
          </p:nvSpPr>
          <p:spPr bwMode="gray">
            <a:xfrm>
              <a:off x="2535" y="2490"/>
              <a:ext cx="3" cy="3"/>
            </a:xfrm>
            <a:custGeom>
              <a:avLst/>
              <a:gdLst>
                <a:gd name="T0" fmla="*/ 0 w 2"/>
                <a:gd name="T1" fmla="*/ 2147483646 h 3"/>
                <a:gd name="T2" fmla="*/ 2147483647 w 2"/>
                <a:gd name="T3" fmla="*/ 0 h 3"/>
                <a:gd name="T4" fmla="*/ 2147483647 w 2"/>
                <a:gd name="T5" fmla="*/ 2147483646 h 3"/>
                <a:gd name="T6" fmla="*/ 0 w 2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1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6" name="Freeform 370"/>
            <p:cNvSpPr>
              <a:spLocks/>
            </p:cNvSpPr>
            <p:nvPr/>
          </p:nvSpPr>
          <p:spPr bwMode="gray">
            <a:xfrm>
              <a:off x="2619" y="2274"/>
              <a:ext cx="35" cy="88"/>
            </a:xfrm>
            <a:custGeom>
              <a:avLst/>
              <a:gdLst>
                <a:gd name="T0" fmla="*/ 2147483647 w 27"/>
                <a:gd name="T1" fmla="*/ 2147483647 h 67"/>
                <a:gd name="T2" fmla="*/ 2147483647 w 27"/>
                <a:gd name="T3" fmla="*/ 2147483647 h 67"/>
                <a:gd name="T4" fmla="*/ 2147483647 w 27"/>
                <a:gd name="T5" fmla="*/ 2147483647 h 67"/>
                <a:gd name="T6" fmla="*/ 2147483647 w 27"/>
                <a:gd name="T7" fmla="*/ 0 h 67"/>
                <a:gd name="T8" fmla="*/ 2147483647 w 27"/>
                <a:gd name="T9" fmla="*/ 2147483647 h 67"/>
                <a:gd name="T10" fmla="*/ 2147483647 w 27"/>
                <a:gd name="T11" fmla="*/ 2147483647 h 67"/>
                <a:gd name="T12" fmla="*/ 2147483647 w 27"/>
                <a:gd name="T13" fmla="*/ 2147483647 h 67"/>
                <a:gd name="T14" fmla="*/ 2147483647 w 27"/>
                <a:gd name="T15" fmla="*/ 2147483647 h 67"/>
                <a:gd name="T16" fmla="*/ 2147483647 w 27"/>
                <a:gd name="T17" fmla="*/ 2147483647 h 67"/>
                <a:gd name="T18" fmla="*/ 2147483647 w 27"/>
                <a:gd name="T19" fmla="*/ 2147483647 h 67"/>
                <a:gd name="T20" fmla="*/ 2147483647 w 27"/>
                <a:gd name="T21" fmla="*/ 2147483647 h 67"/>
                <a:gd name="T22" fmla="*/ 2147483647 w 27"/>
                <a:gd name="T23" fmla="*/ 2147483647 h 67"/>
                <a:gd name="T24" fmla="*/ 2147483647 w 27"/>
                <a:gd name="T25" fmla="*/ 2147483647 h 67"/>
                <a:gd name="T26" fmla="*/ 2147483647 w 27"/>
                <a:gd name="T27" fmla="*/ 2147483647 h 67"/>
                <a:gd name="T28" fmla="*/ 2147483647 w 27"/>
                <a:gd name="T29" fmla="*/ 2147483647 h 67"/>
                <a:gd name="T30" fmla="*/ 2147483647 w 27"/>
                <a:gd name="T31" fmla="*/ 2147483647 h 67"/>
                <a:gd name="T32" fmla="*/ 2147483647 w 27"/>
                <a:gd name="T33" fmla="*/ 2147483647 h 67"/>
                <a:gd name="T34" fmla="*/ 2147483647 w 27"/>
                <a:gd name="T35" fmla="*/ 2147483647 h 67"/>
                <a:gd name="T36" fmla="*/ 2147483647 w 27"/>
                <a:gd name="T37" fmla="*/ 2147483647 h 67"/>
                <a:gd name="T38" fmla="*/ 0 w 27"/>
                <a:gd name="T39" fmla="*/ 2147483647 h 67"/>
                <a:gd name="T40" fmla="*/ 0 w 27"/>
                <a:gd name="T41" fmla="*/ 2147483647 h 67"/>
                <a:gd name="T42" fmla="*/ 2147483647 w 27"/>
                <a:gd name="T43" fmla="*/ 2147483647 h 67"/>
                <a:gd name="T44" fmla="*/ 2147483647 w 27"/>
                <a:gd name="T45" fmla="*/ 2147483647 h 67"/>
                <a:gd name="T46" fmla="*/ 2147483647 w 27"/>
                <a:gd name="T47" fmla="*/ 2147483647 h 67"/>
                <a:gd name="T48" fmla="*/ 2147483647 w 27"/>
                <a:gd name="T49" fmla="*/ 2147483647 h 67"/>
                <a:gd name="T50" fmla="*/ 2147483647 w 27"/>
                <a:gd name="T51" fmla="*/ 2147483647 h 67"/>
                <a:gd name="T52" fmla="*/ 2147483647 w 27"/>
                <a:gd name="T53" fmla="*/ 2147483647 h 67"/>
                <a:gd name="T54" fmla="*/ 2147483647 w 27"/>
                <a:gd name="T55" fmla="*/ 2147483647 h 6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"/>
                <a:gd name="T85" fmla="*/ 0 h 67"/>
                <a:gd name="T86" fmla="*/ 27 w 27"/>
                <a:gd name="T87" fmla="*/ 67 h 6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" h="67">
                  <a:moveTo>
                    <a:pt x="6" y="1"/>
                  </a:moveTo>
                  <a:lnTo>
                    <a:pt x="10" y="3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27" y="5"/>
                  </a:lnTo>
                  <a:lnTo>
                    <a:pt x="25" y="14"/>
                  </a:lnTo>
                  <a:lnTo>
                    <a:pt x="23" y="18"/>
                  </a:lnTo>
                  <a:lnTo>
                    <a:pt x="22" y="29"/>
                  </a:lnTo>
                  <a:lnTo>
                    <a:pt x="20" y="32"/>
                  </a:lnTo>
                  <a:lnTo>
                    <a:pt x="22" y="42"/>
                  </a:lnTo>
                  <a:lnTo>
                    <a:pt x="21" y="53"/>
                  </a:lnTo>
                  <a:lnTo>
                    <a:pt x="17" y="59"/>
                  </a:lnTo>
                  <a:lnTo>
                    <a:pt x="17" y="64"/>
                  </a:lnTo>
                  <a:lnTo>
                    <a:pt x="13" y="67"/>
                  </a:lnTo>
                  <a:lnTo>
                    <a:pt x="8" y="66"/>
                  </a:lnTo>
                  <a:lnTo>
                    <a:pt x="3" y="66"/>
                  </a:lnTo>
                  <a:lnTo>
                    <a:pt x="4" y="60"/>
                  </a:lnTo>
                  <a:lnTo>
                    <a:pt x="4" y="51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37"/>
                  </a:lnTo>
                  <a:lnTo>
                    <a:pt x="3" y="33"/>
                  </a:lnTo>
                  <a:lnTo>
                    <a:pt x="3" y="28"/>
                  </a:lnTo>
                  <a:lnTo>
                    <a:pt x="6" y="26"/>
                  </a:lnTo>
                  <a:lnTo>
                    <a:pt x="7" y="17"/>
                  </a:lnTo>
                  <a:lnTo>
                    <a:pt x="5" y="10"/>
                  </a:lnTo>
                  <a:lnTo>
                    <a:pt x="4" y="5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7" name="Freeform 371"/>
            <p:cNvSpPr>
              <a:spLocks/>
            </p:cNvSpPr>
            <p:nvPr/>
          </p:nvSpPr>
          <p:spPr bwMode="gray">
            <a:xfrm>
              <a:off x="2619" y="2242"/>
              <a:ext cx="148" cy="134"/>
            </a:xfrm>
            <a:custGeom>
              <a:avLst/>
              <a:gdLst>
                <a:gd name="T0" fmla="*/ 2147483647 w 114"/>
                <a:gd name="T1" fmla="*/ 2147483647 h 103"/>
                <a:gd name="T2" fmla="*/ 2147483647 w 114"/>
                <a:gd name="T3" fmla="*/ 2147483647 h 103"/>
                <a:gd name="T4" fmla="*/ 2147483647 w 114"/>
                <a:gd name="T5" fmla="*/ 2147483647 h 103"/>
                <a:gd name="T6" fmla="*/ 2147483647 w 114"/>
                <a:gd name="T7" fmla="*/ 2147483647 h 103"/>
                <a:gd name="T8" fmla="*/ 2147483647 w 114"/>
                <a:gd name="T9" fmla="*/ 2147483647 h 103"/>
                <a:gd name="T10" fmla="*/ 2147483647 w 114"/>
                <a:gd name="T11" fmla="*/ 2147483647 h 103"/>
                <a:gd name="T12" fmla="*/ 2147483647 w 114"/>
                <a:gd name="T13" fmla="*/ 2147483647 h 103"/>
                <a:gd name="T14" fmla="*/ 2147483647 w 114"/>
                <a:gd name="T15" fmla="*/ 2147483647 h 103"/>
                <a:gd name="T16" fmla="*/ 2147483647 w 114"/>
                <a:gd name="T17" fmla="*/ 2147483647 h 103"/>
                <a:gd name="T18" fmla="*/ 2147483647 w 114"/>
                <a:gd name="T19" fmla="*/ 2147483647 h 103"/>
                <a:gd name="T20" fmla="*/ 2147483647 w 114"/>
                <a:gd name="T21" fmla="*/ 2147483647 h 103"/>
                <a:gd name="T22" fmla="*/ 2147483647 w 114"/>
                <a:gd name="T23" fmla="*/ 2147483647 h 103"/>
                <a:gd name="T24" fmla="*/ 2147483647 w 114"/>
                <a:gd name="T25" fmla="*/ 2147483647 h 103"/>
                <a:gd name="T26" fmla="*/ 2147483647 w 114"/>
                <a:gd name="T27" fmla="*/ 2147483647 h 103"/>
                <a:gd name="T28" fmla="*/ 2147483647 w 114"/>
                <a:gd name="T29" fmla="*/ 2147483647 h 103"/>
                <a:gd name="T30" fmla="*/ 2147483647 w 114"/>
                <a:gd name="T31" fmla="*/ 2147483647 h 103"/>
                <a:gd name="T32" fmla="*/ 2147483647 w 114"/>
                <a:gd name="T33" fmla="*/ 2147483647 h 103"/>
                <a:gd name="T34" fmla="*/ 2147483647 w 114"/>
                <a:gd name="T35" fmla="*/ 2147483647 h 103"/>
                <a:gd name="T36" fmla="*/ 2147483647 w 114"/>
                <a:gd name="T37" fmla="*/ 2147483647 h 103"/>
                <a:gd name="T38" fmla="*/ 2147483647 w 114"/>
                <a:gd name="T39" fmla="*/ 2147483647 h 103"/>
                <a:gd name="T40" fmla="*/ 2147483647 w 114"/>
                <a:gd name="T41" fmla="*/ 2147483647 h 103"/>
                <a:gd name="T42" fmla="*/ 2147483647 w 114"/>
                <a:gd name="T43" fmla="*/ 2147483647 h 103"/>
                <a:gd name="T44" fmla="*/ 2147483647 w 114"/>
                <a:gd name="T45" fmla="*/ 2147483647 h 103"/>
                <a:gd name="T46" fmla="*/ 2147483647 w 114"/>
                <a:gd name="T47" fmla="*/ 2147483647 h 103"/>
                <a:gd name="T48" fmla="*/ 2147483647 w 114"/>
                <a:gd name="T49" fmla="*/ 2147483647 h 103"/>
                <a:gd name="T50" fmla="*/ 2147483647 w 114"/>
                <a:gd name="T51" fmla="*/ 2147483647 h 103"/>
                <a:gd name="T52" fmla="*/ 2147483647 w 114"/>
                <a:gd name="T53" fmla="*/ 2147483647 h 103"/>
                <a:gd name="T54" fmla="*/ 2147483647 w 114"/>
                <a:gd name="T55" fmla="*/ 2147483647 h 103"/>
                <a:gd name="T56" fmla="*/ 2147483647 w 114"/>
                <a:gd name="T57" fmla="*/ 2147483647 h 103"/>
                <a:gd name="T58" fmla="*/ 2147483647 w 114"/>
                <a:gd name="T59" fmla="*/ 2147483647 h 103"/>
                <a:gd name="T60" fmla="*/ 2147483647 w 114"/>
                <a:gd name="T61" fmla="*/ 2147483647 h 103"/>
                <a:gd name="T62" fmla="*/ 2147483647 w 114"/>
                <a:gd name="T63" fmla="*/ 2147483647 h 103"/>
                <a:gd name="T64" fmla="*/ 2147483647 w 114"/>
                <a:gd name="T65" fmla="*/ 2147483647 h 103"/>
                <a:gd name="T66" fmla="*/ 2147483647 w 114"/>
                <a:gd name="T67" fmla="*/ 2147483647 h 103"/>
                <a:gd name="T68" fmla="*/ 2147483647 w 114"/>
                <a:gd name="T69" fmla="*/ 2147483647 h 103"/>
                <a:gd name="T70" fmla="*/ 2147483647 w 114"/>
                <a:gd name="T71" fmla="*/ 2147483647 h 103"/>
                <a:gd name="T72" fmla="*/ 2147483647 w 114"/>
                <a:gd name="T73" fmla="*/ 2147483647 h 103"/>
                <a:gd name="T74" fmla="*/ 2147483647 w 114"/>
                <a:gd name="T75" fmla="*/ 2147483647 h 103"/>
                <a:gd name="T76" fmla="*/ 2147483647 w 114"/>
                <a:gd name="T77" fmla="*/ 2147483647 h 103"/>
                <a:gd name="T78" fmla="*/ 2147483647 w 114"/>
                <a:gd name="T79" fmla="*/ 2147483647 h 103"/>
                <a:gd name="T80" fmla="*/ 0 w 114"/>
                <a:gd name="T81" fmla="*/ 2147483647 h 103"/>
                <a:gd name="T82" fmla="*/ 2147483647 w 114"/>
                <a:gd name="T83" fmla="*/ 2147483647 h 103"/>
                <a:gd name="T84" fmla="*/ 2147483647 w 114"/>
                <a:gd name="T85" fmla="*/ 2147483647 h 103"/>
                <a:gd name="T86" fmla="*/ 2147483647 w 114"/>
                <a:gd name="T87" fmla="*/ 0 h 103"/>
                <a:gd name="T88" fmla="*/ 2147483647 w 114"/>
                <a:gd name="T89" fmla="*/ 0 h 103"/>
                <a:gd name="T90" fmla="*/ 2147483647 w 114"/>
                <a:gd name="T91" fmla="*/ 2147483647 h 103"/>
                <a:gd name="T92" fmla="*/ 2147483647 w 114"/>
                <a:gd name="T93" fmla="*/ 2147483647 h 103"/>
                <a:gd name="T94" fmla="*/ 2147483647 w 114"/>
                <a:gd name="T95" fmla="*/ 2147483647 h 103"/>
                <a:gd name="T96" fmla="*/ 2147483647 w 114"/>
                <a:gd name="T97" fmla="*/ 2147483647 h 103"/>
                <a:gd name="T98" fmla="*/ 2147483647 w 114"/>
                <a:gd name="T99" fmla="*/ 2147483647 h 103"/>
                <a:gd name="T100" fmla="*/ 2147483647 w 114"/>
                <a:gd name="T101" fmla="*/ 2147483647 h 103"/>
                <a:gd name="T102" fmla="*/ 2147483647 w 114"/>
                <a:gd name="T103" fmla="*/ 2147483647 h 103"/>
                <a:gd name="T104" fmla="*/ 2147483647 w 114"/>
                <a:gd name="T105" fmla="*/ 2147483647 h 103"/>
                <a:gd name="T106" fmla="*/ 2147483647 w 114"/>
                <a:gd name="T107" fmla="*/ 2147483647 h 103"/>
                <a:gd name="T108" fmla="*/ 2147483647 w 114"/>
                <a:gd name="T109" fmla="*/ 2147483647 h 103"/>
                <a:gd name="T110" fmla="*/ 2147483647 w 114"/>
                <a:gd name="T111" fmla="*/ 2147483647 h 103"/>
                <a:gd name="T112" fmla="*/ 2147483647 w 114"/>
                <a:gd name="T113" fmla="*/ 2147483647 h 103"/>
                <a:gd name="T114" fmla="*/ 2147483647 w 114"/>
                <a:gd name="T115" fmla="*/ 2147483647 h 103"/>
                <a:gd name="T116" fmla="*/ 2147483647 w 114"/>
                <a:gd name="T117" fmla="*/ 2147483647 h 103"/>
                <a:gd name="T118" fmla="*/ 2147483647 w 114"/>
                <a:gd name="T119" fmla="*/ 2147483647 h 103"/>
                <a:gd name="T120" fmla="*/ 2147483647 w 114"/>
                <a:gd name="T121" fmla="*/ 2147483647 h 1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4"/>
                <a:gd name="T184" fmla="*/ 0 h 103"/>
                <a:gd name="T185" fmla="*/ 114 w 114"/>
                <a:gd name="T186" fmla="*/ 103 h 1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4" h="103">
                  <a:moveTo>
                    <a:pt x="113" y="16"/>
                  </a:moveTo>
                  <a:lnTo>
                    <a:pt x="114" y="23"/>
                  </a:lnTo>
                  <a:lnTo>
                    <a:pt x="111" y="31"/>
                  </a:lnTo>
                  <a:lnTo>
                    <a:pt x="102" y="35"/>
                  </a:lnTo>
                  <a:lnTo>
                    <a:pt x="97" y="35"/>
                  </a:lnTo>
                  <a:lnTo>
                    <a:pt x="92" y="41"/>
                  </a:lnTo>
                  <a:lnTo>
                    <a:pt x="91" y="44"/>
                  </a:lnTo>
                  <a:lnTo>
                    <a:pt x="86" y="49"/>
                  </a:lnTo>
                  <a:lnTo>
                    <a:pt x="85" y="59"/>
                  </a:lnTo>
                  <a:lnTo>
                    <a:pt x="86" y="69"/>
                  </a:lnTo>
                  <a:lnTo>
                    <a:pt x="81" y="76"/>
                  </a:lnTo>
                  <a:lnTo>
                    <a:pt x="80" y="82"/>
                  </a:lnTo>
                  <a:lnTo>
                    <a:pt x="74" y="85"/>
                  </a:lnTo>
                  <a:lnTo>
                    <a:pt x="71" y="88"/>
                  </a:lnTo>
                  <a:lnTo>
                    <a:pt x="67" y="90"/>
                  </a:lnTo>
                  <a:lnTo>
                    <a:pt x="66" y="94"/>
                  </a:lnTo>
                  <a:lnTo>
                    <a:pt x="60" y="98"/>
                  </a:lnTo>
                  <a:lnTo>
                    <a:pt x="55" y="96"/>
                  </a:lnTo>
                  <a:lnTo>
                    <a:pt x="50" y="95"/>
                  </a:lnTo>
                  <a:lnTo>
                    <a:pt x="42" y="97"/>
                  </a:lnTo>
                  <a:lnTo>
                    <a:pt x="36" y="103"/>
                  </a:lnTo>
                  <a:lnTo>
                    <a:pt x="32" y="102"/>
                  </a:lnTo>
                  <a:lnTo>
                    <a:pt x="30" y="100"/>
                  </a:lnTo>
                  <a:lnTo>
                    <a:pt x="26" y="98"/>
                  </a:lnTo>
                  <a:lnTo>
                    <a:pt x="23" y="90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4"/>
                  </a:lnTo>
                  <a:lnTo>
                    <a:pt x="21" y="78"/>
                  </a:lnTo>
                  <a:lnTo>
                    <a:pt x="22" y="67"/>
                  </a:lnTo>
                  <a:lnTo>
                    <a:pt x="20" y="57"/>
                  </a:lnTo>
                  <a:lnTo>
                    <a:pt x="22" y="54"/>
                  </a:lnTo>
                  <a:lnTo>
                    <a:pt x="23" y="43"/>
                  </a:lnTo>
                  <a:lnTo>
                    <a:pt x="25" y="39"/>
                  </a:lnTo>
                  <a:lnTo>
                    <a:pt x="27" y="30"/>
                  </a:lnTo>
                  <a:lnTo>
                    <a:pt x="23" y="25"/>
                  </a:lnTo>
                  <a:lnTo>
                    <a:pt x="19" y="27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5" y="21"/>
                  </a:lnTo>
                  <a:lnTo>
                    <a:pt x="0" y="12"/>
                  </a:lnTo>
                  <a:lnTo>
                    <a:pt x="3" y="7"/>
                  </a:lnTo>
                  <a:lnTo>
                    <a:pt x="9" y="4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28" y="3"/>
                  </a:lnTo>
                  <a:lnTo>
                    <a:pt x="31" y="2"/>
                  </a:lnTo>
                  <a:lnTo>
                    <a:pt x="36" y="1"/>
                  </a:lnTo>
                  <a:lnTo>
                    <a:pt x="45" y="4"/>
                  </a:lnTo>
                  <a:lnTo>
                    <a:pt x="52" y="3"/>
                  </a:lnTo>
                  <a:lnTo>
                    <a:pt x="61" y="5"/>
                  </a:lnTo>
                  <a:lnTo>
                    <a:pt x="71" y="6"/>
                  </a:lnTo>
                  <a:lnTo>
                    <a:pt x="78" y="11"/>
                  </a:lnTo>
                  <a:lnTo>
                    <a:pt x="81" y="11"/>
                  </a:lnTo>
                  <a:lnTo>
                    <a:pt x="84" y="14"/>
                  </a:lnTo>
                  <a:lnTo>
                    <a:pt x="96" y="13"/>
                  </a:lnTo>
                  <a:lnTo>
                    <a:pt x="99" y="14"/>
                  </a:lnTo>
                  <a:lnTo>
                    <a:pt x="101" y="15"/>
                  </a:lnTo>
                  <a:lnTo>
                    <a:pt x="103" y="16"/>
                  </a:lnTo>
                  <a:lnTo>
                    <a:pt x="11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8" name="Freeform 372"/>
            <p:cNvSpPr>
              <a:spLocks/>
            </p:cNvSpPr>
            <p:nvPr/>
          </p:nvSpPr>
          <p:spPr bwMode="gray">
            <a:xfrm>
              <a:off x="2960" y="2260"/>
              <a:ext cx="24" cy="53"/>
            </a:xfrm>
            <a:custGeom>
              <a:avLst/>
              <a:gdLst>
                <a:gd name="T0" fmla="*/ 2147483647 w 18"/>
                <a:gd name="T1" fmla="*/ 2147483647 h 41"/>
                <a:gd name="T2" fmla="*/ 2147483647 w 18"/>
                <a:gd name="T3" fmla="*/ 2147483647 h 41"/>
                <a:gd name="T4" fmla="*/ 2147483647 w 18"/>
                <a:gd name="T5" fmla="*/ 2147483647 h 41"/>
                <a:gd name="T6" fmla="*/ 2147483647 w 18"/>
                <a:gd name="T7" fmla="*/ 2147483647 h 41"/>
                <a:gd name="T8" fmla="*/ 2147483647 w 18"/>
                <a:gd name="T9" fmla="*/ 2147483647 h 41"/>
                <a:gd name="T10" fmla="*/ 2147483647 w 18"/>
                <a:gd name="T11" fmla="*/ 2147483647 h 41"/>
                <a:gd name="T12" fmla="*/ 2147483647 w 18"/>
                <a:gd name="T13" fmla="*/ 2147483647 h 41"/>
                <a:gd name="T14" fmla="*/ 2147483647 w 18"/>
                <a:gd name="T15" fmla="*/ 2147483647 h 41"/>
                <a:gd name="T16" fmla="*/ 2147483647 w 18"/>
                <a:gd name="T17" fmla="*/ 2147483647 h 41"/>
                <a:gd name="T18" fmla="*/ 2147483647 w 18"/>
                <a:gd name="T19" fmla="*/ 2147483647 h 41"/>
                <a:gd name="T20" fmla="*/ 0 w 18"/>
                <a:gd name="T21" fmla="*/ 2147483647 h 41"/>
                <a:gd name="T22" fmla="*/ 2147483647 w 18"/>
                <a:gd name="T23" fmla="*/ 2147483647 h 41"/>
                <a:gd name="T24" fmla="*/ 2147483647 w 18"/>
                <a:gd name="T25" fmla="*/ 0 h 41"/>
                <a:gd name="T26" fmla="*/ 2147483647 w 18"/>
                <a:gd name="T27" fmla="*/ 2147483647 h 41"/>
                <a:gd name="T28" fmla="*/ 2147483647 w 18"/>
                <a:gd name="T29" fmla="*/ 2147483647 h 4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41"/>
                <a:gd name="T47" fmla="*/ 18 w 18"/>
                <a:gd name="T48" fmla="*/ 41 h 4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41">
                  <a:moveTo>
                    <a:pt x="15" y="10"/>
                  </a:moveTo>
                  <a:lnTo>
                    <a:pt x="13" y="17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7"/>
                  </a:lnTo>
                  <a:lnTo>
                    <a:pt x="9" y="41"/>
                  </a:lnTo>
                  <a:lnTo>
                    <a:pt x="4" y="33"/>
                  </a:lnTo>
                  <a:lnTo>
                    <a:pt x="2" y="25"/>
                  </a:lnTo>
                  <a:lnTo>
                    <a:pt x="4" y="19"/>
                  </a:lnTo>
                  <a:lnTo>
                    <a:pt x="3" y="14"/>
                  </a:lnTo>
                  <a:lnTo>
                    <a:pt x="0" y="9"/>
                  </a:lnTo>
                  <a:lnTo>
                    <a:pt x="2" y="3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79" name="Freeform 373"/>
            <p:cNvSpPr>
              <a:spLocks/>
            </p:cNvSpPr>
            <p:nvPr/>
          </p:nvSpPr>
          <p:spPr bwMode="gray">
            <a:xfrm>
              <a:off x="2979" y="2333"/>
              <a:ext cx="2" cy="4"/>
            </a:xfrm>
            <a:custGeom>
              <a:avLst/>
              <a:gdLst>
                <a:gd name="T0" fmla="*/ 2147483646 w 2"/>
                <a:gd name="T1" fmla="*/ 0 h 3"/>
                <a:gd name="T2" fmla="*/ 2147483646 w 2"/>
                <a:gd name="T3" fmla="*/ 2147483647 h 3"/>
                <a:gd name="T4" fmla="*/ 0 w 2"/>
                <a:gd name="T5" fmla="*/ 2147483647 h 3"/>
                <a:gd name="T6" fmla="*/ 2147483646 w 2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2" y="0"/>
                  </a:moveTo>
                  <a:lnTo>
                    <a:pt x="2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0" name="Freeform 374"/>
            <p:cNvSpPr>
              <a:spLocks/>
            </p:cNvSpPr>
            <p:nvPr/>
          </p:nvSpPr>
          <p:spPr bwMode="gray">
            <a:xfrm>
              <a:off x="2809" y="2183"/>
              <a:ext cx="145" cy="162"/>
            </a:xfrm>
            <a:custGeom>
              <a:avLst/>
              <a:gdLst>
                <a:gd name="T0" fmla="*/ 2147483647 w 111"/>
                <a:gd name="T1" fmla="*/ 2147483647 h 124"/>
                <a:gd name="T2" fmla="*/ 2147483647 w 111"/>
                <a:gd name="T3" fmla="*/ 2147483647 h 124"/>
                <a:gd name="T4" fmla="*/ 2147483647 w 111"/>
                <a:gd name="T5" fmla="*/ 2147483647 h 124"/>
                <a:gd name="T6" fmla="*/ 2147483647 w 111"/>
                <a:gd name="T7" fmla="*/ 2147483647 h 124"/>
                <a:gd name="T8" fmla="*/ 2147483647 w 111"/>
                <a:gd name="T9" fmla="*/ 2147483647 h 124"/>
                <a:gd name="T10" fmla="*/ 2147483647 w 111"/>
                <a:gd name="T11" fmla="*/ 2147483647 h 124"/>
                <a:gd name="T12" fmla="*/ 2147483647 w 111"/>
                <a:gd name="T13" fmla="*/ 2147483647 h 124"/>
                <a:gd name="T14" fmla="*/ 2147483647 w 111"/>
                <a:gd name="T15" fmla="*/ 0 h 124"/>
                <a:gd name="T16" fmla="*/ 2147483647 w 111"/>
                <a:gd name="T17" fmla="*/ 2147483647 h 124"/>
                <a:gd name="T18" fmla="*/ 2147483647 w 111"/>
                <a:gd name="T19" fmla="*/ 2147483647 h 124"/>
                <a:gd name="T20" fmla="*/ 2147483647 w 111"/>
                <a:gd name="T21" fmla="*/ 2147483647 h 124"/>
                <a:gd name="T22" fmla="*/ 2147483647 w 111"/>
                <a:gd name="T23" fmla="*/ 2147483647 h 124"/>
                <a:gd name="T24" fmla="*/ 2147483647 w 111"/>
                <a:gd name="T25" fmla="*/ 2147483647 h 124"/>
                <a:gd name="T26" fmla="*/ 2147483647 w 111"/>
                <a:gd name="T27" fmla="*/ 2147483647 h 124"/>
                <a:gd name="T28" fmla="*/ 2147483647 w 111"/>
                <a:gd name="T29" fmla="*/ 2147483647 h 124"/>
                <a:gd name="T30" fmla="*/ 2147483647 w 111"/>
                <a:gd name="T31" fmla="*/ 2147483647 h 124"/>
                <a:gd name="T32" fmla="*/ 2147483647 w 111"/>
                <a:gd name="T33" fmla="*/ 2147483647 h 124"/>
                <a:gd name="T34" fmla="*/ 2147483647 w 111"/>
                <a:gd name="T35" fmla="*/ 2147483647 h 124"/>
                <a:gd name="T36" fmla="*/ 2147483647 w 111"/>
                <a:gd name="T37" fmla="*/ 2147483647 h 124"/>
                <a:gd name="T38" fmla="*/ 2147483647 w 111"/>
                <a:gd name="T39" fmla="*/ 2147483647 h 124"/>
                <a:gd name="T40" fmla="*/ 2147483647 w 111"/>
                <a:gd name="T41" fmla="*/ 2147483647 h 124"/>
                <a:gd name="T42" fmla="*/ 2147483647 w 111"/>
                <a:gd name="T43" fmla="*/ 2147483647 h 124"/>
                <a:gd name="T44" fmla="*/ 2147483647 w 111"/>
                <a:gd name="T45" fmla="*/ 2147483647 h 124"/>
                <a:gd name="T46" fmla="*/ 2147483647 w 111"/>
                <a:gd name="T47" fmla="*/ 2147483647 h 124"/>
                <a:gd name="T48" fmla="*/ 2147483647 w 111"/>
                <a:gd name="T49" fmla="*/ 2147483647 h 124"/>
                <a:gd name="T50" fmla="*/ 2147483647 w 111"/>
                <a:gd name="T51" fmla="*/ 2147483647 h 124"/>
                <a:gd name="T52" fmla="*/ 2147483647 w 111"/>
                <a:gd name="T53" fmla="*/ 2147483647 h 124"/>
                <a:gd name="T54" fmla="*/ 2147483647 w 111"/>
                <a:gd name="T55" fmla="*/ 2147483647 h 124"/>
                <a:gd name="T56" fmla="*/ 2147483647 w 111"/>
                <a:gd name="T57" fmla="*/ 2147483647 h 124"/>
                <a:gd name="T58" fmla="*/ 2147483647 w 111"/>
                <a:gd name="T59" fmla="*/ 2147483647 h 124"/>
                <a:gd name="T60" fmla="*/ 2147483647 w 111"/>
                <a:gd name="T61" fmla="*/ 2147483647 h 124"/>
                <a:gd name="T62" fmla="*/ 2147483647 w 111"/>
                <a:gd name="T63" fmla="*/ 2147483647 h 124"/>
                <a:gd name="T64" fmla="*/ 2147483647 w 111"/>
                <a:gd name="T65" fmla="*/ 2147483647 h 124"/>
                <a:gd name="T66" fmla="*/ 2147483647 w 111"/>
                <a:gd name="T67" fmla="*/ 2147483647 h 124"/>
                <a:gd name="T68" fmla="*/ 2147483647 w 111"/>
                <a:gd name="T69" fmla="*/ 2147483647 h 124"/>
                <a:gd name="T70" fmla="*/ 2147483647 w 111"/>
                <a:gd name="T71" fmla="*/ 2147483647 h 124"/>
                <a:gd name="T72" fmla="*/ 2147483647 w 111"/>
                <a:gd name="T73" fmla="*/ 2147483647 h 124"/>
                <a:gd name="T74" fmla="*/ 2147483647 w 111"/>
                <a:gd name="T75" fmla="*/ 2147483647 h 12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1"/>
                <a:gd name="T115" fmla="*/ 0 h 124"/>
                <a:gd name="T116" fmla="*/ 111 w 111"/>
                <a:gd name="T117" fmla="*/ 124 h 12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1" h="124">
                  <a:moveTo>
                    <a:pt x="12" y="43"/>
                  </a:moveTo>
                  <a:lnTo>
                    <a:pt x="8" y="38"/>
                  </a:lnTo>
                  <a:lnTo>
                    <a:pt x="3" y="37"/>
                  </a:lnTo>
                  <a:lnTo>
                    <a:pt x="1" y="27"/>
                  </a:lnTo>
                  <a:lnTo>
                    <a:pt x="0" y="16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7"/>
                  </a:lnTo>
                  <a:lnTo>
                    <a:pt x="31" y="8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53" y="2"/>
                  </a:lnTo>
                  <a:lnTo>
                    <a:pt x="57" y="2"/>
                  </a:lnTo>
                  <a:lnTo>
                    <a:pt x="65" y="5"/>
                  </a:lnTo>
                  <a:lnTo>
                    <a:pt x="65" y="11"/>
                  </a:lnTo>
                  <a:lnTo>
                    <a:pt x="68" y="14"/>
                  </a:lnTo>
                  <a:lnTo>
                    <a:pt x="68" y="17"/>
                  </a:lnTo>
                  <a:lnTo>
                    <a:pt x="67" y="20"/>
                  </a:lnTo>
                  <a:lnTo>
                    <a:pt x="65" y="24"/>
                  </a:lnTo>
                  <a:lnTo>
                    <a:pt x="65" y="19"/>
                  </a:lnTo>
                  <a:lnTo>
                    <a:pt x="55" y="21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2" y="37"/>
                  </a:lnTo>
                  <a:lnTo>
                    <a:pt x="61" y="45"/>
                  </a:lnTo>
                  <a:lnTo>
                    <a:pt x="65" y="51"/>
                  </a:lnTo>
                  <a:lnTo>
                    <a:pt x="69" y="63"/>
                  </a:lnTo>
                  <a:lnTo>
                    <a:pt x="78" y="69"/>
                  </a:lnTo>
                  <a:lnTo>
                    <a:pt x="86" y="71"/>
                  </a:lnTo>
                  <a:lnTo>
                    <a:pt x="88" y="77"/>
                  </a:lnTo>
                  <a:lnTo>
                    <a:pt x="91" y="79"/>
                  </a:lnTo>
                  <a:lnTo>
                    <a:pt x="98" y="80"/>
                  </a:lnTo>
                  <a:lnTo>
                    <a:pt x="99" y="84"/>
                  </a:lnTo>
                  <a:lnTo>
                    <a:pt x="104" y="86"/>
                  </a:lnTo>
                  <a:lnTo>
                    <a:pt x="110" y="92"/>
                  </a:lnTo>
                  <a:lnTo>
                    <a:pt x="111" y="96"/>
                  </a:lnTo>
                  <a:lnTo>
                    <a:pt x="109" y="98"/>
                  </a:lnTo>
                  <a:lnTo>
                    <a:pt x="103" y="93"/>
                  </a:lnTo>
                  <a:lnTo>
                    <a:pt x="100" y="91"/>
                  </a:lnTo>
                  <a:lnTo>
                    <a:pt x="95" y="92"/>
                  </a:lnTo>
                  <a:lnTo>
                    <a:pt x="93" y="100"/>
                  </a:lnTo>
                  <a:lnTo>
                    <a:pt x="98" y="106"/>
                  </a:lnTo>
                  <a:lnTo>
                    <a:pt x="98" y="110"/>
                  </a:lnTo>
                  <a:lnTo>
                    <a:pt x="94" y="113"/>
                  </a:lnTo>
                  <a:lnTo>
                    <a:pt x="92" y="119"/>
                  </a:lnTo>
                  <a:lnTo>
                    <a:pt x="86" y="124"/>
                  </a:lnTo>
                  <a:lnTo>
                    <a:pt x="84" y="121"/>
                  </a:lnTo>
                  <a:lnTo>
                    <a:pt x="85" y="117"/>
                  </a:lnTo>
                  <a:lnTo>
                    <a:pt x="89" y="111"/>
                  </a:lnTo>
                  <a:lnTo>
                    <a:pt x="87" y="105"/>
                  </a:lnTo>
                  <a:lnTo>
                    <a:pt x="87" y="100"/>
                  </a:lnTo>
                  <a:lnTo>
                    <a:pt x="84" y="96"/>
                  </a:lnTo>
                  <a:lnTo>
                    <a:pt x="81" y="96"/>
                  </a:lnTo>
                  <a:lnTo>
                    <a:pt x="78" y="94"/>
                  </a:lnTo>
                  <a:lnTo>
                    <a:pt x="77" y="90"/>
                  </a:lnTo>
                  <a:lnTo>
                    <a:pt x="73" y="88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54" y="76"/>
                  </a:lnTo>
                  <a:lnTo>
                    <a:pt x="53" y="71"/>
                  </a:lnTo>
                  <a:lnTo>
                    <a:pt x="49" y="71"/>
                  </a:lnTo>
                  <a:lnTo>
                    <a:pt x="44" y="67"/>
                  </a:lnTo>
                  <a:lnTo>
                    <a:pt x="43" y="60"/>
                  </a:lnTo>
                  <a:lnTo>
                    <a:pt x="37" y="56"/>
                  </a:lnTo>
                  <a:lnTo>
                    <a:pt x="36" y="47"/>
                  </a:lnTo>
                  <a:lnTo>
                    <a:pt x="30" y="37"/>
                  </a:lnTo>
                  <a:lnTo>
                    <a:pt x="27" y="35"/>
                  </a:lnTo>
                  <a:lnTo>
                    <a:pt x="18" y="37"/>
                  </a:lnTo>
                  <a:lnTo>
                    <a:pt x="12" y="4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1" name="Freeform 375"/>
            <p:cNvSpPr>
              <a:spLocks/>
            </p:cNvSpPr>
            <p:nvPr/>
          </p:nvSpPr>
          <p:spPr bwMode="gray">
            <a:xfrm>
              <a:off x="2830" y="2284"/>
              <a:ext cx="15" cy="40"/>
            </a:xfrm>
            <a:custGeom>
              <a:avLst/>
              <a:gdLst>
                <a:gd name="T0" fmla="*/ 0 w 12"/>
                <a:gd name="T1" fmla="*/ 2147483647 h 30"/>
                <a:gd name="T2" fmla="*/ 2147483647 w 12"/>
                <a:gd name="T3" fmla="*/ 2147483647 h 30"/>
                <a:gd name="T4" fmla="*/ 2147483647 w 12"/>
                <a:gd name="T5" fmla="*/ 0 h 30"/>
                <a:gd name="T6" fmla="*/ 2147483647 w 12"/>
                <a:gd name="T7" fmla="*/ 2147483647 h 30"/>
                <a:gd name="T8" fmla="*/ 2147483647 w 12"/>
                <a:gd name="T9" fmla="*/ 2147483647 h 30"/>
                <a:gd name="T10" fmla="*/ 2147483647 w 12"/>
                <a:gd name="T11" fmla="*/ 2147483647 h 30"/>
                <a:gd name="T12" fmla="*/ 2147483647 w 12"/>
                <a:gd name="T13" fmla="*/ 2147483647 h 30"/>
                <a:gd name="T14" fmla="*/ 2147483647 w 12"/>
                <a:gd name="T15" fmla="*/ 2147483647 h 30"/>
                <a:gd name="T16" fmla="*/ 2147483647 w 12"/>
                <a:gd name="T17" fmla="*/ 2147483647 h 30"/>
                <a:gd name="T18" fmla="*/ 2147483647 w 12"/>
                <a:gd name="T19" fmla="*/ 2147483647 h 30"/>
                <a:gd name="T20" fmla="*/ 2147483647 w 12"/>
                <a:gd name="T21" fmla="*/ 2147483647 h 30"/>
                <a:gd name="T22" fmla="*/ 2147483647 w 12"/>
                <a:gd name="T23" fmla="*/ 2147483647 h 30"/>
                <a:gd name="T24" fmla="*/ 0 w 12"/>
                <a:gd name="T25" fmla="*/ 2147483647 h 30"/>
                <a:gd name="T26" fmla="*/ 2147483647 w 12"/>
                <a:gd name="T27" fmla="*/ 2147483647 h 30"/>
                <a:gd name="T28" fmla="*/ 0 w 12"/>
                <a:gd name="T29" fmla="*/ 2147483647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30"/>
                <a:gd name="T47" fmla="*/ 12 w 12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30">
                  <a:moveTo>
                    <a:pt x="0" y="7"/>
                  </a:moveTo>
                  <a:lnTo>
                    <a:pt x="6" y="3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9" y="27"/>
                  </a:lnTo>
                  <a:lnTo>
                    <a:pt x="5" y="28"/>
                  </a:lnTo>
                  <a:lnTo>
                    <a:pt x="4" y="30"/>
                  </a:lnTo>
                  <a:lnTo>
                    <a:pt x="1" y="29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2" name="Freeform 376"/>
            <p:cNvSpPr>
              <a:spLocks/>
            </p:cNvSpPr>
            <p:nvPr/>
          </p:nvSpPr>
          <p:spPr bwMode="gray">
            <a:xfrm>
              <a:off x="3028" y="2296"/>
              <a:ext cx="4" cy="3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0 h 2"/>
                <a:gd name="T4" fmla="*/ 2147483647 w 3"/>
                <a:gd name="T5" fmla="*/ 2147483647 h 2"/>
                <a:gd name="T6" fmla="*/ 0 w 3"/>
                <a:gd name="T7" fmla="*/ 2147483647 h 2"/>
                <a:gd name="T8" fmla="*/ 0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3" name="Freeform 377"/>
            <p:cNvSpPr>
              <a:spLocks/>
            </p:cNvSpPr>
            <p:nvPr/>
          </p:nvSpPr>
          <p:spPr bwMode="gray">
            <a:xfrm>
              <a:off x="3011" y="2324"/>
              <a:ext cx="14" cy="18"/>
            </a:xfrm>
            <a:custGeom>
              <a:avLst/>
              <a:gdLst>
                <a:gd name="T0" fmla="*/ 0 w 11"/>
                <a:gd name="T1" fmla="*/ 2147483647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2147483647 w 11"/>
                <a:gd name="T13" fmla="*/ 2147483647 h 14"/>
                <a:gd name="T14" fmla="*/ 2147483647 w 11"/>
                <a:gd name="T15" fmla="*/ 2147483647 h 14"/>
                <a:gd name="T16" fmla="*/ 0 w 11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4"/>
                <a:gd name="T29" fmla="*/ 11 w 1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4">
                  <a:moveTo>
                    <a:pt x="0" y="3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1" y="8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9" y="10"/>
                  </a:lnTo>
                  <a:lnTo>
                    <a:pt x="5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4" name="Freeform 378"/>
            <p:cNvSpPr>
              <a:spLocks/>
            </p:cNvSpPr>
            <p:nvPr/>
          </p:nvSpPr>
          <p:spPr bwMode="gray">
            <a:xfrm>
              <a:off x="3041" y="2322"/>
              <a:ext cx="4" cy="10"/>
            </a:xfrm>
            <a:custGeom>
              <a:avLst/>
              <a:gdLst>
                <a:gd name="T0" fmla="*/ 2147483647 w 3"/>
                <a:gd name="T1" fmla="*/ 2147483647 h 7"/>
                <a:gd name="T2" fmla="*/ 0 w 3"/>
                <a:gd name="T3" fmla="*/ 2147483647 h 7"/>
                <a:gd name="T4" fmla="*/ 0 w 3"/>
                <a:gd name="T5" fmla="*/ 2147483647 h 7"/>
                <a:gd name="T6" fmla="*/ 2147483647 w 3"/>
                <a:gd name="T7" fmla="*/ 0 h 7"/>
                <a:gd name="T8" fmla="*/ 2147483647 w 3"/>
                <a:gd name="T9" fmla="*/ 2147483647 h 7"/>
                <a:gd name="T10" fmla="*/ 2147483647 w 3"/>
                <a:gd name="T11" fmla="*/ 2147483647 h 7"/>
                <a:gd name="T12" fmla="*/ 2147483647 w 3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2" y="7"/>
                  </a:move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5" name="Freeform 379"/>
            <p:cNvSpPr>
              <a:spLocks/>
            </p:cNvSpPr>
            <p:nvPr/>
          </p:nvSpPr>
          <p:spPr bwMode="gray">
            <a:xfrm>
              <a:off x="3044" y="2317"/>
              <a:ext cx="4" cy="4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6" name="Freeform 380"/>
            <p:cNvSpPr>
              <a:spLocks/>
            </p:cNvSpPr>
            <p:nvPr/>
          </p:nvSpPr>
          <p:spPr bwMode="gray">
            <a:xfrm>
              <a:off x="3049" y="2342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7" name="Freeform 381"/>
            <p:cNvSpPr>
              <a:spLocks/>
            </p:cNvSpPr>
            <p:nvPr/>
          </p:nvSpPr>
          <p:spPr bwMode="gray">
            <a:xfrm>
              <a:off x="3044" y="2346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8" name="Freeform 382"/>
            <p:cNvSpPr>
              <a:spLocks/>
            </p:cNvSpPr>
            <p:nvPr/>
          </p:nvSpPr>
          <p:spPr bwMode="gray">
            <a:xfrm>
              <a:off x="2972" y="2273"/>
              <a:ext cx="78" cy="94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2147483647 h 72"/>
                <a:gd name="T12" fmla="*/ 2147483647 w 60"/>
                <a:gd name="T13" fmla="*/ 2147483647 h 72"/>
                <a:gd name="T14" fmla="*/ 2147483647 w 60"/>
                <a:gd name="T15" fmla="*/ 2147483647 h 72"/>
                <a:gd name="T16" fmla="*/ 2147483647 w 60"/>
                <a:gd name="T17" fmla="*/ 2147483647 h 72"/>
                <a:gd name="T18" fmla="*/ 2147483647 w 60"/>
                <a:gd name="T19" fmla="*/ 2147483647 h 72"/>
                <a:gd name="T20" fmla="*/ 2147483647 w 60"/>
                <a:gd name="T21" fmla="*/ 2147483647 h 72"/>
                <a:gd name="T22" fmla="*/ 2147483647 w 60"/>
                <a:gd name="T23" fmla="*/ 2147483647 h 72"/>
                <a:gd name="T24" fmla="*/ 2147483647 w 60"/>
                <a:gd name="T25" fmla="*/ 2147483647 h 72"/>
                <a:gd name="T26" fmla="*/ 2147483647 w 60"/>
                <a:gd name="T27" fmla="*/ 2147483647 h 72"/>
                <a:gd name="T28" fmla="*/ 2147483647 w 60"/>
                <a:gd name="T29" fmla="*/ 2147483647 h 72"/>
                <a:gd name="T30" fmla="*/ 2147483647 w 60"/>
                <a:gd name="T31" fmla="*/ 2147483647 h 72"/>
                <a:gd name="T32" fmla="*/ 2147483647 w 60"/>
                <a:gd name="T33" fmla="*/ 2147483647 h 72"/>
                <a:gd name="T34" fmla="*/ 2147483647 w 60"/>
                <a:gd name="T35" fmla="*/ 2147483647 h 72"/>
                <a:gd name="T36" fmla="*/ 2147483647 w 60"/>
                <a:gd name="T37" fmla="*/ 2147483647 h 72"/>
                <a:gd name="T38" fmla="*/ 2147483647 w 60"/>
                <a:gd name="T39" fmla="*/ 2147483647 h 72"/>
                <a:gd name="T40" fmla="*/ 2147483647 w 60"/>
                <a:gd name="T41" fmla="*/ 2147483647 h 72"/>
                <a:gd name="T42" fmla="*/ 2147483647 w 60"/>
                <a:gd name="T43" fmla="*/ 2147483647 h 72"/>
                <a:gd name="T44" fmla="*/ 2147483647 w 60"/>
                <a:gd name="T45" fmla="*/ 2147483647 h 72"/>
                <a:gd name="T46" fmla="*/ 2147483647 w 60"/>
                <a:gd name="T47" fmla="*/ 2147483647 h 72"/>
                <a:gd name="T48" fmla="*/ 2147483647 w 60"/>
                <a:gd name="T49" fmla="*/ 2147483647 h 72"/>
                <a:gd name="T50" fmla="*/ 2147483647 w 60"/>
                <a:gd name="T51" fmla="*/ 2147483647 h 72"/>
                <a:gd name="T52" fmla="*/ 2147483647 w 60"/>
                <a:gd name="T53" fmla="*/ 2147483647 h 72"/>
                <a:gd name="T54" fmla="*/ 2147483647 w 60"/>
                <a:gd name="T55" fmla="*/ 2147483647 h 72"/>
                <a:gd name="T56" fmla="*/ 2147483647 w 60"/>
                <a:gd name="T57" fmla="*/ 2147483647 h 72"/>
                <a:gd name="T58" fmla="*/ 2147483647 w 60"/>
                <a:gd name="T59" fmla="*/ 2147483647 h 72"/>
                <a:gd name="T60" fmla="*/ 2147483647 w 60"/>
                <a:gd name="T61" fmla="*/ 2147483647 h 72"/>
                <a:gd name="T62" fmla="*/ 2147483647 w 60"/>
                <a:gd name="T63" fmla="*/ 2147483647 h 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0"/>
                <a:gd name="T97" fmla="*/ 0 h 72"/>
                <a:gd name="T98" fmla="*/ 60 w 60"/>
                <a:gd name="T99" fmla="*/ 72 h 7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0" h="72">
                  <a:moveTo>
                    <a:pt x="55" y="17"/>
                  </a:moveTo>
                  <a:lnTo>
                    <a:pt x="50" y="15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6"/>
                  </a:lnTo>
                  <a:lnTo>
                    <a:pt x="33" y="17"/>
                  </a:lnTo>
                  <a:lnTo>
                    <a:pt x="33" y="21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5" y="25"/>
                  </a:lnTo>
                  <a:lnTo>
                    <a:pt x="35" y="28"/>
                  </a:lnTo>
                  <a:lnTo>
                    <a:pt x="33" y="28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27" y="24"/>
                  </a:lnTo>
                  <a:lnTo>
                    <a:pt x="26" y="21"/>
                  </a:lnTo>
                  <a:lnTo>
                    <a:pt x="24" y="20"/>
                  </a:lnTo>
                  <a:lnTo>
                    <a:pt x="21" y="21"/>
                  </a:lnTo>
                  <a:lnTo>
                    <a:pt x="21" y="26"/>
                  </a:lnTo>
                  <a:lnTo>
                    <a:pt x="26" y="34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7" y="51"/>
                  </a:lnTo>
                  <a:lnTo>
                    <a:pt x="37" y="55"/>
                  </a:lnTo>
                  <a:lnTo>
                    <a:pt x="30" y="55"/>
                  </a:lnTo>
                  <a:lnTo>
                    <a:pt x="30" y="61"/>
                  </a:lnTo>
                  <a:lnTo>
                    <a:pt x="26" y="60"/>
                  </a:lnTo>
                  <a:lnTo>
                    <a:pt x="25" y="62"/>
                  </a:lnTo>
                  <a:lnTo>
                    <a:pt x="27" y="64"/>
                  </a:lnTo>
                  <a:lnTo>
                    <a:pt x="28" y="72"/>
                  </a:lnTo>
                  <a:lnTo>
                    <a:pt x="24" y="71"/>
                  </a:lnTo>
                  <a:lnTo>
                    <a:pt x="21" y="71"/>
                  </a:lnTo>
                  <a:lnTo>
                    <a:pt x="19" y="68"/>
                  </a:lnTo>
                  <a:lnTo>
                    <a:pt x="15" y="67"/>
                  </a:lnTo>
                  <a:lnTo>
                    <a:pt x="13" y="65"/>
                  </a:lnTo>
                  <a:lnTo>
                    <a:pt x="15" y="60"/>
                  </a:lnTo>
                  <a:lnTo>
                    <a:pt x="11" y="56"/>
                  </a:lnTo>
                  <a:lnTo>
                    <a:pt x="11" y="52"/>
                  </a:lnTo>
                  <a:lnTo>
                    <a:pt x="17" y="51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5" y="39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8" y="14"/>
                  </a:lnTo>
                  <a:lnTo>
                    <a:pt x="19" y="14"/>
                  </a:lnTo>
                  <a:lnTo>
                    <a:pt x="23" y="9"/>
                  </a:lnTo>
                  <a:lnTo>
                    <a:pt x="27" y="9"/>
                  </a:lnTo>
                  <a:lnTo>
                    <a:pt x="33" y="7"/>
                  </a:lnTo>
                  <a:lnTo>
                    <a:pt x="39" y="5"/>
                  </a:lnTo>
                  <a:lnTo>
                    <a:pt x="45" y="6"/>
                  </a:lnTo>
                  <a:lnTo>
                    <a:pt x="50" y="9"/>
                  </a:lnTo>
                  <a:lnTo>
                    <a:pt x="55" y="8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59" y="11"/>
                  </a:lnTo>
                  <a:lnTo>
                    <a:pt x="55" y="1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89" name="Freeform 383"/>
            <p:cNvSpPr>
              <a:spLocks/>
            </p:cNvSpPr>
            <p:nvPr/>
          </p:nvSpPr>
          <p:spPr bwMode="gray">
            <a:xfrm>
              <a:off x="3033" y="2307"/>
              <a:ext cx="4" cy="4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2147483647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0" name="Freeform 384"/>
            <p:cNvSpPr>
              <a:spLocks/>
            </p:cNvSpPr>
            <p:nvPr/>
          </p:nvSpPr>
          <p:spPr bwMode="gray">
            <a:xfrm>
              <a:off x="3057" y="1626"/>
              <a:ext cx="446" cy="658"/>
            </a:xfrm>
            <a:custGeom>
              <a:avLst/>
              <a:gdLst>
                <a:gd name="T0" fmla="*/ 2147483647 w 342"/>
                <a:gd name="T1" fmla="*/ 2147483647 h 506"/>
                <a:gd name="T2" fmla="*/ 2147483647 w 342"/>
                <a:gd name="T3" fmla="*/ 2147483647 h 506"/>
                <a:gd name="T4" fmla="*/ 2147483647 w 342"/>
                <a:gd name="T5" fmla="*/ 2147483647 h 506"/>
                <a:gd name="T6" fmla="*/ 2147483647 w 342"/>
                <a:gd name="T7" fmla="*/ 2147483647 h 506"/>
                <a:gd name="T8" fmla="*/ 2147483647 w 342"/>
                <a:gd name="T9" fmla="*/ 2147483647 h 506"/>
                <a:gd name="T10" fmla="*/ 2147483647 w 342"/>
                <a:gd name="T11" fmla="*/ 2147483647 h 506"/>
                <a:gd name="T12" fmla="*/ 2147483647 w 342"/>
                <a:gd name="T13" fmla="*/ 2147483647 h 506"/>
                <a:gd name="T14" fmla="*/ 2147483647 w 342"/>
                <a:gd name="T15" fmla="*/ 2147483647 h 506"/>
                <a:gd name="T16" fmla="*/ 2147483647 w 342"/>
                <a:gd name="T17" fmla="*/ 2147483647 h 506"/>
                <a:gd name="T18" fmla="*/ 2147483647 w 342"/>
                <a:gd name="T19" fmla="*/ 2147483647 h 506"/>
                <a:gd name="T20" fmla="*/ 2147483647 w 342"/>
                <a:gd name="T21" fmla="*/ 2147483647 h 506"/>
                <a:gd name="T22" fmla="*/ 2147483647 w 342"/>
                <a:gd name="T23" fmla="*/ 2147483647 h 506"/>
                <a:gd name="T24" fmla="*/ 2147483647 w 342"/>
                <a:gd name="T25" fmla="*/ 2147483647 h 506"/>
                <a:gd name="T26" fmla="*/ 2147483647 w 342"/>
                <a:gd name="T27" fmla="*/ 2147483647 h 506"/>
                <a:gd name="T28" fmla="*/ 2147483647 w 342"/>
                <a:gd name="T29" fmla="*/ 2147483647 h 506"/>
                <a:gd name="T30" fmla="*/ 2147483647 w 342"/>
                <a:gd name="T31" fmla="*/ 2147483647 h 506"/>
                <a:gd name="T32" fmla="*/ 2147483647 w 342"/>
                <a:gd name="T33" fmla="*/ 2147483647 h 506"/>
                <a:gd name="T34" fmla="*/ 2147483647 w 342"/>
                <a:gd name="T35" fmla="*/ 2147483647 h 506"/>
                <a:gd name="T36" fmla="*/ 2147483647 w 342"/>
                <a:gd name="T37" fmla="*/ 2147483647 h 506"/>
                <a:gd name="T38" fmla="*/ 2147483647 w 342"/>
                <a:gd name="T39" fmla="*/ 2147483647 h 506"/>
                <a:gd name="T40" fmla="*/ 2147483647 w 342"/>
                <a:gd name="T41" fmla="*/ 2147483647 h 506"/>
                <a:gd name="T42" fmla="*/ 2147483647 w 342"/>
                <a:gd name="T43" fmla="*/ 2147483647 h 506"/>
                <a:gd name="T44" fmla="*/ 2147483647 w 342"/>
                <a:gd name="T45" fmla="*/ 2147483647 h 506"/>
                <a:gd name="T46" fmla="*/ 2147483647 w 342"/>
                <a:gd name="T47" fmla="*/ 2147483647 h 506"/>
                <a:gd name="T48" fmla="*/ 2147483647 w 342"/>
                <a:gd name="T49" fmla="*/ 2147483647 h 506"/>
                <a:gd name="T50" fmla="*/ 2147483647 w 342"/>
                <a:gd name="T51" fmla="*/ 2147483647 h 506"/>
                <a:gd name="T52" fmla="*/ 2147483647 w 342"/>
                <a:gd name="T53" fmla="*/ 2147483647 h 506"/>
                <a:gd name="T54" fmla="*/ 2147483647 w 342"/>
                <a:gd name="T55" fmla="*/ 2147483647 h 506"/>
                <a:gd name="T56" fmla="*/ 2147483647 w 342"/>
                <a:gd name="T57" fmla="*/ 2147483647 h 506"/>
                <a:gd name="T58" fmla="*/ 2147483647 w 342"/>
                <a:gd name="T59" fmla="*/ 2147483647 h 506"/>
                <a:gd name="T60" fmla="*/ 2147483647 w 342"/>
                <a:gd name="T61" fmla="*/ 2147483647 h 506"/>
                <a:gd name="T62" fmla="*/ 2147483647 w 342"/>
                <a:gd name="T63" fmla="*/ 2147483647 h 506"/>
                <a:gd name="T64" fmla="*/ 2147483647 w 342"/>
                <a:gd name="T65" fmla="*/ 2147483647 h 506"/>
                <a:gd name="T66" fmla="*/ 2147483647 w 342"/>
                <a:gd name="T67" fmla="*/ 2147483647 h 506"/>
                <a:gd name="T68" fmla="*/ 2147483647 w 342"/>
                <a:gd name="T69" fmla="*/ 2147483647 h 506"/>
                <a:gd name="T70" fmla="*/ 2147483647 w 342"/>
                <a:gd name="T71" fmla="*/ 2147483647 h 506"/>
                <a:gd name="T72" fmla="*/ 2147483647 w 342"/>
                <a:gd name="T73" fmla="*/ 2147483647 h 506"/>
                <a:gd name="T74" fmla="*/ 2147483647 w 342"/>
                <a:gd name="T75" fmla="*/ 2147483647 h 506"/>
                <a:gd name="T76" fmla="*/ 2147483647 w 342"/>
                <a:gd name="T77" fmla="*/ 2147483647 h 506"/>
                <a:gd name="T78" fmla="*/ 2147483647 w 342"/>
                <a:gd name="T79" fmla="*/ 2147483647 h 506"/>
                <a:gd name="T80" fmla="*/ 2147483647 w 342"/>
                <a:gd name="T81" fmla="*/ 2147483647 h 506"/>
                <a:gd name="T82" fmla="*/ 2147483647 w 342"/>
                <a:gd name="T83" fmla="*/ 2147483647 h 506"/>
                <a:gd name="T84" fmla="*/ 2147483647 w 342"/>
                <a:gd name="T85" fmla="*/ 2147483647 h 506"/>
                <a:gd name="T86" fmla="*/ 2147483647 w 342"/>
                <a:gd name="T87" fmla="*/ 2147483647 h 506"/>
                <a:gd name="T88" fmla="*/ 2147483647 w 342"/>
                <a:gd name="T89" fmla="*/ 2147483647 h 506"/>
                <a:gd name="T90" fmla="*/ 2147483647 w 342"/>
                <a:gd name="T91" fmla="*/ 2147483647 h 506"/>
                <a:gd name="T92" fmla="*/ 2147483647 w 342"/>
                <a:gd name="T93" fmla="*/ 2147483647 h 506"/>
                <a:gd name="T94" fmla="*/ 2147483647 w 342"/>
                <a:gd name="T95" fmla="*/ 2147483647 h 506"/>
                <a:gd name="T96" fmla="*/ 2147483647 w 342"/>
                <a:gd name="T97" fmla="*/ 2147483647 h 506"/>
                <a:gd name="T98" fmla="*/ 2147483647 w 342"/>
                <a:gd name="T99" fmla="*/ 2147483647 h 506"/>
                <a:gd name="T100" fmla="*/ 2147483647 w 342"/>
                <a:gd name="T101" fmla="*/ 2147483647 h 506"/>
                <a:gd name="T102" fmla="*/ 2147483647 w 342"/>
                <a:gd name="T103" fmla="*/ 2147483647 h 506"/>
                <a:gd name="T104" fmla="*/ 2147483647 w 342"/>
                <a:gd name="T105" fmla="*/ 2147483647 h 506"/>
                <a:gd name="T106" fmla="*/ 2147483647 w 342"/>
                <a:gd name="T107" fmla="*/ 2147483647 h 5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2"/>
                <a:gd name="T163" fmla="*/ 0 h 506"/>
                <a:gd name="T164" fmla="*/ 342 w 342"/>
                <a:gd name="T165" fmla="*/ 506 h 5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2" h="506">
                  <a:moveTo>
                    <a:pt x="300" y="362"/>
                  </a:moveTo>
                  <a:lnTo>
                    <a:pt x="300" y="369"/>
                  </a:lnTo>
                  <a:lnTo>
                    <a:pt x="287" y="365"/>
                  </a:lnTo>
                  <a:lnTo>
                    <a:pt x="283" y="360"/>
                  </a:lnTo>
                  <a:lnTo>
                    <a:pt x="266" y="360"/>
                  </a:lnTo>
                  <a:lnTo>
                    <a:pt x="261" y="366"/>
                  </a:lnTo>
                  <a:lnTo>
                    <a:pt x="258" y="366"/>
                  </a:lnTo>
                  <a:lnTo>
                    <a:pt x="254" y="362"/>
                  </a:lnTo>
                  <a:lnTo>
                    <a:pt x="249" y="363"/>
                  </a:lnTo>
                  <a:lnTo>
                    <a:pt x="243" y="355"/>
                  </a:lnTo>
                  <a:lnTo>
                    <a:pt x="235" y="355"/>
                  </a:lnTo>
                  <a:lnTo>
                    <a:pt x="231" y="352"/>
                  </a:lnTo>
                  <a:lnTo>
                    <a:pt x="222" y="352"/>
                  </a:lnTo>
                  <a:lnTo>
                    <a:pt x="217" y="346"/>
                  </a:lnTo>
                  <a:lnTo>
                    <a:pt x="197" y="360"/>
                  </a:lnTo>
                  <a:lnTo>
                    <a:pt x="197" y="372"/>
                  </a:lnTo>
                  <a:lnTo>
                    <a:pt x="191" y="373"/>
                  </a:lnTo>
                  <a:lnTo>
                    <a:pt x="188" y="368"/>
                  </a:lnTo>
                  <a:lnTo>
                    <a:pt x="182" y="369"/>
                  </a:lnTo>
                  <a:lnTo>
                    <a:pt x="179" y="410"/>
                  </a:lnTo>
                  <a:lnTo>
                    <a:pt x="193" y="413"/>
                  </a:lnTo>
                  <a:lnTo>
                    <a:pt x="199" y="421"/>
                  </a:lnTo>
                  <a:lnTo>
                    <a:pt x="197" y="431"/>
                  </a:lnTo>
                  <a:lnTo>
                    <a:pt x="201" y="434"/>
                  </a:lnTo>
                  <a:lnTo>
                    <a:pt x="199" y="435"/>
                  </a:lnTo>
                  <a:lnTo>
                    <a:pt x="193" y="440"/>
                  </a:lnTo>
                  <a:lnTo>
                    <a:pt x="189" y="442"/>
                  </a:lnTo>
                  <a:lnTo>
                    <a:pt x="188" y="443"/>
                  </a:lnTo>
                  <a:lnTo>
                    <a:pt x="185" y="443"/>
                  </a:lnTo>
                  <a:lnTo>
                    <a:pt x="182" y="448"/>
                  </a:lnTo>
                  <a:lnTo>
                    <a:pt x="180" y="454"/>
                  </a:lnTo>
                  <a:lnTo>
                    <a:pt x="177" y="455"/>
                  </a:lnTo>
                  <a:lnTo>
                    <a:pt x="177" y="457"/>
                  </a:lnTo>
                  <a:lnTo>
                    <a:pt x="178" y="459"/>
                  </a:lnTo>
                  <a:lnTo>
                    <a:pt x="179" y="463"/>
                  </a:lnTo>
                  <a:lnTo>
                    <a:pt x="182" y="466"/>
                  </a:lnTo>
                  <a:lnTo>
                    <a:pt x="184" y="469"/>
                  </a:lnTo>
                  <a:lnTo>
                    <a:pt x="185" y="475"/>
                  </a:lnTo>
                  <a:lnTo>
                    <a:pt x="185" y="478"/>
                  </a:lnTo>
                  <a:lnTo>
                    <a:pt x="185" y="481"/>
                  </a:lnTo>
                  <a:lnTo>
                    <a:pt x="187" y="483"/>
                  </a:lnTo>
                  <a:lnTo>
                    <a:pt x="188" y="486"/>
                  </a:lnTo>
                  <a:lnTo>
                    <a:pt x="189" y="488"/>
                  </a:lnTo>
                  <a:lnTo>
                    <a:pt x="191" y="490"/>
                  </a:lnTo>
                  <a:lnTo>
                    <a:pt x="192" y="494"/>
                  </a:lnTo>
                  <a:lnTo>
                    <a:pt x="194" y="496"/>
                  </a:lnTo>
                  <a:lnTo>
                    <a:pt x="194" y="504"/>
                  </a:lnTo>
                  <a:lnTo>
                    <a:pt x="188" y="506"/>
                  </a:lnTo>
                  <a:lnTo>
                    <a:pt x="175" y="500"/>
                  </a:lnTo>
                  <a:lnTo>
                    <a:pt x="171" y="494"/>
                  </a:lnTo>
                  <a:lnTo>
                    <a:pt x="168" y="494"/>
                  </a:lnTo>
                  <a:lnTo>
                    <a:pt x="156" y="485"/>
                  </a:lnTo>
                  <a:lnTo>
                    <a:pt x="143" y="479"/>
                  </a:lnTo>
                  <a:lnTo>
                    <a:pt x="139" y="480"/>
                  </a:lnTo>
                  <a:lnTo>
                    <a:pt x="125" y="478"/>
                  </a:lnTo>
                  <a:lnTo>
                    <a:pt x="113" y="475"/>
                  </a:lnTo>
                  <a:lnTo>
                    <a:pt x="108" y="471"/>
                  </a:lnTo>
                  <a:lnTo>
                    <a:pt x="99" y="460"/>
                  </a:lnTo>
                  <a:lnTo>
                    <a:pt x="95" y="460"/>
                  </a:lnTo>
                  <a:lnTo>
                    <a:pt x="92" y="457"/>
                  </a:lnTo>
                  <a:lnTo>
                    <a:pt x="89" y="455"/>
                  </a:lnTo>
                  <a:lnTo>
                    <a:pt x="87" y="451"/>
                  </a:lnTo>
                  <a:lnTo>
                    <a:pt x="86" y="448"/>
                  </a:lnTo>
                  <a:lnTo>
                    <a:pt x="92" y="447"/>
                  </a:lnTo>
                  <a:lnTo>
                    <a:pt x="92" y="445"/>
                  </a:lnTo>
                  <a:lnTo>
                    <a:pt x="97" y="440"/>
                  </a:lnTo>
                  <a:lnTo>
                    <a:pt x="98" y="437"/>
                  </a:lnTo>
                  <a:lnTo>
                    <a:pt x="95" y="431"/>
                  </a:lnTo>
                  <a:lnTo>
                    <a:pt x="103" y="426"/>
                  </a:lnTo>
                  <a:lnTo>
                    <a:pt x="102" y="424"/>
                  </a:lnTo>
                  <a:lnTo>
                    <a:pt x="93" y="427"/>
                  </a:lnTo>
                  <a:lnTo>
                    <a:pt x="99" y="416"/>
                  </a:lnTo>
                  <a:lnTo>
                    <a:pt x="105" y="409"/>
                  </a:lnTo>
                  <a:lnTo>
                    <a:pt x="109" y="410"/>
                  </a:lnTo>
                  <a:lnTo>
                    <a:pt x="110" y="398"/>
                  </a:lnTo>
                  <a:lnTo>
                    <a:pt x="116" y="391"/>
                  </a:lnTo>
                  <a:lnTo>
                    <a:pt x="103" y="378"/>
                  </a:lnTo>
                  <a:lnTo>
                    <a:pt x="97" y="378"/>
                  </a:lnTo>
                  <a:lnTo>
                    <a:pt x="89" y="371"/>
                  </a:lnTo>
                  <a:lnTo>
                    <a:pt x="74" y="372"/>
                  </a:lnTo>
                  <a:lnTo>
                    <a:pt x="70" y="366"/>
                  </a:lnTo>
                  <a:lnTo>
                    <a:pt x="70" y="360"/>
                  </a:lnTo>
                  <a:lnTo>
                    <a:pt x="63" y="359"/>
                  </a:lnTo>
                  <a:lnTo>
                    <a:pt x="59" y="342"/>
                  </a:lnTo>
                  <a:lnTo>
                    <a:pt x="47" y="341"/>
                  </a:lnTo>
                  <a:lnTo>
                    <a:pt x="40" y="345"/>
                  </a:lnTo>
                  <a:lnTo>
                    <a:pt x="38" y="337"/>
                  </a:lnTo>
                  <a:lnTo>
                    <a:pt x="34" y="333"/>
                  </a:lnTo>
                  <a:lnTo>
                    <a:pt x="33" y="327"/>
                  </a:lnTo>
                  <a:lnTo>
                    <a:pt x="38" y="327"/>
                  </a:lnTo>
                  <a:lnTo>
                    <a:pt x="42" y="330"/>
                  </a:lnTo>
                  <a:lnTo>
                    <a:pt x="45" y="330"/>
                  </a:lnTo>
                  <a:lnTo>
                    <a:pt x="47" y="322"/>
                  </a:lnTo>
                  <a:lnTo>
                    <a:pt x="38" y="312"/>
                  </a:lnTo>
                  <a:lnTo>
                    <a:pt x="33" y="303"/>
                  </a:lnTo>
                  <a:lnTo>
                    <a:pt x="32" y="287"/>
                  </a:lnTo>
                  <a:lnTo>
                    <a:pt x="28" y="282"/>
                  </a:lnTo>
                  <a:lnTo>
                    <a:pt x="22" y="281"/>
                  </a:lnTo>
                  <a:lnTo>
                    <a:pt x="17" y="282"/>
                  </a:lnTo>
                  <a:lnTo>
                    <a:pt x="12" y="277"/>
                  </a:lnTo>
                  <a:lnTo>
                    <a:pt x="6" y="277"/>
                  </a:lnTo>
                  <a:lnTo>
                    <a:pt x="7" y="264"/>
                  </a:lnTo>
                  <a:lnTo>
                    <a:pt x="3" y="258"/>
                  </a:lnTo>
                  <a:lnTo>
                    <a:pt x="3" y="247"/>
                  </a:lnTo>
                  <a:lnTo>
                    <a:pt x="3" y="238"/>
                  </a:lnTo>
                  <a:lnTo>
                    <a:pt x="0" y="230"/>
                  </a:lnTo>
                  <a:lnTo>
                    <a:pt x="3" y="214"/>
                  </a:lnTo>
                  <a:lnTo>
                    <a:pt x="8" y="209"/>
                  </a:lnTo>
                  <a:lnTo>
                    <a:pt x="7" y="206"/>
                  </a:lnTo>
                  <a:lnTo>
                    <a:pt x="13" y="206"/>
                  </a:lnTo>
                  <a:lnTo>
                    <a:pt x="14" y="204"/>
                  </a:lnTo>
                  <a:lnTo>
                    <a:pt x="24" y="205"/>
                  </a:lnTo>
                  <a:lnTo>
                    <a:pt x="26" y="198"/>
                  </a:lnTo>
                  <a:lnTo>
                    <a:pt x="21" y="197"/>
                  </a:lnTo>
                  <a:lnTo>
                    <a:pt x="15" y="197"/>
                  </a:lnTo>
                  <a:lnTo>
                    <a:pt x="10" y="195"/>
                  </a:lnTo>
                  <a:lnTo>
                    <a:pt x="11" y="188"/>
                  </a:lnTo>
                  <a:lnTo>
                    <a:pt x="13" y="178"/>
                  </a:lnTo>
                  <a:lnTo>
                    <a:pt x="23" y="163"/>
                  </a:lnTo>
                  <a:lnTo>
                    <a:pt x="40" y="141"/>
                  </a:lnTo>
                  <a:lnTo>
                    <a:pt x="32" y="130"/>
                  </a:lnTo>
                  <a:lnTo>
                    <a:pt x="26" y="128"/>
                  </a:lnTo>
                  <a:lnTo>
                    <a:pt x="24" y="122"/>
                  </a:lnTo>
                  <a:lnTo>
                    <a:pt x="28" y="115"/>
                  </a:lnTo>
                  <a:lnTo>
                    <a:pt x="28" y="109"/>
                  </a:lnTo>
                  <a:lnTo>
                    <a:pt x="24" y="101"/>
                  </a:lnTo>
                  <a:lnTo>
                    <a:pt x="26" y="96"/>
                  </a:lnTo>
                  <a:lnTo>
                    <a:pt x="22" y="92"/>
                  </a:lnTo>
                  <a:lnTo>
                    <a:pt x="24" y="83"/>
                  </a:lnTo>
                  <a:lnTo>
                    <a:pt x="23" y="75"/>
                  </a:lnTo>
                  <a:lnTo>
                    <a:pt x="24" y="63"/>
                  </a:lnTo>
                  <a:lnTo>
                    <a:pt x="15" y="48"/>
                  </a:lnTo>
                  <a:lnTo>
                    <a:pt x="21" y="40"/>
                  </a:lnTo>
                  <a:lnTo>
                    <a:pt x="17" y="31"/>
                  </a:lnTo>
                  <a:lnTo>
                    <a:pt x="9" y="26"/>
                  </a:lnTo>
                  <a:lnTo>
                    <a:pt x="9" y="21"/>
                  </a:lnTo>
                  <a:lnTo>
                    <a:pt x="15" y="13"/>
                  </a:lnTo>
                  <a:lnTo>
                    <a:pt x="20" y="11"/>
                  </a:lnTo>
                  <a:lnTo>
                    <a:pt x="21" y="8"/>
                  </a:lnTo>
                  <a:lnTo>
                    <a:pt x="33" y="3"/>
                  </a:lnTo>
                  <a:lnTo>
                    <a:pt x="38" y="3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4" y="6"/>
                  </a:lnTo>
                  <a:lnTo>
                    <a:pt x="46" y="9"/>
                  </a:lnTo>
                  <a:lnTo>
                    <a:pt x="52" y="10"/>
                  </a:lnTo>
                  <a:lnTo>
                    <a:pt x="56" y="12"/>
                  </a:lnTo>
                  <a:lnTo>
                    <a:pt x="65" y="11"/>
                  </a:lnTo>
                  <a:lnTo>
                    <a:pt x="79" y="14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08" y="29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1" y="35"/>
                  </a:lnTo>
                  <a:lnTo>
                    <a:pt x="125" y="38"/>
                  </a:lnTo>
                  <a:lnTo>
                    <a:pt x="125" y="52"/>
                  </a:lnTo>
                  <a:lnTo>
                    <a:pt x="106" y="66"/>
                  </a:lnTo>
                  <a:lnTo>
                    <a:pt x="95" y="66"/>
                  </a:lnTo>
                  <a:lnTo>
                    <a:pt x="82" y="61"/>
                  </a:lnTo>
                  <a:lnTo>
                    <a:pt x="70" y="56"/>
                  </a:lnTo>
                  <a:lnTo>
                    <a:pt x="61" y="52"/>
                  </a:lnTo>
                  <a:lnTo>
                    <a:pt x="55" y="52"/>
                  </a:lnTo>
                  <a:lnTo>
                    <a:pt x="44" y="45"/>
                  </a:lnTo>
                  <a:lnTo>
                    <a:pt x="44" y="50"/>
                  </a:lnTo>
                  <a:lnTo>
                    <a:pt x="55" y="58"/>
                  </a:lnTo>
                  <a:lnTo>
                    <a:pt x="66" y="70"/>
                  </a:lnTo>
                  <a:lnTo>
                    <a:pt x="67" y="77"/>
                  </a:lnTo>
                  <a:lnTo>
                    <a:pt x="62" y="85"/>
                  </a:lnTo>
                  <a:lnTo>
                    <a:pt x="67" y="91"/>
                  </a:lnTo>
                  <a:lnTo>
                    <a:pt x="66" y="104"/>
                  </a:lnTo>
                  <a:lnTo>
                    <a:pt x="66" y="109"/>
                  </a:lnTo>
                  <a:lnTo>
                    <a:pt x="74" y="107"/>
                  </a:lnTo>
                  <a:lnTo>
                    <a:pt x="82" y="118"/>
                  </a:lnTo>
                  <a:lnTo>
                    <a:pt x="94" y="116"/>
                  </a:lnTo>
                  <a:lnTo>
                    <a:pt x="96" y="111"/>
                  </a:lnTo>
                  <a:lnTo>
                    <a:pt x="92" y="108"/>
                  </a:lnTo>
                  <a:lnTo>
                    <a:pt x="88" y="106"/>
                  </a:lnTo>
                  <a:lnTo>
                    <a:pt x="82" y="96"/>
                  </a:lnTo>
                  <a:lnTo>
                    <a:pt x="84" y="88"/>
                  </a:lnTo>
                  <a:lnTo>
                    <a:pt x="89" y="89"/>
                  </a:lnTo>
                  <a:lnTo>
                    <a:pt x="92" y="94"/>
                  </a:lnTo>
                  <a:lnTo>
                    <a:pt x="105" y="101"/>
                  </a:lnTo>
                  <a:lnTo>
                    <a:pt x="115" y="100"/>
                  </a:lnTo>
                  <a:lnTo>
                    <a:pt x="118" y="94"/>
                  </a:lnTo>
                  <a:lnTo>
                    <a:pt x="110" y="79"/>
                  </a:lnTo>
                  <a:lnTo>
                    <a:pt x="122" y="68"/>
                  </a:lnTo>
                  <a:lnTo>
                    <a:pt x="130" y="63"/>
                  </a:lnTo>
                  <a:lnTo>
                    <a:pt x="131" y="55"/>
                  </a:lnTo>
                  <a:lnTo>
                    <a:pt x="140" y="56"/>
                  </a:lnTo>
                  <a:lnTo>
                    <a:pt x="151" y="64"/>
                  </a:lnTo>
                  <a:lnTo>
                    <a:pt x="156" y="48"/>
                  </a:lnTo>
                  <a:lnTo>
                    <a:pt x="149" y="44"/>
                  </a:lnTo>
                  <a:lnTo>
                    <a:pt x="149" y="41"/>
                  </a:lnTo>
                  <a:lnTo>
                    <a:pt x="152" y="38"/>
                  </a:lnTo>
                  <a:lnTo>
                    <a:pt x="152" y="30"/>
                  </a:lnTo>
                  <a:lnTo>
                    <a:pt x="149" y="28"/>
                  </a:lnTo>
                  <a:lnTo>
                    <a:pt x="143" y="24"/>
                  </a:lnTo>
                  <a:lnTo>
                    <a:pt x="144" y="22"/>
                  </a:lnTo>
                  <a:lnTo>
                    <a:pt x="148" y="21"/>
                  </a:lnTo>
                  <a:lnTo>
                    <a:pt x="160" y="23"/>
                  </a:lnTo>
                  <a:lnTo>
                    <a:pt x="171" y="26"/>
                  </a:lnTo>
                  <a:lnTo>
                    <a:pt x="177" y="34"/>
                  </a:lnTo>
                  <a:lnTo>
                    <a:pt x="164" y="36"/>
                  </a:lnTo>
                  <a:lnTo>
                    <a:pt x="164" y="38"/>
                  </a:lnTo>
                  <a:lnTo>
                    <a:pt x="160" y="41"/>
                  </a:lnTo>
                  <a:lnTo>
                    <a:pt x="165" y="44"/>
                  </a:lnTo>
                  <a:lnTo>
                    <a:pt x="166" y="47"/>
                  </a:lnTo>
                  <a:lnTo>
                    <a:pt x="177" y="50"/>
                  </a:lnTo>
                  <a:lnTo>
                    <a:pt x="185" y="47"/>
                  </a:lnTo>
                  <a:lnTo>
                    <a:pt x="187" y="42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3" y="39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203" y="35"/>
                  </a:lnTo>
                  <a:lnTo>
                    <a:pt x="209" y="31"/>
                  </a:lnTo>
                  <a:lnTo>
                    <a:pt x="214" y="26"/>
                  </a:lnTo>
                  <a:lnTo>
                    <a:pt x="223" y="23"/>
                  </a:lnTo>
                  <a:lnTo>
                    <a:pt x="226" y="24"/>
                  </a:lnTo>
                  <a:lnTo>
                    <a:pt x="227" y="27"/>
                  </a:lnTo>
                  <a:lnTo>
                    <a:pt x="231" y="25"/>
                  </a:lnTo>
                  <a:lnTo>
                    <a:pt x="230" y="22"/>
                  </a:lnTo>
                  <a:lnTo>
                    <a:pt x="234" y="21"/>
                  </a:lnTo>
                  <a:lnTo>
                    <a:pt x="239" y="18"/>
                  </a:lnTo>
                  <a:lnTo>
                    <a:pt x="246" y="17"/>
                  </a:lnTo>
                  <a:lnTo>
                    <a:pt x="243" y="20"/>
                  </a:lnTo>
                  <a:lnTo>
                    <a:pt x="245" y="24"/>
                  </a:lnTo>
                  <a:lnTo>
                    <a:pt x="239" y="27"/>
                  </a:lnTo>
                  <a:lnTo>
                    <a:pt x="242" y="30"/>
                  </a:lnTo>
                  <a:lnTo>
                    <a:pt x="247" y="28"/>
                  </a:lnTo>
                  <a:lnTo>
                    <a:pt x="249" y="29"/>
                  </a:lnTo>
                  <a:lnTo>
                    <a:pt x="254" y="29"/>
                  </a:lnTo>
                  <a:lnTo>
                    <a:pt x="254" y="26"/>
                  </a:lnTo>
                  <a:lnTo>
                    <a:pt x="258" y="23"/>
                  </a:lnTo>
                  <a:lnTo>
                    <a:pt x="264" y="23"/>
                  </a:lnTo>
                  <a:lnTo>
                    <a:pt x="264" y="24"/>
                  </a:lnTo>
                  <a:lnTo>
                    <a:pt x="271" y="24"/>
                  </a:lnTo>
                  <a:lnTo>
                    <a:pt x="277" y="20"/>
                  </a:lnTo>
                  <a:lnTo>
                    <a:pt x="282" y="20"/>
                  </a:lnTo>
                  <a:lnTo>
                    <a:pt x="287" y="17"/>
                  </a:lnTo>
                  <a:lnTo>
                    <a:pt x="292" y="19"/>
                  </a:lnTo>
                  <a:lnTo>
                    <a:pt x="292" y="24"/>
                  </a:lnTo>
                  <a:lnTo>
                    <a:pt x="296" y="26"/>
                  </a:lnTo>
                  <a:lnTo>
                    <a:pt x="300" y="24"/>
                  </a:lnTo>
                  <a:lnTo>
                    <a:pt x="299" y="21"/>
                  </a:lnTo>
                  <a:lnTo>
                    <a:pt x="307" y="19"/>
                  </a:lnTo>
                  <a:lnTo>
                    <a:pt x="308" y="11"/>
                  </a:lnTo>
                  <a:lnTo>
                    <a:pt x="304" y="8"/>
                  </a:lnTo>
                  <a:lnTo>
                    <a:pt x="310" y="3"/>
                  </a:lnTo>
                  <a:lnTo>
                    <a:pt x="336" y="6"/>
                  </a:lnTo>
                  <a:lnTo>
                    <a:pt x="341" y="21"/>
                  </a:lnTo>
                  <a:lnTo>
                    <a:pt x="336" y="25"/>
                  </a:lnTo>
                  <a:lnTo>
                    <a:pt x="342" y="53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05" y="101"/>
                  </a:lnTo>
                  <a:lnTo>
                    <a:pt x="302" y="137"/>
                  </a:lnTo>
                  <a:lnTo>
                    <a:pt x="307" y="144"/>
                  </a:lnTo>
                  <a:lnTo>
                    <a:pt x="301" y="171"/>
                  </a:lnTo>
                  <a:lnTo>
                    <a:pt x="297" y="207"/>
                  </a:lnTo>
                  <a:lnTo>
                    <a:pt x="300" y="226"/>
                  </a:lnTo>
                  <a:lnTo>
                    <a:pt x="301" y="252"/>
                  </a:lnTo>
                  <a:lnTo>
                    <a:pt x="297" y="268"/>
                  </a:lnTo>
                  <a:lnTo>
                    <a:pt x="288" y="273"/>
                  </a:lnTo>
                  <a:lnTo>
                    <a:pt x="284" y="285"/>
                  </a:lnTo>
                  <a:lnTo>
                    <a:pt x="292" y="293"/>
                  </a:lnTo>
                  <a:lnTo>
                    <a:pt x="278" y="323"/>
                  </a:lnTo>
                  <a:lnTo>
                    <a:pt x="276" y="335"/>
                  </a:lnTo>
                  <a:lnTo>
                    <a:pt x="291" y="351"/>
                  </a:lnTo>
                  <a:lnTo>
                    <a:pt x="300" y="36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1" name="Freeform 386"/>
            <p:cNvSpPr>
              <a:spLocks/>
            </p:cNvSpPr>
            <p:nvPr/>
          </p:nvSpPr>
          <p:spPr bwMode="gray">
            <a:xfrm>
              <a:off x="2732" y="2564"/>
              <a:ext cx="193" cy="159"/>
            </a:xfrm>
            <a:custGeom>
              <a:avLst/>
              <a:gdLst>
                <a:gd name="T0" fmla="*/ 2147483647 w 148"/>
                <a:gd name="T1" fmla="*/ 0 h 122"/>
                <a:gd name="T2" fmla="*/ 2147483647 w 148"/>
                <a:gd name="T3" fmla="*/ 2147483647 h 122"/>
                <a:gd name="T4" fmla="*/ 2147483647 w 148"/>
                <a:gd name="T5" fmla="*/ 2147483647 h 122"/>
                <a:gd name="T6" fmla="*/ 2147483647 w 148"/>
                <a:gd name="T7" fmla="*/ 2147483647 h 122"/>
                <a:gd name="T8" fmla="*/ 2147483647 w 148"/>
                <a:gd name="T9" fmla="*/ 2147483647 h 122"/>
                <a:gd name="T10" fmla="*/ 2147483647 w 148"/>
                <a:gd name="T11" fmla="*/ 2147483647 h 122"/>
                <a:gd name="T12" fmla="*/ 2147483647 w 148"/>
                <a:gd name="T13" fmla="*/ 2147483647 h 122"/>
                <a:gd name="T14" fmla="*/ 2147483647 w 148"/>
                <a:gd name="T15" fmla="*/ 2147483647 h 122"/>
                <a:gd name="T16" fmla="*/ 2147483647 w 148"/>
                <a:gd name="T17" fmla="*/ 2147483647 h 122"/>
                <a:gd name="T18" fmla="*/ 2147483647 w 148"/>
                <a:gd name="T19" fmla="*/ 2147483647 h 122"/>
                <a:gd name="T20" fmla="*/ 2147483647 w 148"/>
                <a:gd name="T21" fmla="*/ 2147483647 h 122"/>
                <a:gd name="T22" fmla="*/ 2147483647 w 148"/>
                <a:gd name="T23" fmla="*/ 2147483647 h 122"/>
                <a:gd name="T24" fmla="*/ 2147483647 w 148"/>
                <a:gd name="T25" fmla="*/ 2147483647 h 122"/>
                <a:gd name="T26" fmla="*/ 2147483647 w 148"/>
                <a:gd name="T27" fmla="*/ 2147483647 h 122"/>
                <a:gd name="T28" fmla="*/ 2147483647 w 148"/>
                <a:gd name="T29" fmla="*/ 2147483647 h 122"/>
                <a:gd name="T30" fmla="*/ 2147483647 w 148"/>
                <a:gd name="T31" fmla="*/ 2147483647 h 122"/>
                <a:gd name="T32" fmla="*/ 2147483647 w 148"/>
                <a:gd name="T33" fmla="*/ 2147483647 h 122"/>
                <a:gd name="T34" fmla="*/ 2147483647 w 148"/>
                <a:gd name="T35" fmla="*/ 2147483647 h 122"/>
                <a:gd name="T36" fmla="*/ 2147483647 w 148"/>
                <a:gd name="T37" fmla="*/ 2147483647 h 122"/>
                <a:gd name="T38" fmla="*/ 2147483647 w 148"/>
                <a:gd name="T39" fmla="*/ 2147483647 h 122"/>
                <a:gd name="T40" fmla="*/ 2147483647 w 148"/>
                <a:gd name="T41" fmla="*/ 2147483647 h 122"/>
                <a:gd name="T42" fmla="*/ 2147483647 w 148"/>
                <a:gd name="T43" fmla="*/ 2147483647 h 122"/>
                <a:gd name="T44" fmla="*/ 2147483647 w 148"/>
                <a:gd name="T45" fmla="*/ 2147483647 h 122"/>
                <a:gd name="T46" fmla="*/ 2147483647 w 148"/>
                <a:gd name="T47" fmla="*/ 2147483647 h 122"/>
                <a:gd name="T48" fmla="*/ 0 w 148"/>
                <a:gd name="T49" fmla="*/ 2147483647 h 122"/>
                <a:gd name="T50" fmla="*/ 0 w 148"/>
                <a:gd name="T51" fmla="*/ 2147483647 h 122"/>
                <a:gd name="T52" fmla="*/ 2147483647 w 148"/>
                <a:gd name="T53" fmla="*/ 2147483647 h 122"/>
                <a:gd name="T54" fmla="*/ 2147483647 w 148"/>
                <a:gd name="T55" fmla="*/ 2147483647 h 122"/>
                <a:gd name="T56" fmla="*/ 2147483647 w 148"/>
                <a:gd name="T57" fmla="*/ 2147483647 h 122"/>
                <a:gd name="T58" fmla="*/ 2147483647 w 148"/>
                <a:gd name="T59" fmla="*/ 2147483647 h 122"/>
                <a:gd name="T60" fmla="*/ 2147483647 w 148"/>
                <a:gd name="T61" fmla="*/ 2147483647 h 122"/>
                <a:gd name="T62" fmla="*/ 2147483647 w 148"/>
                <a:gd name="T63" fmla="*/ 0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22"/>
                <a:gd name="T98" fmla="*/ 148 w 148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22">
                  <a:moveTo>
                    <a:pt x="110" y="0"/>
                  </a:moveTo>
                  <a:lnTo>
                    <a:pt x="136" y="7"/>
                  </a:lnTo>
                  <a:lnTo>
                    <a:pt x="140" y="23"/>
                  </a:lnTo>
                  <a:lnTo>
                    <a:pt x="148" y="34"/>
                  </a:lnTo>
                  <a:lnTo>
                    <a:pt x="143" y="42"/>
                  </a:lnTo>
                  <a:lnTo>
                    <a:pt x="142" y="71"/>
                  </a:lnTo>
                  <a:lnTo>
                    <a:pt x="126" y="91"/>
                  </a:lnTo>
                  <a:lnTo>
                    <a:pt x="124" y="104"/>
                  </a:lnTo>
                  <a:lnTo>
                    <a:pt x="110" y="109"/>
                  </a:lnTo>
                  <a:lnTo>
                    <a:pt x="93" y="106"/>
                  </a:lnTo>
                  <a:lnTo>
                    <a:pt x="88" y="112"/>
                  </a:lnTo>
                  <a:lnTo>
                    <a:pt x="81" y="114"/>
                  </a:lnTo>
                  <a:lnTo>
                    <a:pt x="74" y="111"/>
                  </a:lnTo>
                  <a:lnTo>
                    <a:pt x="64" y="111"/>
                  </a:lnTo>
                  <a:lnTo>
                    <a:pt x="57" y="103"/>
                  </a:lnTo>
                  <a:lnTo>
                    <a:pt x="43" y="101"/>
                  </a:lnTo>
                  <a:lnTo>
                    <a:pt x="36" y="107"/>
                  </a:lnTo>
                  <a:lnTo>
                    <a:pt x="32" y="120"/>
                  </a:lnTo>
                  <a:lnTo>
                    <a:pt x="28" y="121"/>
                  </a:lnTo>
                  <a:lnTo>
                    <a:pt x="21" y="122"/>
                  </a:lnTo>
                  <a:lnTo>
                    <a:pt x="19" y="118"/>
                  </a:lnTo>
                  <a:lnTo>
                    <a:pt x="11" y="111"/>
                  </a:lnTo>
                  <a:lnTo>
                    <a:pt x="10" y="104"/>
                  </a:lnTo>
                  <a:lnTo>
                    <a:pt x="5" y="104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5" y="91"/>
                  </a:lnTo>
                  <a:lnTo>
                    <a:pt x="20" y="89"/>
                  </a:lnTo>
                  <a:lnTo>
                    <a:pt x="30" y="87"/>
                  </a:lnTo>
                  <a:lnTo>
                    <a:pt x="42" y="47"/>
                  </a:lnTo>
                  <a:lnTo>
                    <a:pt x="52" y="4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2" name="Freeform 387"/>
            <p:cNvSpPr>
              <a:spLocks/>
            </p:cNvSpPr>
            <p:nvPr/>
          </p:nvSpPr>
          <p:spPr bwMode="gray">
            <a:xfrm>
              <a:off x="2526" y="2655"/>
              <a:ext cx="68" cy="65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0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0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2"/>
                <a:gd name="T85" fmla="*/ 0 h 50"/>
                <a:gd name="T86" fmla="*/ 52 w 52"/>
                <a:gd name="T87" fmla="*/ 50 h 5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2" h="50">
                  <a:moveTo>
                    <a:pt x="2" y="46"/>
                  </a:moveTo>
                  <a:lnTo>
                    <a:pt x="3" y="41"/>
                  </a:lnTo>
                  <a:lnTo>
                    <a:pt x="18" y="39"/>
                  </a:lnTo>
                  <a:lnTo>
                    <a:pt x="28" y="42"/>
                  </a:lnTo>
                  <a:lnTo>
                    <a:pt x="31" y="39"/>
                  </a:lnTo>
                  <a:lnTo>
                    <a:pt x="28" y="34"/>
                  </a:lnTo>
                  <a:lnTo>
                    <a:pt x="20" y="32"/>
                  </a:lnTo>
                  <a:lnTo>
                    <a:pt x="3" y="34"/>
                  </a:lnTo>
                  <a:lnTo>
                    <a:pt x="1" y="29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6" y="3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5"/>
                  </a:lnTo>
                  <a:lnTo>
                    <a:pt x="31" y="7"/>
                  </a:lnTo>
                  <a:lnTo>
                    <a:pt x="35" y="13"/>
                  </a:lnTo>
                  <a:lnTo>
                    <a:pt x="44" y="22"/>
                  </a:lnTo>
                  <a:lnTo>
                    <a:pt x="46" y="38"/>
                  </a:lnTo>
                  <a:lnTo>
                    <a:pt x="52" y="43"/>
                  </a:lnTo>
                  <a:lnTo>
                    <a:pt x="52" y="50"/>
                  </a:lnTo>
                  <a:lnTo>
                    <a:pt x="39" y="47"/>
                  </a:lnTo>
                  <a:lnTo>
                    <a:pt x="30" y="47"/>
                  </a:lnTo>
                  <a:lnTo>
                    <a:pt x="16" y="46"/>
                  </a:lnTo>
                  <a:lnTo>
                    <a:pt x="5" y="50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3" name="Freeform 388"/>
            <p:cNvSpPr>
              <a:spLocks/>
            </p:cNvSpPr>
            <p:nvPr/>
          </p:nvSpPr>
          <p:spPr bwMode="gray">
            <a:xfrm>
              <a:off x="2583" y="2546"/>
              <a:ext cx="204" cy="202"/>
            </a:xfrm>
            <a:custGeom>
              <a:avLst/>
              <a:gdLst>
                <a:gd name="T0" fmla="*/ 2147483647 w 156"/>
                <a:gd name="T1" fmla="*/ 0 h 155"/>
                <a:gd name="T2" fmla="*/ 2147483647 w 156"/>
                <a:gd name="T3" fmla="*/ 2147483647 h 155"/>
                <a:gd name="T4" fmla="*/ 2147483647 w 156"/>
                <a:gd name="T5" fmla="*/ 2147483647 h 155"/>
                <a:gd name="T6" fmla="*/ 2147483647 w 156"/>
                <a:gd name="T7" fmla="*/ 2147483647 h 155"/>
                <a:gd name="T8" fmla="*/ 2147483647 w 156"/>
                <a:gd name="T9" fmla="*/ 2147483647 h 155"/>
                <a:gd name="T10" fmla="*/ 2147483647 w 156"/>
                <a:gd name="T11" fmla="*/ 2147483647 h 155"/>
                <a:gd name="T12" fmla="*/ 2147483647 w 156"/>
                <a:gd name="T13" fmla="*/ 2147483647 h 155"/>
                <a:gd name="T14" fmla="*/ 2147483647 w 156"/>
                <a:gd name="T15" fmla="*/ 2147483647 h 155"/>
                <a:gd name="T16" fmla="*/ 2147483647 w 156"/>
                <a:gd name="T17" fmla="*/ 2147483647 h 155"/>
                <a:gd name="T18" fmla="*/ 2147483647 w 156"/>
                <a:gd name="T19" fmla="*/ 2147483647 h 155"/>
                <a:gd name="T20" fmla="*/ 2147483647 w 156"/>
                <a:gd name="T21" fmla="*/ 2147483647 h 155"/>
                <a:gd name="T22" fmla="*/ 2147483647 w 156"/>
                <a:gd name="T23" fmla="*/ 2147483647 h 155"/>
                <a:gd name="T24" fmla="*/ 2147483647 w 156"/>
                <a:gd name="T25" fmla="*/ 2147483647 h 155"/>
                <a:gd name="T26" fmla="*/ 2147483647 w 156"/>
                <a:gd name="T27" fmla="*/ 2147483647 h 155"/>
                <a:gd name="T28" fmla="*/ 2147483647 w 156"/>
                <a:gd name="T29" fmla="*/ 2147483647 h 155"/>
                <a:gd name="T30" fmla="*/ 2147483647 w 156"/>
                <a:gd name="T31" fmla="*/ 2147483647 h 155"/>
                <a:gd name="T32" fmla="*/ 2147483647 w 156"/>
                <a:gd name="T33" fmla="*/ 2147483647 h 155"/>
                <a:gd name="T34" fmla="*/ 2147483647 w 156"/>
                <a:gd name="T35" fmla="*/ 2147483647 h 155"/>
                <a:gd name="T36" fmla="*/ 2147483647 w 156"/>
                <a:gd name="T37" fmla="*/ 2147483647 h 155"/>
                <a:gd name="T38" fmla="*/ 2147483647 w 156"/>
                <a:gd name="T39" fmla="*/ 2147483647 h 155"/>
                <a:gd name="T40" fmla="*/ 2147483647 w 156"/>
                <a:gd name="T41" fmla="*/ 2147483647 h 155"/>
                <a:gd name="T42" fmla="*/ 2147483647 w 156"/>
                <a:gd name="T43" fmla="*/ 2147483647 h 155"/>
                <a:gd name="T44" fmla="*/ 2147483647 w 156"/>
                <a:gd name="T45" fmla="*/ 2147483647 h 155"/>
                <a:gd name="T46" fmla="*/ 2147483647 w 156"/>
                <a:gd name="T47" fmla="*/ 2147483647 h 155"/>
                <a:gd name="T48" fmla="*/ 2147483647 w 156"/>
                <a:gd name="T49" fmla="*/ 2147483647 h 155"/>
                <a:gd name="T50" fmla="*/ 2147483647 w 156"/>
                <a:gd name="T51" fmla="*/ 2147483647 h 155"/>
                <a:gd name="T52" fmla="*/ 2147483647 w 156"/>
                <a:gd name="T53" fmla="*/ 2147483647 h 155"/>
                <a:gd name="T54" fmla="*/ 2147483647 w 156"/>
                <a:gd name="T55" fmla="*/ 2147483647 h 155"/>
                <a:gd name="T56" fmla="*/ 2147483647 w 156"/>
                <a:gd name="T57" fmla="*/ 2147483647 h 155"/>
                <a:gd name="T58" fmla="*/ 2147483647 w 156"/>
                <a:gd name="T59" fmla="*/ 2147483647 h 155"/>
                <a:gd name="T60" fmla="*/ 2147483647 w 156"/>
                <a:gd name="T61" fmla="*/ 2147483647 h 155"/>
                <a:gd name="T62" fmla="*/ 2147483647 w 156"/>
                <a:gd name="T63" fmla="*/ 2147483647 h 155"/>
                <a:gd name="T64" fmla="*/ 2147483647 w 156"/>
                <a:gd name="T65" fmla="*/ 2147483647 h 155"/>
                <a:gd name="T66" fmla="*/ 2147483647 w 156"/>
                <a:gd name="T67" fmla="*/ 2147483647 h 155"/>
                <a:gd name="T68" fmla="*/ 0 w 156"/>
                <a:gd name="T69" fmla="*/ 2147483647 h 155"/>
                <a:gd name="T70" fmla="*/ 2147483647 w 156"/>
                <a:gd name="T71" fmla="*/ 2147483647 h 155"/>
                <a:gd name="T72" fmla="*/ 2147483647 w 156"/>
                <a:gd name="T73" fmla="*/ 2147483647 h 155"/>
                <a:gd name="T74" fmla="*/ 2147483647 w 156"/>
                <a:gd name="T75" fmla="*/ 2147483647 h 155"/>
                <a:gd name="T76" fmla="*/ 2147483647 w 156"/>
                <a:gd name="T77" fmla="*/ 2147483647 h 155"/>
                <a:gd name="T78" fmla="*/ 2147483647 w 156"/>
                <a:gd name="T79" fmla="*/ 2147483647 h 155"/>
                <a:gd name="T80" fmla="*/ 2147483647 w 156"/>
                <a:gd name="T81" fmla="*/ 2147483647 h 155"/>
                <a:gd name="T82" fmla="*/ 2147483647 w 156"/>
                <a:gd name="T83" fmla="*/ 2147483647 h 155"/>
                <a:gd name="T84" fmla="*/ 2147483647 w 156"/>
                <a:gd name="T85" fmla="*/ 2147483647 h 155"/>
                <a:gd name="T86" fmla="*/ 2147483647 w 156"/>
                <a:gd name="T87" fmla="*/ 2147483647 h 155"/>
                <a:gd name="T88" fmla="*/ 2147483647 w 156"/>
                <a:gd name="T89" fmla="*/ 0 h 15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6"/>
                <a:gd name="T136" fmla="*/ 0 h 155"/>
                <a:gd name="T137" fmla="*/ 156 w 156"/>
                <a:gd name="T138" fmla="*/ 155 h 15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6" h="155">
                  <a:moveTo>
                    <a:pt x="70" y="0"/>
                  </a:moveTo>
                  <a:lnTo>
                    <a:pt x="124" y="43"/>
                  </a:lnTo>
                  <a:lnTo>
                    <a:pt x="128" y="51"/>
                  </a:lnTo>
                  <a:lnTo>
                    <a:pt x="135" y="50"/>
                  </a:lnTo>
                  <a:lnTo>
                    <a:pt x="139" y="52"/>
                  </a:lnTo>
                  <a:lnTo>
                    <a:pt x="140" y="57"/>
                  </a:lnTo>
                  <a:lnTo>
                    <a:pt x="140" y="62"/>
                  </a:lnTo>
                  <a:lnTo>
                    <a:pt x="156" y="61"/>
                  </a:lnTo>
                  <a:lnTo>
                    <a:pt x="144" y="101"/>
                  </a:lnTo>
                  <a:lnTo>
                    <a:pt x="134" y="103"/>
                  </a:lnTo>
                  <a:lnTo>
                    <a:pt x="129" y="105"/>
                  </a:lnTo>
                  <a:lnTo>
                    <a:pt x="114" y="106"/>
                  </a:lnTo>
                  <a:lnTo>
                    <a:pt x="111" y="103"/>
                  </a:lnTo>
                  <a:lnTo>
                    <a:pt x="101" y="104"/>
                  </a:lnTo>
                  <a:lnTo>
                    <a:pt x="97" y="110"/>
                  </a:lnTo>
                  <a:lnTo>
                    <a:pt x="92" y="110"/>
                  </a:lnTo>
                  <a:lnTo>
                    <a:pt x="84" y="123"/>
                  </a:lnTo>
                  <a:lnTo>
                    <a:pt x="77" y="121"/>
                  </a:lnTo>
                  <a:lnTo>
                    <a:pt x="76" y="125"/>
                  </a:lnTo>
                  <a:lnTo>
                    <a:pt x="67" y="134"/>
                  </a:lnTo>
                  <a:lnTo>
                    <a:pt x="68" y="139"/>
                  </a:lnTo>
                  <a:lnTo>
                    <a:pt x="65" y="141"/>
                  </a:lnTo>
                  <a:lnTo>
                    <a:pt x="63" y="153"/>
                  </a:lnTo>
                  <a:lnTo>
                    <a:pt x="57" y="153"/>
                  </a:lnTo>
                  <a:lnTo>
                    <a:pt x="52" y="148"/>
                  </a:lnTo>
                  <a:lnTo>
                    <a:pt x="47" y="153"/>
                  </a:lnTo>
                  <a:lnTo>
                    <a:pt x="38" y="155"/>
                  </a:lnTo>
                  <a:lnTo>
                    <a:pt x="32" y="140"/>
                  </a:lnTo>
                  <a:lnTo>
                    <a:pt x="27" y="135"/>
                  </a:lnTo>
                  <a:lnTo>
                    <a:pt x="25" y="138"/>
                  </a:lnTo>
                  <a:lnTo>
                    <a:pt x="18" y="139"/>
                  </a:lnTo>
                  <a:lnTo>
                    <a:pt x="8" y="134"/>
                  </a:lnTo>
                  <a:lnTo>
                    <a:pt x="8" y="127"/>
                  </a:lnTo>
                  <a:lnTo>
                    <a:pt x="2" y="122"/>
                  </a:lnTo>
                  <a:lnTo>
                    <a:pt x="0" y="106"/>
                  </a:lnTo>
                  <a:lnTo>
                    <a:pt x="2" y="99"/>
                  </a:lnTo>
                  <a:lnTo>
                    <a:pt x="6" y="98"/>
                  </a:lnTo>
                  <a:lnTo>
                    <a:pt x="10" y="103"/>
                  </a:lnTo>
                  <a:lnTo>
                    <a:pt x="15" y="99"/>
                  </a:lnTo>
                  <a:lnTo>
                    <a:pt x="22" y="100"/>
                  </a:lnTo>
                  <a:lnTo>
                    <a:pt x="26" y="97"/>
                  </a:lnTo>
                  <a:lnTo>
                    <a:pt x="28" y="99"/>
                  </a:lnTo>
                  <a:lnTo>
                    <a:pt x="61" y="98"/>
                  </a:lnTo>
                  <a:lnTo>
                    <a:pt x="50" y="1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4" name="Freeform 389"/>
            <p:cNvSpPr>
              <a:spLocks/>
            </p:cNvSpPr>
            <p:nvPr/>
          </p:nvSpPr>
          <p:spPr bwMode="gray">
            <a:xfrm>
              <a:off x="2665" y="2680"/>
              <a:ext cx="95" cy="77"/>
            </a:xfrm>
            <a:custGeom>
              <a:avLst/>
              <a:gdLst>
                <a:gd name="T0" fmla="*/ 2147483647 w 73"/>
                <a:gd name="T1" fmla="*/ 2147483647 h 59"/>
                <a:gd name="T2" fmla="*/ 2147483647 w 73"/>
                <a:gd name="T3" fmla="*/ 2147483647 h 59"/>
                <a:gd name="T4" fmla="*/ 2147483647 w 73"/>
                <a:gd name="T5" fmla="*/ 2147483647 h 59"/>
                <a:gd name="T6" fmla="*/ 2147483647 w 73"/>
                <a:gd name="T7" fmla="*/ 2147483647 h 59"/>
                <a:gd name="T8" fmla="*/ 2147483647 w 73"/>
                <a:gd name="T9" fmla="*/ 2147483647 h 59"/>
                <a:gd name="T10" fmla="*/ 2147483647 w 73"/>
                <a:gd name="T11" fmla="*/ 2147483647 h 59"/>
                <a:gd name="T12" fmla="*/ 2147483647 w 73"/>
                <a:gd name="T13" fmla="*/ 2147483647 h 59"/>
                <a:gd name="T14" fmla="*/ 2147483647 w 73"/>
                <a:gd name="T15" fmla="*/ 2147483647 h 59"/>
                <a:gd name="T16" fmla="*/ 2147483647 w 73"/>
                <a:gd name="T17" fmla="*/ 2147483647 h 59"/>
                <a:gd name="T18" fmla="*/ 2147483647 w 73"/>
                <a:gd name="T19" fmla="*/ 2147483647 h 59"/>
                <a:gd name="T20" fmla="*/ 2147483647 w 73"/>
                <a:gd name="T21" fmla="*/ 2147483647 h 59"/>
                <a:gd name="T22" fmla="*/ 2147483647 w 73"/>
                <a:gd name="T23" fmla="*/ 2147483647 h 59"/>
                <a:gd name="T24" fmla="*/ 2147483647 w 73"/>
                <a:gd name="T25" fmla="*/ 2147483647 h 59"/>
                <a:gd name="T26" fmla="*/ 2147483647 w 73"/>
                <a:gd name="T27" fmla="*/ 2147483647 h 59"/>
                <a:gd name="T28" fmla="*/ 2147483647 w 73"/>
                <a:gd name="T29" fmla="*/ 2147483647 h 59"/>
                <a:gd name="T30" fmla="*/ 0 w 73"/>
                <a:gd name="T31" fmla="*/ 2147483647 h 59"/>
                <a:gd name="T32" fmla="*/ 2147483647 w 73"/>
                <a:gd name="T33" fmla="*/ 2147483647 h 59"/>
                <a:gd name="T34" fmla="*/ 2147483647 w 73"/>
                <a:gd name="T35" fmla="*/ 2147483647 h 59"/>
                <a:gd name="T36" fmla="*/ 2147483647 w 73"/>
                <a:gd name="T37" fmla="*/ 2147483647 h 59"/>
                <a:gd name="T38" fmla="*/ 2147483647 w 73"/>
                <a:gd name="T39" fmla="*/ 2147483647 h 59"/>
                <a:gd name="T40" fmla="*/ 2147483647 w 73"/>
                <a:gd name="T41" fmla="*/ 2147483647 h 59"/>
                <a:gd name="T42" fmla="*/ 2147483647 w 73"/>
                <a:gd name="T43" fmla="*/ 2147483647 h 59"/>
                <a:gd name="T44" fmla="*/ 2147483647 w 73"/>
                <a:gd name="T45" fmla="*/ 2147483647 h 59"/>
                <a:gd name="T46" fmla="*/ 2147483647 w 73"/>
                <a:gd name="T47" fmla="*/ 2147483647 h 59"/>
                <a:gd name="T48" fmla="*/ 2147483647 w 73"/>
                <a:gd name="T49" fmla="*/ 2147483647 h 59"/>
                <a:gd name="T50" fmla="*/ 2147483647 w 73"/>
                <a:gd name="T51" fmla="*/ 0 h 59"/>
                <a:gd name="T52" fmla="*/ 2147483647 w 73"/>
                <a:gd name="T53" fmla="*/ 2147483647 h 5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3"/>
                <a:gd name="T82" fmla="*/ 0 h 59"/>
                <a:gd name="T83" fmla="*/ 73 w 73"/>
                <a:gd name="T84" fmla="*/ 59 h 5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3" h="59">
                  <a:moveTo>
                    <a:pt x="51" y="3"/>
                  </a:moveTo>
                  <a:lnTo>
                    <a:pt x="51" y="10"/>
                  </a:lnTo>
                  <a:lnTo>
                    <a:pt x="56" y="15"/>
                  </a:lnTo>
                  <a:lnTo>
                    <a:pt x="61" y="15"/>
                  </a:lnTo>
                  <a:lnTo>
                    <a:pt x="62" y="22"/>
                  </a:lnTo>
                  <a:lnTo>
                    <a:pt x="70" y="29"/>
                  </a:lnTo>
                  <a:lnTo>
                    <a:pt x="73" y="35"/>
                  </a:lnTo>
                  <a:lnTo>
                    <a:pt x="57" y="45"/>
                  </a:lnTo>
                  <a:lnTo>
                    <a:pt x="44" y="40"/>
                  </a:lnTo>
                  <a:lnTo>
                    <a:pt x="40" y="41"/>
                  </a:lnTo>
                  <a:lnTo>
                    <a:pt x="33" y="38"/>
                  </a:lnTo>
                  <a:lnTo>
                    <a:pt x="27" y="40"/>
                  </a:lnTo>
                  <a:lnTo>
                    <a:pt x="23" y="53"/>
                  </a:lnTo>
                  <a:lnTo>
                    <a:pt x="13" y="53"/>
                  </a:lnTo>
                  <a:lnTo>
                    <a:pt x="7" y="59"/>
                  </a:lnTo>
                  <a:lnTo>
                    <a:pt x="0" y="50"/>
                  </a:lnTo>
                  <a:lnTo>
                    <a:pt x="2" y="38"/>
                  </a:lnTo>
                  <a:lnTo>
                    <a:pt x="5" y="36"/>
                  </a:lnTo>
                  <a:lnTo>
                    <a:pt x="4" y="31"/>
                  </a:lnTo>
                  <a:lnTo>
                    <a:pt x="13" y="22"/>
                  </a:lnTo>
                  <a:lnTo>
                    <a:pt x="14" y="18"/>
                  </a:lnTo>
                  <a:lnTo>
                    <a:pt x="21" y="20"/>
                  </a:lnTo>
                  <a:lnTo>
                    <a:pt x="29" y="7"/>
                  </a:lnTo>
                  <a:lnTo>
                    <a:pt x="34" y="7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5" name="Freeform 390"/>
            <p:cNvSpPr>
              <a:spLocks/>
            </p:cNvSpPr>
            <p:nvPr/>
          </p:nvSpPr>
          <p:spPr bwMode="gray">
            <a:xfrm>
              <a:off x="2590" y="2382"/>
              <a:ext cx="125" cy="118"/>
            </a:xfrm>
            <a:custGeom>
              <a:avLst/>
              <a:gdLst>
                <a:gd name="T0" fmla="*/ 0 w 96"/>
                <a:gd name="T1" fmla="*/ 2147483647 h 91"/>
                <a:gd name="T2" fmla="*/ 2147483647 w 96"/>
                <a:gd name="T3" fmla="*/ 2147483647 h 91"/>
                <a:gd name="T4" fmla="*/ 2147483647 w 96"/>
                <a:gd name="T5" fmla="*/ 2147483647 h 91"/>
                <a:gd name="T6" fmla="*/ 2147483647 w 96"/>
                <a:gd name="T7" fmla="*/ 2147483647 h 91"/>
                <a:gd name="T8" fmla="*/ 2147483647 w 96"/>
                <a:gd name="T9" fmla="*/ 2147483647 h 91"/>
                <a:gd name="T10" fmla="*/ 2147483647 w 96"/>
                <a:gd name="T11" fmla="*/ 2147483647 h 91"/>
                <a:gd name="T12" fmla="*/ 2147483647 w 96"/>
                <a:gd name="T13" fmla="*/ 2147483647 h 91"/>
                <a:gd name="T14" fmla="*/ 2147483647 w 96"/>
                <a:gd name="T15" fmla="*/ 2147483647 h 91"/>
                <a:gd name="T16" fmla="*/ 2147483647 w 96"/>
                <a:gd name="T17" fmla="*/ 2147483647 h 91"/>
                <a:gd name="T18" fmla="*/ 2147483647 w 96"/>
                <a:gd name="T19" fmla="*/ 2147483647 h 91"/>
                <a:gd name="T20" fmla="*/ 2147483647 w 96"/>
                <a:gd name="T21" fmla="*/ 2147483647 h 91"/>
                <a:gd name="T22" fmla="*/ 2147483647 w 96"/>
                <a:gd name="T23" fmla="*/ 2147483647 h 91"/>
                <a:gd name="T24" fmla="*/ 2147483647 w 96"/>
                <a:gd name="T25" fmla="*/ 2147483647 h 91"/>
                <a:gd name="T26" fmla="*/ 2147483647 w 96"/>
                <a:gd name="T27" fmla="*/ 2147483647 h 91"/>
                <a:gd name="T28" fmla="*/ 2147483647 w 96"/>
                <a:gd name="T29" fmla="*/ 2147483647 h 91"/>
                <a:gd name="T30" fmla="*/ 2147483647 w 96"/>
                <a:gd name="T31" fmla="*/ 0 h 91"/>
                <a:gd name="T32" fmla="*/ 2147483647 w 96"/>
                <a:gd name="T33" fmla="*/ 2147483647 h 91"/>
                <a:gd name="T34" fmla="*/ 2147483647 w 96"/>
                <a:gd name="T35" fmla="*/ 2147483647 h 91"/>
                <a:gd name="T36" fmla="*/ 2147483647 w 96"/>
                <a:gd name="T37" fmla="*/ 2147483647 h 91"/>
                <a:gd name="T38" fmla="*/ 2147483647 w 96"/>
                <a:gd name="T39" fmla="*/ 2147483647 h 91"/>
                <a:gd name="T40" fmla="*/ 2147483647 w 96"/>
                <a:gd name="T41" fmla="*/ 2147483647 h 91"/>
                <a:gd name="T42" fmla="*/ 2147483647 w 96"/>
                <a:gd name="T43" fmla="*/ 2147483647 h 91"/>
                <a:gd name="T44" fmla="*/ 2147483647 w 96"/>
                <a:gd name="T45" fmla="*/ 2147483647 h 91"/>
                <a:gd name="T46" fmla="*/ 2147483647 w 96"/>
                <a:gd name="T47" fmla="*/ 2147483647 h 91"/>
                <a:gd name="T48" fmla="*/ 2147483647 w 96"/>
                <a:gd name="T49" fmla="*/ 2147483647 h 91"/>
                <a:gd name="T50" fmla="*/ 2147483647 w 96"/>
                <a:gd name="T51" fmla="*/ 2147483647 h 91"/>
                <a:gd name="T52" fmla="*/ 2147483647 w 96"/>
                <a:gd name="T53" fmla="*/ 2147483647 h 91"/>
                <a:gd name="T54" fmla="*/ 2147483647 w 96"/>
                <a:gd name="T55" fmla="*/ 2147483647 h 91"/>
                <a:gd name="T56" fmla="*/ 2147483647 w 96"/>
                <a:gd name="T57" fmla="*/ 2147483647 h 91"/>
                <a:gd name="T58" fmla="*/ 2147483647 w 96"/>
                <a:gd name="T59" fmla="*/ 2147483647 h 91"/>
                <a:gd name="T60" fmla="*/ 2147483647 w 96"/>
                <a:gd name="T61" fmla="*/ 2147483647 h 91"/>
                <a:gd name="T62" fmla="*/ 2147483647 w 96"/>
                <a:gd name="T63" fmla="*/ 2147483647 h 91"/>
                <a:gd name="T64" fmla="*/ 2147483647 w 96"/>
                <a:gd name="T65" fmla="*/ 2147483647 h 91"/>
                <a:gd name="T66" fmla="*/ 2147483647 w 96"/>
                <a:gd name="T67" fmla="*/ 2147483647 h 91"/>
                <a:gd name="T68" fmla="*/ 2147483647 w 96"/>
                <a:gd name="T69" fmla="*/ 2147483647 h 91"/>
                <a:gd name="T70" fmla="*/ 2147483647 w 96"/>
                <a:gd name="T71" fmla="*/ 2147483647 h 91"/>
                <a:gd name="T72" fmla="*/ 2147483647 w 96"/>
                <a:gd name="T73" fmla="*/ 2147483647 h 91"/>
                <a:gd name="T74" fmla="*/ 2147483647 w 96"/>
                <a:gd name="T75" fmla="*/ 2147483647 h 91"/>
                <a:gd name="T76" fmla="*/ 0 w 96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6"/>
                <a:gd name="T118" fmla="*/ 0 h 91"/>
                <a:gd name="T119" fmla="*/ 96 w 96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6" h="91">
                  <a:moveTo>
                    <a:pt x="0" y="91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5" y="76"/>
                  </a:lnTo>
                  <a:lnTo>
                    <a:pt x="18" y="69"/>
                  </a:lnTo>
                  <a:lnTo>
                    <a:pt x="18" y="54"/>
                  </a:lnTo>
                  <a:lnTo>
                    <a:pt x="21" y="46"/>
                  </a:lnTo>
                  <a:lnTo>
                    <a:pt x="22" y="40"/>
                  </a:lnTo>
                  <a:lnTo>
                    <a:pt x="23" y="36"/>
                  </a:lnTo>
                  <a:lnTo>
                    <a:pt x="33" y="28"/>
                  </a:lnTo>
                  <a:lnTo>
                    <a:pt x="39" y="26"/>
                  </a:lnTo>
                  <a:lnTo>
                    <a:pt x="45" y="22"/>
                  </a:lnTo>
                  <a:lnTo>
                    <a:pt x="46" y="17"/>
                  </a:lnTo>
                  <a:lnTo>
                    <a:pt x="53" y="8"/>
                  </a:lnTo>
                  <a:lnTo>
                    <a:pt x="53" y="3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0" y="4"/>
                  </a:lnTo>
                  <a:lnTo>
                    <a:pt x="64" y="5"/>
                  </a:lnTo>
                  <a:lnTo>
                    <a:pt x="66" y="7"/>
                  </a:lnTo>
                  <a:lnTo>
                    <a:pt x="73" y="8"/>
                  </a:lnTo>
                  <a:lnTo>
                    <a:pt x="82" y="8"/>
                  </a:lnTo>
                  <a:lnTo>
                    <a:pt x="85" y="9"/>
                  </a:lnTo>
                  <a:lnTo>
                    <a:pt x="91" y="10"/>
                  </a:lnTo>
                  <a:lnTo>
                    <a:pt x="95" y="30"/>
                  </a:lnTo>
                  <a:lnTo>
                    <a:pt x="96" y="34"/>
                  </a:lnTo>
                  <a:lnTo>
                    <a:pt x="93" y="47"/>
                  </a:lnTo>
                  <a:lnTo>
                    <a:pt x="86" y="48"/>
                  </a:lnTo>
                  <a:lnTo>
                    <a:pt x="78" y="48"/>
                  </a:lnTo>
                  <a:lnTo>
                    <a:pt x="76" y="58"/>
                  </a:lnTo>
                  <a:lnTo>
                    <a:pt x="72" y="59"/>
                  </a:lnTo>
                  <a:lnTo>
                    <a:pt x="67" y="62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9"/>
                  </a:lnTo>
                  <a:lnTo>
                    <a:pt x="36" y="76"/>
                  </a:lnTo>
                  <a:lnTo>
                    <a:pt x="28" y="83"/>
                  </a:lnTo>
                  <a:lnTo>
                    <a:pt x="28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6" name="Freeform 391"/>
            <p:cNvSpPr>
              <a:spLocks/>
            </p:cNvSpPr>
            <p:nvPr/>
          </p:nvSpPr>
          <p:spPr bwMode="gray">
            <a:xfrm>
              <a:off x="2524" y="2509"/>
              <a:ext cx="152" cy="175"/>
            </a:xfrm>
            <a:custGeom>
              <a:avLst/>
              <a:gdLst>
                <a:gd name="T0" fmla="*/ 2147483647 w 116"/>
                <a:gd name="T1" fmla="*/ 0 h 134"/>
                <a:gd name="T2" fmla="*/ 2147483647 w 116"/>
                <a:gd name="T3" fmla="*/ 2147483647 h 134"/>
                <a:gd name="T4" fmla="*/ 2147483647 w 116"/>
                <a:gd name="T5" fmla="*/ 2147483647 h 134"/>
                <a:gd name="T6" fmla="*/ 2147483647 w 116"/>
                <a:gd name="T7" fmla="*/ 2147483647 h 134"/>
                <a:gd name="T8" fmla="*/ 2147483647 w 116"/>
                <a:gd name="T9" fmla="*/ 2147483647 h 134"/>
                <a:gd name="T10" fmla="*/ 2147483647 w 116"/>
                <a:gd name="T11" fmla="*/ 2147483647 h 134"/>
                <a:gd name="T12" fmla="*/ 2147483647 w 116"/>
                <a:gd name="T13" fmla="*/ 2147483647 h 134"/>
                <a:gd name="T14" fmla="*/ 2147483647 w 116"/>
                <a:gd name="T15" fmla="*/ 2147483647 h 134"/>
                <a:gd name="T16" fmla="*/ 2147483647 w 116"/>
                <a:gd name="T17" fmla="*/ 2147483647 h 134"/>
                <a:gd name="T18" fmla="*/ 2147483647 w 116"/>
                <a:gd name="T19" fmla="*/ 2147483647 h 134"/>
                <a:gd name="T20" fmla="*/ 2147483647 w 116"/>
                <a:gd name="T21" fmla="*/ 2147483647 h 134"/>
                <a:gd name="T22" fmla="*/ 2147483647 w 116"/>
                <a:gd name="T23" fmla="*/ 2147483647 h 134"/>
                <a:gd name="T24" fmla="*/ 2147483647 w 116"/>
                <a:gd name="T25" fmla="*/ 2147483647 h 134"/>
                <a:gd name="T26" fmla="*/ 2147483647 w 116"/>
                <a:gd name="T27" fmla="*/ 2147483647 h 134"/>
                <a:gd name="T28" fmla="*/ 2147483647 w 116"/>
                <a:gd name="T29" fmla="*/ 2147483647 h 134"/>
                <a:gd name="T30" fmla="*/ 2147483647 w 116"/>
                <a:gd name="T31" fmla="*/ 2147483647 h 134"/>
                <a:gd name="T32" fmla="*/ 2147483647 w 116"/>
                <a:gd name="T33" fmla="*/ 2147483647 h 134"/>
                <a:gd name="T34" fmla="*/ 2147483647 w 116"/>
                <a:gd name="T35" fmla="*/ 2147483647 h 134"/>
                <a:gd name="T36" fmla="*/ 2147483647 w 116"/>
                <a:gd name="T37" fmla="*/ 2147483647 h 134"/>
                <a:gd name="T38" fmla="*/ 2147483647 w 116"/>
                <a:gd name="T39" fmla="*/ 2147483647 h 134"/>
                <a:gd name="T40" fmla="*/ 2147483647 w 116"/>
                <a:gd name="T41" fmla="*/ 2147483647 h 134"/>
                <a:gd name="T42" fmla="*/ 2147483647 w 116"/>
                <a:gd name="T43" fmla="*/ 2147483647 h 134"/>
                <a:gd name="T44" fmla="*/ 2147483647 w 116"/>
                <a:gd name="T45" fmla="*/ 2147483647 h 134"/>
                <a:gd name="T46" fmla="*/ 2147483647 w 116"/>
                <a:gd name="T47" fmla="*/ 2147483647 h 134"/>
                <a:gd name="T48" fmla="*/ 2147483647 w 116"/>
                <a:gd name="T49" fmla="*/ 2147483647 h 134"/>
                <a:gd name="T50" fmla="*/ 0 w 116"/>
                <a:gd name="T51" fmla="*/ 2147483647 h 134"/>
                <a:gd name="T52" fmla="*/ 2147483647 w 116"/>
                <a:gd name="T53" fmla="*/ 2147483647 h 134"/>
                <a:gd name="T54" fmla="*/ 2147483647 w 116"/>
                <a:gd name="T55" fmla="*/ 2147483647 h 134"/>
                <a:gd name="T56" fmla="*/ 2147483647 w 116"/>
                <a:gd name="T57" fmla="*/ 2147483647 h 134"/>
                <a:gd name="T58" fmla="*/ 2147483647 w 116"/>
                <a:gd name="T59" fmla="*/ 2147483647 h 134"/>
                <a:gd name="T60" fmla="*/ 2147483647 w 116"/>
                <a:gd name="T61" fmla="*/ 2147483647 h 134"/>
                <a:gd name="T62" fmla="*/ 2147483647 w 116"/>
                <a:gd name="T63" fmla="*/ 2147483647 h 134"/>
                <a:gd name="T64" fmla="*/ 2147483647 w 116"/>
                <a:gd name="T65" fmla="*/ 0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6"/>
                <a:gd name="T100" fmla="*/ 0 h 134"/>
                <a:gd name="T101" fmla="*/ 116 w 116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6" h="134">
                  <a:moveTo>
                    <a:pt x="80" y="0"/>
                  </a:moveTo>
                  <a:lnTo>
                    <a:pt x="116" y="29"/>
                  </a:lnTo>
                  <a:lnTo>
                    <a:pt x="95" y="29"/>
                  </a:lnTo>
                  <a:lnTo>
                    <a:pt x="106" y="126"/>
                  </a:lnTo>
                  <a:lnTo>
                    <a:pt x="74" y="127"/>
                  </a:lnTo>
                  <a:lnTo>
                    <a:pt x="71" y="125"/>
                  </a:lnTo>
                  <a:lnTo>
                    <a:pt x="67" y="128"/>
                  </a:lnTo>
                  <a:lnTo>
                    <a:pt x="60" y="127"/>
                  </a:lnTo>
                  <a:lnTo>
                    <a:pt x="55" y="131"/>
                  </a:lnTo>
                  <a:lnTo>
                    <a:pt x="51" y="126"/>
                  </a:lnTo>
                  <a:lnTo>
                    <a:pt x="47" y="127"/>
                  </a:lnTo>
                  <a:lnTo>
                    <a:pt x="45" y="134"/>
                  </a:lnTo>
                  <a:lnTo>
                    <a:pt x="36" y="125"/>
                  </a:lnTo>
                  <a:lnTo>
                    <a:pt x="32" y="119"/>
                  </a:lnTo>
                  <a:lnTo>
                    <a:pt x="29" y="117"/>
                  </a:lnTo>
                  <a:lnTo>
                    <a:pt x="24" y="114"/>
                  </a:lnTo>
                  <a:lnTo>
                    <a:pt x="18" y="113"/>
                  </a:lnTo>
                  <a:lnTo>
                    <a:pt x="14" y="112"/>
                  </a:lnTo>
                  <a:lnTo>
                    <a:pt x="7" y="115"/>
                  </a:lnTo>
                  <a:lnTo>
                    <a:pt x="10" y="105"/>
                  </a:lnTo>
                  <a:lnTo>
                    <a:pt x="10" y="102"/>
                  </a:lnTo>
                  <a:lnTo>
                    <a:pt x="6" y="88"/>
                  </a:lnTo>
                  <a:lnTo>
                    <a:pt x="7" y="81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0" y="67"/>
                  </a:lnTo>
                  <a:lnTo>
                    <a:pt x="38" y="67"/>
                  </a:lnTo>
                  <a:lnTo>
                    <a:pt x="37" y="53"/>
                  </a:lnTo>
                  <a:lnTo>
                    <a:pt x="41" y="43"/>
                  </a:lnTo>
                  <a:lnTo>
                    <a:pt x="48" y="43"/>
                  </a:lnTo>
                  <a:lnTo>
                    <a:pt x="47" y="14"/>
                  </a:lnTo>
                  <a:lnTo>
                    <a:pt x="78" y="14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7" name="Freeform 392"/>
            <p:cNvSpPr>
              <a:spLocks/>
            </p:cNvSpPr>
            <p:nvPr/>
          </p:nvSpPr>
          <p:spPr bwMode="gray">
            <a:xfrm>
              <a:off x="2524" y="2500"/>
              <a:ext cx="103" cy="96"/>
            </a:xfrm>
            <a:custGeom>
              <a:avLst/>
              <a:gdLst>
                <a:gd name="T0" fmla="*/ 0 w 79"/>
                <a:gd name="T1" fmla="*/ 2147483647 h 74"/>
                <a:gd name="T2" fmla="*/ 2147483647 w 79"/>
                <a:gd name="T3" fmla="*/ 2147483647 h 74"/>
                <a:gd name="T4" fmla="*/ 2147483647 w 79"/>
                <a:gd name="T5" fmla="*/ 2147483647 h 74"/>
                <a:gd name="T6" fmla="*/ 2147483647 w 79"/>
                <a:gd name="T7" fmla="*/ 2147483647 h 74"/>
                <a:gd name="T8" fmla="*/ 2147483647 w 79"/>
                <a:gd name="T9" fmla="*/ 2147483647 h 74"/>
                <a:gd name="T10" fmla="*/ 2147483647 w 79"/>
                <a:gd name="T11" fmla="*/ 2147483647 h 74"/>
                <a:gd name="T12" fmla="*/ 2147483647 w 79"/>
                <a:gd name="T13" fmla="*/ 2147483647 h 74"/>
                <a:gd name="T14" fmla="*/ 2147483647 w 79"/>
                <a:gd name="T15" fmla="*/ 2147483647 h 74"/>
                <a:gd name="T16" fmla="*/ 2147483647 w 79"/>
                <a:gd name="T17" fmla="*/ 2147483647 h 74"/>
                <a:gd name="T18" fmla="*/ 2147483647 w 79"/>
                <a:gd name="T19" fmla="*/ 2147483647 h 74"/>
                <a:gd name="T20" fmla="*/ 2147483647 w 79"/>
                <a:gd name="T21" fmla="*/ 2147483647 h 74"/>
                <a:gd name="T22" fmla="*/ 2147483647 w 79"/>
                <a:gd name="T23" fmla="*/ 0 h 74"/>
                <a:gd name="T24" fmla="*/ 2147483647 w 79"/>
                <a:gd name="T25" fmla="*/ 0 h 74"/>
                <a:gd name="T26" fmla="*/ 2147483647 w 79"/>
                <a:gd name="T27" fmla="*/ 2147483647 h 74"/>
                <a:gd name="T28" fmla="*/ 2147483647 w 79"/>
                <a:gd name="T29" fmla="*/ 2147483647 h 74"/>
                <a:gd name="T30" fmla="*/ 2147483647 w 79"/>
                <a:gd name="T31" fmla="*/ 2147483647 h 74"/>
                <a:gd name="T32" fmla="*/ 2147483647 w 79"/>
                <a:gd name="T33" fmla="*/ 2147483647 h 74"/>
                <a:gd name="T34" fmla="*/ 2147483647 w 79"/>
                <a:gd name="T35" fmla="*/ 2147483647 h 74"/>
                <a:gd name="T36" fmla="*/ 2147483647 w 79"/>
                <a:gd name="T37" fmla="*/ 2147483647 h 74"/>
                <a:gd name="T38" fmla="*/ 2147483647 w 79"/>
                <a:gd name="T39" fmla="*/ 2147483647 h 74"/>
                <a:gd name="T40" fmla="*/ 0 w 79"/>
                <a:gd name="T41" fmla="*/ 2147483647 h 7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9"/>
                <a:gd name="T64" fmla="*/ 0 h 74"/>
                <a:gd name="T65" fmla="*/ 79 w 79"/>
                <a:gd name="T66" fmla="*/ 74 h 7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9" h="74">
                  <a:moveTo>
                    <a:pt x="0" y="74"/>
                  </a:moveTo>
                  <a:lnTo>
                    <a:pt x="5" y="58"/>
                  </a:lnTo>
                  <a:lnTo>
                    <a:pt x="13" y="45"/>
                  </a:lnTo>
                  <a:lnTo>
                    <a:pt x="19" y="35"/>
                  </a:lnTo>
                  <a:lnTo>
                    <a:pt x="22" y="26"/>
                  </a:lnTo>
                  <a:lnTo>
                    <a:pt x="26" y="20"/>
                  </a:lnTo>
                  <a:lnTo>
                    <a:pt x="29" y="19"/>
                  </a:lnTo>
                  <a:lnTo>
                    <a:pt x="31" y="16"/>
                  </a:lnTo>
                  <a:lnTo>
                    <a:pt x="37" y="4"/>
                  </a:lnTo>
                  <a:lnTo>
                    <a:pt x="43" y="2"/>
                  </a:lnTo>
                  <a:lnTo>
                    <a:pt x="47" y="1"/>
                  </a:lnTo>
                  <a:lnTo>
                    <a:pt x="50" y="0"/>
                  </a:lnTo>
                  <a:lnTo>
                    <a:pt x="78" y="0"/>
                  </a:lnTo>
                  <a:lnTo>
                    <a:pt x="79" y="7"/>
                  </a:lnTo>
                  <a:lnTo>
                    <a:pt x="78" y="21"/>
                  </a:lnTo>
                  <a:lnTo>
                    <a:pt x="47" y="21"/>
                  </a:lnTo>
                  <a:lnTo>
                    <a:pt x="48" y="50"/>
                  </a:lnTo>
                  <a:lnTo>
                    <a:pt x="40" y="50"/>
                  </a:lnTo>
                  <a:lnTo>
                    <a:pt x="37" y="60"/>
                  </a:lnTo>
                  <a:lnTo>
                    <a:pt x="37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8" name="Freeform 393"/>
            <p:cNvSpPr>
              <a:spLocks/>
            </p:cNvSpPr>
            <p:nvPr/>
          </p:nvSpPr>
          <p:spPr bwMode="gray">
            <a:xfrm>
              <a:off x="2819" y="2357"/>
              <a:ext cx="50" cy="104"/>
            </a:xfrm>
            <a:custGeom>
              <a:avLst/>
              <a:gdLst>
                <a:gd name="T0" fmla="*/ 2147483647 w 38"/>
                <a:gd name="T1" fmla="*/ 2147483647 h 80"/>
                <a:gd name="T2" fmla="*/ 2147483647 w 38"/>
                <a:gd name="T3" fmla="*/ 2147483647 h 80"/>
                <a:gd name="T4" fmla="*/ 2147483647 w 38"/>
                <a:gd name="T5" fmla="*/ 2147483647 h 80"/>
                <a:gd name="T6" fmla="*/ 2147483647 w 38"/>
                <a:gd name="T7" fmla="*/ 0 h 80"/>
                <a:gd name="T8" fmla="*/ 2147483647 w 38"/>
                <a:gd name="T9" fmla="*/ 2147483647 h 80"/>
                <a:gd name="T10" fmla="*/ 2147483647 w 38"/>
                <a:gd name="T11" fmla="*/ 2147483647 h 80"/>
                <a:gd name="T12" fmla="*/ 2147483647 w 38"/>
                <a:gd name="T13" fmla="*/ 2147483647 h 80"/>
                <a:gd name="T14" fmla="*/ 2147483647 w 38"/>
                <a:gd name="T15" fmla="*/ 2147483647 h 80"/>
                <a:gd name="T16" fmla="*/ 2147483647 w 38"/>
                <a:gd name="T17" fmla="*/ 2147483647 h 80"/>
                <a:gd name="T18" fmla="*/ 2147483647 w 38"/>
                <a:gd name="T19" fmla="*/ 2147483647 h 80"/>
                <a:gd name="T20" fmla="*/ 2147483647 w 38"/>
                <a:gd name="T21" fmla="*/ 2147483647 h 80"/>
                <a:gd name="T22" fmla="*/ 2147483647 w 38"/>
                <a:gd name="T23" fmla="*/ 2147483647 h 80"/>
                <a:gd name="T24" fmla="*/ 2147483647 w 38"/>
                <a:gd name="T25" fmla="*/ 2147483647 h 80"/>
                <a:gd name="T26" fmla="*/ 2147483647 w 38"/>
                <a:gd name="T27" fmla="*/ 2147483647 h 80"/>
                <a:gd name="T28" fmla="*/ 2147483647 w 38"/>
                <a:gd name="T29" fmla="*/ 2147483647 h 80"/>
                <a:gd name="T30" fmla="*/ 2147483647 w 38"/>
                <a:gd name="T31" fmla="*/ 2147483647 h 80"/>
                <a:gd name="T32" fmla="*/ 2147483647 w 38"/>
                <a:gd name="T33" fmla="*/ 2147483647 h 80"/>
                <a:gd name="T34" fmla="*/ 2147483647 w 38"/>
                <a:gd name="T35" fmla="*/ 2147483647 h 80"/>
                <a:gd name="T36" fmla="*/ 2147483647 w 38"/>
                <a:gd name="T37" fmla="*/ 2147483647 h 80"/>
                <a:gd name="T38" fmla="*/ 2147483647 w 38"/>
                <a:gd name="T39" fmla="*/ 2147483647 h 80"/>
                <a:gd name="T40" fmla="*/ 2147483647 w 38"/>
                <a:gd name="T41" fmla="*/ 2147483647 h 80"/>
                <a:gd name="T42" fmla="*/ 2147483647 w 38"/>
                <a:gd name="T43" fmla="*/ 2147483647 h 80"/>
                <a:gd name="T44" fmla="*/ 2147483647 w 38"/>
                <a:gd name="T45" fmla="*/ 2147483647 h 80"/>
                <a:gd name="T46" fmla="*/ 0 w 38"/>
                <a:gd name="T47" fmla="*/ 2147483647 h 80"/>
                <a:gd name="T48" fmla="*/ 0 w 38"/>
                <a:gd name="T49" fmla="*/ 2147483647 h 80"/>
                <a:gd name="T50" fmla="*/ 2147483647 w 38"/>
                <a:gd name="T51" fmla="*/ 2147483647 h 80"/>
                <a:gd name="T52" fmla="*/ 2147483647 w 38"/>
                <a:gd name="T53" fmla="*/ 2147483647 h 80"/>
                <a:gd name="T54" fmla="*/ 2147483647 w 38"/>
                <a:gd name="T55" fmla="*/ 2147483647 h 80"/>
                <a:gd name="T56" fmla="*/ 2147483647 w 38"/>
                <a:gd name="T57" fmla="*/ 2147483647 h 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80"/>
                <a:gd name="T89" fmla="*/ 38 w 38"/>
                <a:gd name="T90" fmla="*/ 80 h 8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80">
                  <a:moveTo>
                    <a:pt x="6" y="6"/>
                  </a:moveTo>
                  <a:lnTo>
                    <a:pt x="13" y="5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31" y="3"/>
                  </a:lnTo>
                  <a:lnTo>
                    <a:pt x="32" y="6"/>
                  </a:lnTo>
                  <a:lnTo>
                    <a:pt x="29" y="10"/>
                  </a:lnTo>
                  <a:lnTo>
                    <a:pt x="29" y="15"/>
                  </a:lnTo>
                  <a:lnTo>
                    <a:pt x="33" y="22"/>
                  </a:lnTo>
                  <a:lnTo>
                    <a:pt x="33" y="29"/>
                  </a:lnTo>
                  <a:lnTo>
                    <a:pt x="25" y="36"/>
                  </a:lnTo>
                  <a:lnTo>
                    <a:pt x="26" y="42"/>
                  </a:lnTo>
                  <a:lnTo>
                    <a:pt x="30" y="46"/>
                  </a:lnTo>
                  <a:lnTo>
                    <a:pt x="37" y="49"/>
                  </a:lnTo>
                  <a:lnTo>
                    <a:pt x="38" y="59"/>
                  </a:lnTo>
                  <a:lnTo>
                    <a:pt x="34" y="63"/>
                  </a:lnTo>
                  <a:lnTo>
                    <a:pt x="27" y="64"/>
                  </a:lnTo>
                  <a:lnTo>
                    <a:pt x="27" y="75"/>
                  </a:lnTo>
                  <a:lnTo>
                    <a:pt x="22" y="80"/>
                  </a:lnTo>
                  <a:lnTo>
                    <a:pt x="19" y="80"/>
                  </a:lnTo>
                  <a:lnTo>
                    <a:pt x="12" y="62"/>
                  </a:lnTo>
                  <a:lnTo>
                    <a:pt x="7" y="54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7" y="28"/>
                  </a:lnTo>
                  <a:lnTo>
                    <a:pt x="8" y="19"/>
                  </a:lnTo>
                  <a:lnTo>
                    <a:pt x="7" y="1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199" name="Freeform 394"/>
            <p:cNvSpPr>
              <a:spLocks/>
            </p:cNvSpPr>
            <p:nvPr/>
          </p:nvSpPr>
          <p:spPr bwMode="gray">
            <a:xfrm>
              <a:off x="2626" y="2361"/>
              <a:ext cx="249" cy="265"/>
            </a:xfrm>
            <a:custGeom>
              <a:avLst/>
              <a:gdLst>
                <a:gd name="T0" fmla="*/ 2147483647 w 191"/>
                <a:gd name="T1" fmla="*/ 2147483647 h 204"/>
                <a:gd name="T2" fmla="*/ 2147483647 w 191"/>
                <a:gd name="T3" fmla="*/ 2147483647 h 204"/>
                <a:gd name="T4" fmla="*/ 2147483647 w 191"/>
                <a:gd name="T5" fmla="*/ 2147483647 h 204"/>
                <a:gd name="T6" fmla="*/ 2147483647 w 191"/>
                <a:gd name="T7" fmla="*/ 2147483647 h 204"/>
                <a:gd name="T8" fmla="*/ 2147483647 w 191"/>
                <a:gd name="T9" fmla="*/ 2147483647 h 204"/>
                <a:gd name="T10" fmla="*/ 2147483647 w 191"/>
                <a:gd name="T11" fmla="*/ 2147483647 h 204"/>
                <a:gd name="T12" fmla="*/ 2147483647 w 191"/>
                <a:gd name="T13" fmla="*/ 2147483647 h 204"/>
                <a:gd name="T14" fmla="*/ 2147483647 w 191"/>
                <a:gd name="T15" fmla="*/ 2147483647 h 204"/>
                <a:gd name="T16" fmla="*/ 2147483647 w 191"/>
                <a:gd name="T17" fmla="*/ 2147483647 h 204"/>
                <a:gd name="T18" fmla="*/ 2147483647 w 191"/>
                <a:gd name="T19" fmla="*/ 2147483647 h 204"/>
                <a:gd name="T20" fmla="*/ 2147483647 w 191"/>
                <a:gd name="T21" fmla="*/ 2147483647 h 204"/>
                <a:gd name="T22" fmla="*/ 2147483647 w 191"/>
                <a:gd name="T23" fmla="*/ 2147483647 h 204"/>
                <a:gd name="T24" fmla="*/ 2147483647 w 191"/>
                <a:gd name="T25" fmla="*/ 2147483647 h 204"/>
                <a:gd name="T26" fmla="*/ 2147483647 w 191"/>
                <a:gd name="T27" fmla="*/ 2147483647 h 204"/>
                <a:gd name="T28" fmla="*/ 2147483647 w 191"/>
                <a:gd name="T29" fmla="*/ 2147483647 h 204"/>
                <a:gd name="T30" fmla="*/ 2147483647 w 191"/>
                <a:gd name="T31" fmla="*/ 2147483647 h 204"/>
                <a:gd name="T32" fmla="*/ 2147483647 w 191"/>
                <a:gd name="T33" fmla="*/ 2147483647 h 204"/>
                <a:gd name="T34" fmla="*/ 2147483647 w 191"/>
                <a:gd name="T35" fmla="*/ 2147483647 h 204"/>
                <a:gd name="T36" fmla="*/ 2147483647 w 191"/>
                <a:gd name="T37" fmla="*/ 2147483647 h 204"/>
                <a:gd name="T38" fmla="*/ 2147483647 w 191"/>
                <a:gd name="T39" fmla="*/ 2147483647 h 204"/>
                <a:gd name="T40" fmla="*/ 0 w 191"/>
                <a:gd name="T41" fmla="*/ 2147483647 h 204"/>
                <a:gd name="T42" fmla="*/ 0 w 191"/>
                <a:gd name="T43" fmla="*/ 2147483647 h 204"/>
                <a:gd name="T44" fmla="*/ 2147483647 w 191"/>
                <a:gd name="T45" fmla="*/ 2147483647 h 204"/>
                <a:gd name="T46" fmla="*/ 2147483647 w 191"/>
                <a:gd name="T47" fmla="*/ 2147483647 h 204"/>
                <a:gd name="T48" fmla="*/ 2147483647 w 191"/>
                <a:gd name="T49" fmla="*/ 2147483647 h 204"/>
                <a:gd name="T50" fmla="*/ 2147483647 w 191"/>
                <a:gd name="T51" fmla="*/ 2147483647 h 204"/>
                <a:gd name="T52" fmla="*/ 2147483647 w 191"/>
                <a:gd name="T53" fmla="*/ 2147483647 h 204"/>
                <a:gd name="T54" fmla="*/ 2147483647 w 191"/>
                <a:gd name="T55" fmla="*/ 2147483647 h 204"/>
                <a:gd name="T56" fmla="*/ 2147483647 w 191"/>
                <a:gd name="T57" fmla="*/ 2147483647 h 204"/>
                <a:gd name="T58" fmla="*/ 2147483647 w 191"/>
                <a:gd name="T59" fmla="*/ 2147483647 h 204"/>
                <a:gd name="T60" fmla="*/ 2147483647 w 191"/>
                <a:gd name="T61" fmla="*/ 2147483647 h 204"/>
                <a:gd name="T62" fmla="*/ 2147483647 w 191"/>
                <a:gd name="T63" fmla="*/ 2147483647 h 204"/>
                <a:gd name="T64" fmla="*/ 2147483647 w 191"/>
                <a:gd name="T65" fmla="*/ 2147483647 h 204"/>
                <a:gd name="T66" fmla="*/ 2147483647 w 191"/>
                <a:gd name="T67" fmla="*/ 2147483647 h 204"/>
                <a:gd name="T68" fmla="*/ 2147483647 w 191"/>
                <a:gd name="T69" fmla="*/ 2147483647 h 204"/>
                <a:gd name="T70" fmla="*/ 2147483647 w 191"/>
                <a:gd name="T71" fmla="*/ 2147483647 h 204"/>
                <a:gd name="T72" fmla="*/ 2147483647 w 191"/>
                <a:gd name="T73" fmla="*/ 2147483647 h 204"/>
                <a:gd name="T74" fmla="*/ 2147483647 w 191"/>
                <a:gd name="T75" fmla="*/ 2147483647 h 204"/>
                <a:gd name="T76" fmla="*/ 2147483647 w 191"/>
                <a:gd name="T77" fmla="*/ 2147483647 h 204"/>
                <a:gd name="T78" fmla="*/ 2147483647 w 191"/>
                <a:gd name="T79" fmla="*/ 2147483647 h 204"/>
                <a:gd name="T80" fmla="*/ 2147483647 w 191"/>
                <a:gd name="T81" fmla="*/ 2147483647 h 204"/>
                <a:gd name="T82" fmla="*/ 2147483647 w 191"/>
                <a:gd name="T83" fmla="*/ 2147483647 h 204"/>
                <a:gd name="T84" fmla="*/ 2147483647 w 191"/>
                <a:gd name="T85" fmla="*/ 2147483647 h 204"/>
                <a:gd name="T86" fmla="*/ 2147483647 w 191"/>
                <a:gd name="T87" fmla="*/ 2147483647 h 204"/>
                <a:gd name="T88" fmla="*/ 2147483647 w 191"/>
                <a:gd name="T89" fmla="*/ 2147483647 h 204"/>
                <a:gd name="T90" fmla="*/ 2147483647 w 191"/>
                <a:gd name="T91" fmla="*/ 2147483647 h 204"/>
                <a:gd name="T92" fmla="*/ 2147483647 w 191"/>
                <a:gd name="T93" fmla="*/ 2147483647 h 204"/>
                <a:gd name="T94" fmla="*/ 2147483647 w 191"/>
                <a:gd name="T95" fmla="*/ 0 h 204"/>
                <a:gd name="T96" fmla="*/ 2147483647 w 191"/>
                <a:gd name="T97" fmla="*/ 2147483647 h 204"/>
                <a:gd name="T98" fmla="*/ 2147483647 w 191"/>
                <a:gd name="T99" fmla="*/ 2147483647 h 204"/>
                <a:gd name="T100" fmla="*/ 2147483647 w 191"/>
                <a:gd name="T101" fmla="*/ 2147483647 h 204"/>
                <a:gd name="T102" fmla="*/ 2147483647 w 191"/>
                <a:gd name="T103" fmla="*/ 2147483647 h 204"/>
                <a:gd name="T104" fmla="*/ 2147483647 w 191"/>
                <a:gd name="T105" fmla="*/ 2147483647 h 204"/>
                <a:gd name="T106" fmla="*/ 2147483647 w 191"/>
                <a:gd name="T107" fmla="*/ 2147483647 h 204"/>
                <a:gd name="T108" fmla="*/ 2147483647 w 191"/>
                <a:gd name="T109" fmla="*/ 2147483647 h 204"/>
                <a:gd name="T110" fmla="*/ 2147483647 w 191"/>
                <a:gd name="T111" fmla="*/ 2147483647 h 204"/>
                <a:gd name="T112" fmla="*/ 2147483647 w 191"/>
                <a:gd name="T113" fmla="*/ 2147483647 h 2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1"/>
                <a:gd name="T172" fmla="*/ 0 h 204"/>
                <a:gd name="T173" fmla="*/ 191 w 191"/>
                <a:gd name="T174" fmla="*/ 204 h 2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1" h="204">
                  <a:moveTo>
                    <a:pt x="167" y="77"/>
                  </a:moveTo>
                  <a:lnTo>
                    <a:pt x="170" y="94"/>
                  </a:lnTo>
                  <a:lnTo>
                    <a:pt x="170" y="99"/>
                  </a:lnTo>
                  <a:lnTo>
                    <a:pt x="172" y="105"/>
                  </a:lnTo>
                  <a:lnTo>
                    <a:pt x="172" y="115"/>
                  </a:lnTo>
                  <a:lnTo>
                    <a:pt x="166" y="122"/>
                  </a:lnTo>
                  <a:lnTo>
                    <a:pt x="168" y="133"/>
                  </a:lnTo>
                  <a:lnTo>
                    <a:pt x="176" y="145"/>
                  </a:lnTo>
                  <a:lnTo>
                    <a:pt x="185" y="143"/>
                  </a:lnTo>
                  <a:lnTo>
                    <a:pt x="191" y="156"/>
                  </a:lnTo>
                  <a:lnTo>
                    <a:pt x="133" y="202"/>
                  </a:lnTo>
                  <a:lnTo>
                    <a:pt x="123" y="203"/>
                  </a:lnTo>
                  <a:lnTo>
                    <a:pt x="107" y="204"/>
                  </a:lnTo>
                  <a:lnTo>
                    <a:pt x="107" y="199"/>
                  </a:lnTo>
                  <a:lnTo>
                    <a:pt x="106" y="194"/>
                  </a:lnTo>
                  <a:lnTo>
                    <a:pt x="102" y="192"/>
                  </a:lnTo>
                  <a:lnTo>
                    <a:pt x="95" y="193"/>
                  </a:lnTo>
                  <a:lnTo>
                    <a:pt x="91" y="185"/>
                  </a:lnTo>
                  <a:lnTo>
                    <a:pt x="37" y="142"/>
                  </a:lnTo>
                  <a:lnTo>
                    <a:pt x="1" y="114"/>
                  </a:lnTo>
                  <a:lnTo>
                    <a:pt x="0" y="107"/>
                  </a:lnTo>
                  <a:lnTo>
                    <a:pt x="0" y="99"/>
                  </a:lnTo>
                  <a:lnTo>
                    <a:pt x="8" y="92"/>
                  </a:lnTo>
                  <a:lnTo>
                    <a:pt x="31" y="85"/>
                  </a:lnTo>
                  <a:lnTo>
                    <a:pt x="32" y="82"/>
                  </a:lnTo>
                  <a:lnTo>
                    <a:pt x="36" y="78"/>
                  </a:lnTo>
                  <a:lnTo>
                    <a:pt x="39" y="78"/>
                  </a:lnTo>
                  <a:lnTo>
                    <a:pt x="44" y="75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8" y="64"/>
                  </a:lnTo>
                  <a:lnTo>
                    <a:pt x="65" y="63"/>
                  </a:lnTo>
                  <a:lnTo>
                    <a:pt x="68" y="50"/>
                  </a:lnTo>
                  <a:lnTo>
                    <a:pt x="67" y="46"/>
                  </a:lnTo>
                  <a:lnTo>
                    <a:pt x="63" y="26"/>
                  </a:lnTo>
                  <a:lnTo>
                    <a:pt x="67" y="22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84" y="11"/>
                  </a:lnTo>
                  <a:lnTo>
                    <a:pt x="89" y="8"/>
                  </a:lnTo>
                  <a:lnTo>
                    <a:pt x="96" y="6"/>
                  </a:lnTo>
                  <a:lnTo>
                    <a:pt x="105" y="6"/>
                  </a:lnTo>
                  <a:lnTo>
                    <a:pt x="109" y="3"/>
                  </a:lnTo>
                  <a:lnTo>
                    <a:pt x="120" y="2"/>
                  </a:lnTo>
                  <a:lnTo>
                    <a:pt x="124" y="3"/>
                  </a:lnTo>
                  <a:lnTo>
                    <a:pt x="130" y="3"/>
                  </a:lnTo>
                  <a:lnTo>
                    <a:pt x="137" y="2"/>
                  </a:lnTo>
                  <a:lnTo>
                    <a:pt x="147" y="0"/>
                  </a:lnTo>
                  <a:lnTo>
                    <a:pt x="154" y="3"/>
                  </a:lnTo>
                  <a:lnTo>
                    <a:pt x="155" y="13"/>
                  </a:lnTo>
                  <a:lnTo>
                    <a:pt x="156" y="16"/>
                  </a:lnTo>
                  <a:lnTo>
                    <a:pt x="155" y="25"/>
                  </a:lnTo>
                  <a:lnTo>
                    <a:pt x="148" y="36"/>
                  </a:lnTo>
                  <a:lnTo>
                    <a:pt x="148" y="43"/>
                  </a:lnTo>
                  <a:lnTo>
                    <a:pt x="155" y="51"/>
                  </a:lnTo>
                  <a:lnTo>
                    <a:pt x="160" y="59"/>
                  </a:lnTo>
                  <a:lnTo>
                    <a:pt x="167" y="7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0" name="Freeform 395"/>
            <p:cNvSpPr>
              <a:spLocks/>
            </p:cNvSpPr>
            <p:nvPr/>
          </p:nvSpPr>
          <p:spPr bwMode="gray">
            <a:xfrm>
              <a:off x="3028" y="2447"/>
              <a:ext cx="125" cy="140"/>
            </a:xfrm>
            <a:custGeom>
              <a:avLst/>
              <a:gdLst>
                <a:gd name="T0" fmla="*/ 2147483647 w 96"/>
                <a:gd name="T1" fmla="*/ 2147483647 h 108"/>
                <a:gd name="T2" fmla="*/ 2147483647 w 96"/>
                <a:gd name="T3" fmla="*/ 2147483647 h 108"/>
                <a:gd name="T4" fmla="*/ 2147483647 w 96"/>
                <a:gd name="T5" fmla="*/ 2147483647 h 108"/>
                <a:gd name="T6" fmla="*/ 2147483647 w 96"/>
                <a:gd name="T7" fmla="*/ 2147483647 h 108"/>
                <a:gd name="T8" fmla="*/ 2147483647 w 96"/>
                <a:gd name="T9" fmla="*/ 2147483647 h 108"/>
                <a:gd name="T10" fmla="*/ 2147483647 w 96"/>
                <a:gd name="T11" fmla="*/ 2147483647 h 108"/>
                <a:gd name="T12" fmla="*/ 2147483647 w 96"/>
                <a:gd name="T13" fmla="*/ 2147483647 h 108"/>
                <a:gd name="T14" fmla="*/ 2147483647 w 96"/>
                <a:gd name="T15" fmla="*/ 2147483647 h 108"/>
                <a:gd name="T16" fmla="*/ 2147483647 w 96"/>
                <a:gd name="T17" fmla="*/ 0 h 108"/>
                <a:gd name="T18" fmla="*/ 2147483647 w 96"/>
                <a:gd name="T19" fmla="*/ 2147483647 h 108"/>
                <a:gd name="T20" fmla="*/ 2147483647 w 96"/>
                <a:gd name="T21" fmla="*/ 2147483647 h 108"/>
                <a:gd name="T22" fmla="*/ 2147483647 w 96"/>
                <a:gd name="T23" fmla="*/ 2147483647 h 108"/>
                <a:gd name="T24" fmla="*/ 2147483647 w 96"/>
                <a:gd name="T25" fmla="*/ 2147483647 h 108"/>
                <a:gd name="T26" fmla="*/ 2147483647 w 96"/>
                <a:gd name="T27" fmla="*/ 2147483647 h 108"/>
                <a:gd name="T28" fmla="*/ 2147483647 w 96"/>
                <a:gd name="T29" fmla="*/ 2147483647 h 108"/>
                <a:gd name="T30" fmla="*/ 2147483647 w 96"/>
                <a:gd name="T31" fmla="*/ 2147483647 h 108"/>
                <a:gd name="T32" fmla="*/ 2147483647 w 96"/>
                <a:gd name="T33" fmla="*/ 2147483647 h 108"/>
                <a:gd name="T34" fmla="*/ 2147483647 w 96"/>
                <a:gd name="T35" fmla="*/ 2147483647 h 108"/>
                <a:gd name="T36" fmla="*/ 2147483647 w 96"/>
                <a:gd name="T37" fmla="*/ 2147483647 h 108"/>
                <a:gd name="T38" fmla="*/ 2147483647 w 96"/>
                <a:gd name="T39" fmla="*/ 2147483647 h 108"/>
                <a:gd name="T40" fmla="*/ 2147483647 w 96"/>
                <a:gd name="T41" fmla="*/ 2147483647 h 108"/>
                <a:gd name="T42" fmla="*/ 2147483647 w 96"/>
                <a:gd name="T43" fmla="*/ 2147483647 h 108"/>
                <a:gd name="T44" fmla="*/ 2147483647 w 96"/>
                <a:gd name="T45" fmla="*/ 2147483647 h 108"/>
                <a:gd name="T46" fmla="*/ 2147483647 w 96"/>
                <a:gd name="T47" fmla="*/ 2147483647 h 108"/>
                <a:gd name="T48" fmla="*/ 2147483647 w 96"/>
                <a:gd name="T49" fmla="*/ 2147483647 h 108"/>
                <a:gd name="T50" fmla="*/ 2147483647 w 96"/>
                <a:gd name="T51" fmla="*/ 2147483647 h 108"/>
                <a:gd name="T52" fmla="*/ 2147483647 w 96"/>
                <a:gd name="T53" fmla="*/ 2147483647 h 108"/>
                <a:gd name="T54" fmla="*/ 2147483647 w 96"/>
                <a:gd name="T55" fmla="*/ 2147483647 h 108"/>
                <a:gd name="T56" fmla="*/ 2147483647 w 96"/>
                <a:gd name="T57" fmla="*/ 2147483647 h 108"/>
                <a:gd name="T58" fmla="*/ 2147483647 w 96"/>
                <a:gd name="T59" fmla="*/ 2147483647 h 108"/>
                <a:gd name="T60" fmla="*/ 2147483647 w 96"/>
                <a:gd name="T61" fmla="*/ 2147483647 h 108"/>
                <a:gd name="T62" fmla="*/ 2147483647 w 96"/>
                <a:gd name="T63" fmla="*/ 2147483647 h 108"/>
                <a:gd name="T64" fmla="*/ 2147483647 w 96"/>
                <a:gd name="T65" fmla="*/ 2147483647 h 108"/>
                <a:gd name="T66" fmla="*/ 2147483647 w 96"/>
                <a:gd name="T67" fmla="*/ 2147483647 h 108"/>
                <a:gd name="T68" fmla="*/ 2147483647 w 96"/>
                <a:gd name="T69" fmla="*/ 2147483647 h 108"/>
                <a:gd name="T70" fmla="*/ 2147483647 w 96"/>
                <a:gd name="T71" fmla="*/ 2147483647 h 108"/>
                <a:gd name="T72" fmla="*/ 2147483647 w 96"/>
                <a:gd name="T73" fmla="*/ 2147483647 h 108"/>
                <a:gd name="T74" fmla="*/ 2147483647 w 96"/>
                <a:gd name="T75" fmla="*/ 2147483647 h 108"/>
                <a:gd name="T76" fmla="*/ 2147483647 w 96"/>
                <a:gd name="T77" fmla="*/ 2147483647 h 108"/>
                <a:gd name="T78" fmla="*/ 2147483647 w 96"/>
                <a:gd name="T79" fmla="*/ 2147483647 h 108"/>
                <a:gd name="T80" fmla="*/ 2147483647 w 96"/>
                <a:gd name="T81" fmla="*/ 2147483647 h 108"/>
                <a:gd name="T82" fmla="*/ 2147483647 w 96"/>
                <a:gd name="T83" fmla="*/ 2147483647 h 108"/>
                <a:gd name="T84" fmla="*/ 2147483647 w 96"/>
                <a:gd name="T85" fmla="*/ 2147483647 h 108"/>
                <a:gd name="T86" fmla="*/ 0 w 96"/>
                <a:gd name="T87" fmla="*/ 2147483647 h 108"/>
                <a:gd name="T88" fmla="*/ 2147483647 w 96"/>
                <a:gd name="T89" fmla="*/ 2147483647 h 108"/>
                <a:gd name="T90" fmla="*/ 2147483647 w 96"/>
                <a:gd name="T91" fmla="*/ 2147483647 h 1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"/>
                <a:gd name="T139" fmla="*/ 0 h 108"/>
                <a:gd name="T140" fmla="*/ 96 w 96"/>
                <a:gd name="T141" fmla="*/ 108 h 1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" h="108">
                  <a:moveTo>
                    <a:pt x="5" y="3"/>
                  </a:moveTo>
                  <a:lnTo>
                    <a:pt x="9" y="1"/>
                  </a:lnTo>
                  <a:lnTo>
                    <a:pt x="16" y="2"/>
                  </a:lnTo>
                  <a:lnTo>
                    <a:pt x="26" y="4"/>
                  </a:lnTo>
                  <a:lnTo>
                    <a:pt x="36" y="7"/>
                  </a:lnTo>
                  <a:lnTo>
                    <a:pt x="42" y="7"/>
                  </a:lnTo>
                  <a:lnTo>
                    <a:pt x="46" y="3"/>
                  </a:lnTo>
                  <a:lnTo>
                    <a:pt x="49" y="3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4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9" y="4"/>
                  </a:lnTo>
                  <a:lnTo>
                    <a:pt x="74" y="5"/>
                  </a:lnTo>
                  <a:lnTo>
                    <a:pt x="84" y="3"/>
                  </a:lnTo>
                  <a:lnTo>
                    <a:pt x="85" y="6"/>
                  </a:lnTo>
                  <a:lnTo>
                    <a:pt x="87" y="12"/>
                  </a:lnTo>
                  <a:lnTo>
                    <a:pt x="89" y="21"/>
                  </a:lnTo>
                  <a:lnTo>
                    <a:pt x="86" y="34"/>
                  </a:lnTo>
                  <a:lnTo>
                    <a:pt x="86" y="39"/>
                  </a:lnTo>
                  <a:lnTo>
                    <a:pt x="82" y="41"/>
                  </a:lnTo>
                  <a:lnTo>
                    <a:pt x="77" y="34"/>
                  </a:lnTo>
                  <a:lnTo>
                    <a:pt x="72" y="27"/>
                  </a:lnTo>
                  <a:lnTo>
                    <a:pt x="71" y="17"/>
                  </a:lnTo>
                  <a:lnTo>
                    <a:pt x="69" y="15"/>
                  </a:lnTo>
                  <a:lnTo>
                    <a:pt x="67" y="19"/>
                  </a:lnTo>
                  <a:lnTo>
                    <a:pt x="69" y="31"/>
                  </a:lnTo>
                  <a:lnTo>
                    <a:pt x="77" y="39"/>
                  </a:lnTo>
                  <a:lnTo>
                    <a:pt x="78" y="45"/>
                  </a:lnTo>
                  <a:lnTo>
                    <a:pt x="83" y="54"/>
                  </a:lnTo>
                  <a:lnTo>
                    <a:pt x="88" y="66"/>
                  </a:lnTo>
                  <a:lnTo>
                    <a:pt x="94" y="80"/>
                  </a:lnTo>
                  <a:lnTo>
                    <a:pt x="96" y="93"/>
                  </a:lnTo>
                  <a:lnTo>
                    <a:pt x="90" y="99"/>
                  </a:lnTo>
                  <a:lnTo>
                    <a:pt x="82" y="101"/>
                  </a:lnTo>
                  <a:lnTo>
                    <a:pt x="82" y="108"/>
                  </a:lnTo>
                  <a:lnTo>
                    <a:pt x="77" y="107"/>
                  </a:lnTo>
                  <a:lnTo>
                    <a:pt x="74" y="103"/>
                  </a:lnTo>
                  <a:lnTo>
                    <a:pt x="30" y="106"/>
                  </a:lnTo>
                  <a:lnTo>
                    <a:pt x="4" y="103"/>
                  </a:lnTo>
                  <a:lnTo>
                    <a:pt x="4" y="78"/>
                  </a:lnTo>
                  <a:lnTo>
                    <a:pt x="5" y="34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1" name="Freeform 396"/>
            <p:cNvSpPr>
              <a:spLocks/>
            </p:cNvSpPr>
            <p:nvPr/>
          </p:nvSpPr>
          <p:spPr bwMode="gray">
            <a:xfrm>
              <a:off x="2995" y="2568"/>
              <a:ext cx="195" cy="264"/>
            </a:xfrm>
            <a:custGeom>
              <a:avLst/>
              <a:gdLst>
                <a:gd name="T0" fmla="*/ 2147483647 w 149"/>
                <a:gd name="T1" fmla="*/ 2147483647 h 203"/>
                <a:gd name="T2" fmla="*/ 2147483647 w 149"/>
                <a:gd name="T3" fmla="*/ 2147483647 h 203"/>
                <a:gd name="T4" fmla="*/ 2147483647 w 149"/>
                <a:gd name="T5" fmla="*/ 2147483647 h 203"/>
                <a:gd name="T6" fmla="*/ 2147483647 w 149"/>
                <a:gd name="T7" fmla="*/ 2147483647 h 203"/>
                <a:gd name="T8" fmla="*/ 2147483647 w 149"/>
                <a:gd name="T9" fmla="*/ 2147483647 h 203"/>
                <a:gd name="T10" fmla="*/ 2147483647 w 149"/>
                <a:gd name="T11" fmla="*/ 2147483647 h 203"/>
                <a:gd name="T12" fmla="*/ 2147483647 w 149"/>
                <a:gd name="T13" fmla="*/ 2147483647 h 203"/>
                <a:gd name="T14" fmla="*/ 2147483647 w 149"/>
                <a:gd name="T15" fmla="*/ 2147483647 h 203"/>
                <a:gd name="T16" fmla="*/ 2147483647 w 149"/>
                <a:gd name="T17" fmla="*/ 2147483647 h 203"/>
                <a:gd name="T18" fmla="*/ 2147483647 w 149"/>
                <a:gd name="T19" fmla="*/ 0 h 203"/>
                <a:gd name="T20" fmla="*/ 2147483647 w 149"/>
                <a:gd name="T21" fmla="*/ 2147483647 h 203"/>
                <a:gd name="T22" fmla="*/ 2147483647 w 149"/>
                <a:gd name="T23" fmla="*/ 2147483647 h 203"/>
                <a:gd name="T24" fmla="*/ 2147483647 w 149"/>
                <a:gd name="T25" fmla="*/ 2147483647 h 203"/>
                <a:gd name="T26" fmla="*/ 2147483647 w 149"/>
                <a:gd name="T27" fmla="*/ 2147483647 h 203"/>
                <a:gd name="T28" fmla="*/ 2147483647 w 149"/>
                <a:gd name="T29" fmla="*/ 2147483647 h 203"/>
                <a:gd name="T30" fmla="*/ 2147483647 w 149"/>
                <a:gd name="T31" fmla="*/ 2147483647 h 203"/>
                <a:gd name="T32" fmla="*/ 2147483647 w 149"/>
                <a:gd name="T33" fmla="*/ 2147483647 h 203"/>
                <a:gd name="T34" fmla="*/ 2147483647 w 149"/>
                <a:gd name="T35" fmla="*/ 2147483647 h 203"/>
                <a:gd name="T36" fmla="*/ 2147483647 w 149"/>
                <a:gd name="T37" fmla="*/ 2147483647 h 203"/>
                <a:gd name="T38" fmla="*/ 2147483647 w 149"/>
                <a:gd name="T39" fmla="*/ 2147483647 h 203"/>
                <a:gd name="T40" fmla="*/ 2147483647 w 149"/>
                <a:gd name="T41" fmla="*/ 2147483647 h 203"/>
                <a:gd name="T42" fmla="*/ 2147483647 w 149"/>
                <a:gd name="T43" fmla="*/ 2147483647 h 203"/>
                <a:gd name="T44" fmla="*/ 2147483647 w 149"/>
                <a:gd name="T45" fmla="*/ 2147483647 h 203"/>
                <a:gd name="T46" fmla="*/ 2147483647 w 149"/>
                <a:gd name="T47" fmla="*/ 2147483647 h 203"/>
                <a:gd name="T48" fmla="*/ 2147483647 w 149"/>
                <a:gd name="T49" fmla="*/ 2147483647 h 203"/>
                <a:gd name="T50" fmla="*/ 2147483647 w 149"/>
                <a:gd name="T51" fmla="*/ 2147483647 h 203"/>
                <a:gd name="T52" fmla="*/ 2147483647 w 149"/>
                <a:gd name="T53" fmla="*/ 2147483647 h 203"/>
                <a:gd name="T54" fmla="*/ 2147483647 w 149"/>
                <a:gd name="T55" fmla="*/ 2147483647 h 203"/>
                <a:gd name="T56" fmla="*/ 2147483647 w 149"/>
                <a:gd name="T57" fmla="*/ 2147483647 h 203"/>
                <a:gd name="T58" fmla="*/ 2147483647 w 149"/>
                <a:gd name="T59" fmla="*/ 2147483647 h 203"/>
                <a:gd name="T60" fmla="*/ 2147483647 w 149"/>
                <a:gd name="T61" fmla="*/ 2147483647 h 203"/>
                <a:gd name="T62" fmla="*/ 2147483647 w 149"/>
                <a:gd name="T63" fmla="*/ 2147483647 h 203"/>
                <a:gd name="T64" fmla="*/ 2147483647 w 149"/>
                <a:gd name="T65" fmla="*/ 2147483647 h 203"/>
                <a:gd name="T66" fmla="*/ 2147483647 w 149"/>
                <a:gd name="T67" fmla="*/ 2147483647 h 203"/>
                <a:gd name="T68" fmla="*/ 2147483647 w 149"/>
                <a:gd name="T69" fmla="*/ 2147483647 h 203"/>
                <a:gd name="T70" fmla="*/ 2147483647 w 149"/>
                <a:gd name="T71" fmla="*/ 2147483647 h 203"/>
                <a:gd name="T72" fmla="*/ 2147483647 w 149"/>
                <a:gd name="T73" fmla="*/ 2147483647 h 203"/>
                <a:gd name="T74" fmla="*/ 2147483647 w 149"/>
                <a:gd name="T75" fmla="*/ 2147483647 h 203"/>
                <a:gd name="T76" fmla="*/ 2147483647 w 149"/>
                <a:gd name="T77" fmla="*/ 2147483647 h 203"/>
                <a:gd name="T78" fmla="*/ 2147483647 w 149"/>
                <a:gd name="T79" fmla="*/ 2147483647 h 203"/>
                <a:gd name="T80" fmla="*/ 2147483647 w 149"/>
                <a:gd name="T81" fmla="*/ 2147483647 h 203"/>
                <a:gd name="T82" fmla="*/ 2147483647 w 149"/>
                <a:gd name="T83" fmla="*/ 2147483647 h 203"/>
                <a:gd name="T84" fmla="*/ 2147483647 w 149"/>
                <a:gd name="T85" fmla="*/ 2147483647 h 203"/>
                <a:gd name="T86" fmla="*/ 2147483647 w 149"/>
                <a:gd name="T87" fmla="*/ 2147483647 h 203"/>
                <a:gd name="T88" fmla="*/ 2147483647 w 149"/>
                <a:gd name="T89" fmla="*/ 2147483647 h 203"/>
                <a:gd name="T90" fmla="*/ 2147483647 w 149"/>
                <a:gd name="T91" fmla="*/ 2147483647 h 203"/>
                <a:gd name="T92" fmla="*/ 2147483647 w 149"/>
                <a:gd name="T93" fmla="*/ 2147483647 h 203"/>
                <a:gd name="T94" fmla="*/ 2147483647 w 149"/>
                <a:gd name="T95" fmla="*/ 2147483647 h 203"/>
                <a:gd name="T96" fmla="*/ 2147483647 w 149"/>
                <a:gd name="T97" fmla="*/ 2147483647 h 203"/>
                <a:gd name="T98" fmla="*/ 2147483647 w 149"/>
                <a:gd name="T99" fmla="*/ 2147483647 h 203"/>
                <a:gd name="T100" fmla="*/ 2147483647 w 149"/>
                <a:gd name="T101" fmla="*/ 2147483647 h 203"/>
                <a:gd name="T102" fmla="*/ 0 w 149"/>
                <a:gd name="T103" fmla="*/ 2147483647 h 203"/>
                <a:gd name="T104" fmla="*/ 2147483647 w 149"/>
                <a:gd name="T105" fmla="*/ 2147483647 h 203"/>
                <a:gd name="T106" fmla="*/ 2147483647 w 149"/>
                <a:gd name="T107" fmla="*/ 2147483647 h 203"/>
                <a:gd name="T108" fmla="*/ 2147483647 w 149"/>
                <a:gd name="T109" fmla="*/ 2147483647 h 203"/>
                <a:gd name="T110" fmla="*/ 2147483647 w 149"/>
                <a:gd name="T111" fmla="*/ 2147483647 h 203"/>
                <a:gd name="T112" fmla="*/ 2147483647 w 149"/>
                <a:gd name="T113" fmla="*/ 2147483647 h 203"/>
                <a:gd name="T114" fmla="*/ 2147483647 w 149"/>
                <a:gd name="T115" fmla="*/ 2147483647 h 20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9"/>
                <a:gd name="T175" fmla="*/ 0 h 203"/>
                <a:gd name="T176" fmla="*/ 149 w 149"/>
                <a:gd name="T177" fmla="*/ 203 h 20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9" h="203">
                  <a:moveTo>
                    <a:pt x="19" y="35"/>
                  </a:moveTo>
                  <a:lnTo>
                    <a:pt x="27" y="33"/>
                  </a:lnTo>
                  <a:lnTo>
                    <a:pt x="29" y="10"/>
                  </a:lnTo>
                  <a:lnTo>
                    <a:pt x="55" y="13"/>
                  </a:lnTo>
                  <a:lnTo>
                    <a:pt x="99" y="10"/>
                  </a:lnTo>
                  <a:lnTo>
                    <a:pt x="102" y="14"/>
                  </a:lnTo>
                  <a:lnTo>
                    <a:pt x="107" y="15"/>
                  </a:lnTo>
                  <a:lnTo>
                    <a:pt x="107" y="8"/>
                  </a:lnTo>
                  <a:lnTo>
                    <a:pt x="115" y="6"/>
                  </a:lnTo>
                  <a:lnTo>
                    <a:pt x="121" y="0"/>
                  </a:lnTo>
                  <a:lnTo>
                    <a:pt x="131" y="9"/>
                  </a:lnTo>
                  <a:lnTo>
                    <a:pt x="135" y="17"/>
                  </a:lnTo>
                  <a:lnTo>
                    <a:pt x="136" y="35"/>
                  </a:lnTo>
                  <a:lnTo>
                    <a:pt x="136" y="42"/>
                  </a:lnTo>
                  <a:lnTo>
                    <a:pt x="149" y="56"/>
                  </a:lnTo>
                  <a:lnTo>
                    <a:pt x="135" y="66"/>
                  </a:lnTo>
                  <a:lnTo>
                    <a:pt x="130" y="76"/>
                  </a:lnTo>
                  <a:lnTo>
                    <a:pt x="128" y="93"/>
                  </a:lnTo>
                  <a:lnTo>
                    <a:pt x="127" y="114"/>
                  </a:lnTo>
                  <a:lnTo>
                    <a:pt x="118" y="116"/>
                  </a:lnTo>
                  <a:lnTo>
                    <a:pt x="117" y="126"/>
                  </a:lnTo>
                  <a:lnTo>
                    <a:pt x="109" y="131"/>
                  </a:lnTo>
                  <a:lnTo>
                    <a:pt x="108" y="145"/>
                  </a:lnTo>
                  <a:lnTo>
                    <a:pt x="102" y="155"/>
                  </a:lnTo>
                  <a:lnTo>
                    <a:pt x="113" y="172"/>
                  </a:lnTo>
                  <a:lnTo>
                    <a:pt x="117" y="183"/>
                  </a:lnTo>
                  <a:lnTo>
                    <a:pt x="124" y="192"/>
                  </a:lnTo>
                  <a:lnTo>
                    <a:pt x="107" y="194"/>
                  </a:lnTo>
                  <a:lnTo>
                    <a:pt x="101" y="202"/>
                  </a:lnTo>
                  <a:lnTo>
                    <a:pt x="88" y="203"/>
                  </a:lnTo>
                  <a:lnTo>
                    <a:pt x="81" y="200"/>
                  </a:lnTo>
                  <a:lnTo>
                    <a:pt x="77" y="203"/>
                  </a:lnTo>
                  <a:lnTo>
                    <a:pt x="70" y="193"/>
                  </a:lnTo>
                  <a:lnTo>
                    <a:pt x="65" y="194"/>
                  </a:lnTo>
                  <a:lnTo>
                    <a:pt x="60" y="192"/>
                  </a:lnTo>
                  <a:lnTo>
                    <a:pt x="58" y="194"/>
                  </a:lnTo>
                  <a:lnTo>
                    <a:pt x="53" y="194"/>
                  </a:lnTo>
                  <a:lnTo>
                    <a:pt x="50" y="188"/>
                  </a:lnTo>
                  <a:lnTo>
                    <a:pt x="47" y="183"/>
                  </a:lnTo>
                  <a:lnTo>
                    <a:pt x="37" y="176"/>
                  </a:lnTo>
                  <a:lnTo>
                    <a:pt x="37" y="169"/>
                  </a:lnTo>
                  <a:lnTo>
                    <a:pt x="29" y="161"/>
                  </a:lnTo>
                  <a:lnTo>
                    <a:pt x="25" y="160"/>
                  </a:lnTo>
                  <a:lnTo>
                    <a:pt x="21" y="154"/>
                  </a:lnTo>
                  <a:lnTo>
                    <a:pt x="15" y="152"/>
                  </a:lnTo>
                  <a:lnTo>
                    <a:pt x="17" y="139"/>
                  </a:lnTo>
                  <a:lnTo>
                    <a:pt x="11" y="131"/>
                  </a:lnTo>
                  <a:lnTo>
                    <a:pt x="12" y="128"/>
                  </a:lnTo>
                  <a:lnTo>
                    <a:pt x="11" y="124"/>
                  </a:lnTo>
                  <a:lnTo>
                    <a:pt x="5" y="119"/>
                  </a:lnTo>
                  <a:lnTo>
                    <a:pt x="5" y="114"/>
                  </a:lnTo>
                  <a:lnTo>
                    <a:pt x="0" y="109"/>
                  </a:lnTo>
                  <a:lnTo>
                    <a:pt x="2" y="105"/>
                  </a:lnTo>
                  <a:lnTo>
                    <a:pt x="5" y="91"/>
                  </a:lnTo>
                  <a:lnTo>
                    <a:pt x="7" y="87"/>
                  </a:lnTo>
                  <a:lnTo>
                    <a:pt x="6" y="80"/>
                  </a:lnTo>
                  <a:lnTo>
                    <a:pt x="19" y="78"/>
                  </a:lnTo>
                  <a:lnTo>
                    <a:pt x="19" y="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2" name="Freeform 397"/>
            <p:cNvSpPr>
              <a:spLocks/>
            </p:cNvSpPr>
            <p:nvPr/>
          </p:nvSpPr>
          <p:spPr bwMode="gray">
            <a:xfrm>
              <a:off x="2843" y="2421"/>
              <a:ext cx="191" cy="192"/>
            </a:xfrm>
            <a:custGeom>
              <a:avLst/>
              <a:gdLst>
                <a:gd name="T0" fmla="*/ 2147483647 w 147"/>
                <a:gd name="T1" fmla="*/ 2147483647 h 148"/>
                <a:gd name="T2" fmla="*/ 2147483647 w 147"/>
                <a:gd name="T3" fmla="*/ 2147483647 h 148"/>
                <a:gd name="T4" fmla="*/ 2147483647 w 147"/>
                <a:gd name="T5" fmla="*/ 2147483647 h 148"/>
                <a:gd name="T6" fmla="*/ 2147483647 w 147"/>
                <a:gd name="T7" fmla="*/ 2147483647 h 148"/>
                <a:gd name="T8" fmla="*/ 2147483647 w 147"/>
                <a:gd name="T9" fmla="*/ 2147483647 h 148"/>
                <a:gd name="T10" fmla="*/ 2147483647 w 147"/>
                <a:gd name="T11" fmla="*/ 2147483647 h 148"/>
                <a:gd name="T12" fmla="*/ 2147483647 w 147"/>
                <a:gd name="T13" fmla="*/ 2147483647 h 148"/>
                <a:gd name="T14" fmla="*/ 2147483647 w 147"/>
                <a:gd name="T15" fmla="*/ 2147483647 h 148"/>
                <a:gd name="T16" fmla="*/ 2147483647 w 147"/>
                <a:gd name="T17" fmla="*/ 2147483647 h 148"/>
                <a:gd name="T18" fmla="*/ 0 w 147"/>
                <a:gd name="T19" fmla="*/ 2147483647 h 148"/>
                <a:gd name="T20" fmla="*/ 2147483647 w 147"/>
                <a:gd name="T21" fmla="*/ 2147483647 h 148"/>
                <a:gd name="T22" fmla="*/ 2147483647 w 147"/>
                <a:gd name="T23" fmla="*/ 2147483647 h 148"/>
                <a:gd name="T24" fmla="*/ 2147483647 w 147"/>
                <a:gd name="T25" fmla="*/ 2147483647 h 148"/>
                <a:gd name="T26" fmla="*/ 2147483647 w 147"/>
                <a:gd name="T27" fmla="*/ 2147483647 h 148"/>
                <a:gd name="T28" fmla="*/ 2147483647 w 147"/>
                <a:gd name="T29" fmla="*/ 2147483647 h 148"/>
                <a:gd name="T30" fmla="*/ 2147483647 w 147"/>
                <a:gd name="T31" fmla="*/ 2147483647 h 148"/>
                <a:gd name="T32" fmla="*/ 2147483647 w 147"/>
                <a:gd name="T33" fmla="*/ 2147483647 h 148"/>
                <a:gd name="T34" fmla="*/ 2147483647 w 147"/>
                <a:gd name="T35" fmla="*/ 2147483647 h 148"/>
                <a:gd name="T36" fmla="*/ 2147483647 w 147"/>
                <a:gd name="T37" fmla="*/ 2147483647 h 148"/>
                <a:gd name="T38" fmla="*/ 2147483647 w 147"/>
                <a:gd name="T39" fmla="*/ 2147483647 h 148"/>
                <a:gd name="T40" fmla="*/ 2147483647 w 147"/>
                <a:gd name="T41" fmla="*/ 0 h 148"/>
                <a:gd name="T42" fmla="*/ 2147483647 w 147"/>
                <a:gd name="T43" fmla="*/ 2147483647 h 148"/>
                <a:gd name="T44" fmla="*/ 2147483647 w 147"/>
                <a:gd name="T45" fmla="*/ 2147483647 h 148"/>
                <a:gd name="T46" fmla="*/ 2147483647 w 147"/>
                <a:gd name="T47" fmla="*/ 2147483647 h 148"/>
                <a:gd name="T48" fmla="*/ 2147483647 w 147"/>
                <a:gd name="T49" fmla="*/ 2147483647 h 148"/>
                <a:gd name="T50" fmla="*/ 2147483647 w 147"/>
                <a:gd name="T51" fmla="*/ 2147483647 h 148"/>
                <a:gd name="T52" fmla="*/ 2147483647 w 147"/>
                <a:gd name="T53" fmla="*/ 2147483647 h 148"/>
                <a:gd name="T54" fmla="*/ 2147483647 w 147"/>
                <a:gd name="T55" fmla="*/ 2147483647 h 148"/>
                <a:gd name="T56" fmla="*/ 2147483647 w 147"/>
                <a:gd name="T57" fmla="*/ 2147483647 h 148"/>
                <a:gd name="T58" fmla="*/ 2147483647 w 147"/>
                <a:gd name="T59" fmla="*/ 2147483647 h 148"/>
                <a:gd name="T60" fmla="*/ 2147483647 w 147"/>
                <a:gd name="T61" fmla="*/ 2147483647 h 148"/>
                <a:gd name="T62" fmla="*/ 2147483647 w 147"/>
                <a:gd name="T63" fmla="*/ 2147483647 h 148"/>
                <a:gd name="T64" fmla="*/ 2147483647 w 147"/>
                <a:gd name="T65" fmla="*/ 2147483647 h 148"/>
                <a:gd name="T66" fmla="*/ 2147483647 w 147"/>
                <a:gd name="T67" fmla="*/ 2147483647 h 148"/>
                <a:gd name="T68" fmla="*/ 2147483647 w 147"/>
                <a:gd name="T69" fmla="*/ 2147483647 h 148"/>
                <a:gd name="T70" fmla="*/ 2147483647 w 147"/>
                <a:gd name="T71" fmla="*/ 2147483647 h 148"/>
                <a:gd name="T72" fmla="*/ 2147483647 w 147"/>
                <a:gd name="T73" fmla="*/ 2147483647 h 148"/>
                <a:gd name="T74" fmla="*/ 2147483647 w 147"/>
                <a:gd name="T75" fmla="*/ 2147483647 h 148"/>
                <a:gd name="T76" fmla="*/ 2147483647 w 147"/>
                <a:gd name="T77" fmla="*/ 2147483647 h 148"/>
                <a:gd name="T78" fmla="*/ 2147483647 w 147"/>
                <a:gd name="T79" fmla="*/ 2147483647 h 148"/>
                <a:gd name="T80" fmla="*/ 2147483647 w 147"/>
                <a:gd name="T81" fmla="*/ 2147483647 h 148"/>
                <a:gd name="T82" fmla="*/ 2147483647 w 147"/>
                <a:gd name="T83" fmla="*/ 2147483647 h 148"/>
                <a:gd name="T84" fmla="*/ 2147483647 w 147"/>
                <a:gd name="T85" fmla="*/ 2147483647 h 148"/>
                <a:gd name="T86" fmla="*/ 2147483647 w 147"/>
                <a:gd name="T87" fmla="*/ 2147483647 h 1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7"/>
                <a:gd name="T133" fmla="*/ 0 h 148"/>
                <a:gd name="T134" fmla="*/ 147 w 147"/>
                <a:gd name="T135" fmla="*/ 148 h 1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7" h="148">
                  <a:moveTo>
                    <a:pt x="146" y="123"/>
                  </a:moveTo>
                  <a:lnTo>
                    <a:pt x="144" y="146"/>
                  </a:lnTo>
                  <a:lnTo>
                    <a:pt x="136" y="148"/>
                  </a:lnTo>
                  <a:lnTo>
                    <a:pt x="65" y="108"/>
                  </a:lnTo>
                  <a:lnTo>
                    <a:pt x="51" y="117"/>
                  </a:lnTo>
                  <a:lnTo>
                    <a:pt x="25" y="110"/>
                  </a:lnTo>
                  <a:lnTo>
                    <a:pt x="19" y="97"/>
                  </a:lnTo>
                  <a:lnTo>
                    <a:pt x="10" y="99"/>
                  </a:lnTo>
                  <a:lnTo>
                    <a:pt x="2" y="87"/>
                  </a:lnTo>
                  <a:lnTo>
                    <a:pt x="0" y="76"/>
                  </a:lnTo>
                  <a:lnTo>
                    <a:pt x="6" y="69"/>
                  </a:lnTo>
                  <a:lnTo>
                    <a:pt x="6" y="59"/>
                  </a:lnTo>
                  <a:lnTo>
                    <a:pt x="4" y="53"/>
                  </a:lnTo>
                  <a:lnTo>
                    <a:pt x="4" y="48"/>
                  </a:lnTo>
                  <a:lnTo>
                    <a:pt x="1" y="31"/>
                  </a:lnTo>
                  <a:lnTo>
                    <a:pt x="4" y="31"/>
                  </a:lnTo>
                  <a:lnTo>
                    <a:pt x="9" y="26"/>
                  </a:lnTo>
                  <a:lnTo>
                    <a:pt x="9" y="15"/>
                  </a:lnTo>
                  <a:lnTo>
                    <a:pt x="16" y="14"/>
                  </a:lnTo>
                  <a:lnTo>
                    <a:pt x="20" y="10"/>
                  </a:lnTo>
                  <a:lnTo>
                    <a:pt x="19" y="0"/>
                  </a:lnTo>
                  <a:lnTo>
                    <a:pt x="29" y="6"/>
                  </a:lnTo>
                  <a:lnTo>
                    <a:pt x="42" y="6"/>
                  </a:lnTo>
                  <a:lnTo>
                    <a:pt x="48" y="9"/>
                  </a:lnTo>
                  <a:lnTo>
                    <a:pt x="53" y="9"/>
                  </a:lnTo>
                  <a:lnTo>
                    <a:pt x="59" y="23"/>
                  </a:lnTo>
                  <a:lnTo>
                    <a:pt x="74" y="26"/>
                  </a:lnTo>
                  <a:lnTo>
                    <a:pt x="90" y="36"/>
                  </a:lnTo>
                  <a:lnTo>
                    <a:pt x="97" y="32"/>
                  </a:lnTo>
                  <a:lnTo>
                    <a:pt x="101" y="27"/>
                  </a:lnTo>
                  <a:lnTo>
                    <a:pt x="97" y="21"/>
                  </a:lnTo>
                  <a:lnTo>
                    <a:pt x="98" y="13"/>
                  </a:lnTo>
                  <a:lnTo>
                    <a:pt x="110" y="5"/>
                  </a:lnTo>
                  <a:lnTo>
                    <a:pt x="118" y="3"/>
                  </a:lnTo>
                  <a:lnTo>
                    <a:pt x="127" y="5"/>
                  </a:lnTo>
                  <a:lnTo>
                    <a:pt x="128" y="12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47" y="23"/>
                  </a:lnTo>
                  <a:lnTo>
                    <a:pt x="146" y="30"/>
                  </a:lnTo>
                  <a:lnTo>
                    <a:pt x="142" y="33"/>
                  </a:lnTo>
                  <a:lnTo>
                    <a:pt x="147" y="54"/>
                  </a:lnTo>
                  <a:lnTo>
                    <a:pt x="146" y="98"/>
                  </a:lnTo>
                  <a:lnTo>
                    <a:pt x="146" y="12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3" name="Freeform 398"/>
            <p:cNvSpPr>
              <a:spLocks/>
            </p:cNvSpPr>
            <p:nvPr/>
          </p:nvSpPr>
          <p:spPr bwMode="gray">
            <a:xfrm>
              <a:off x="2894" y="2561"/>
              <a:ext cx="126" cy="222"/>
            </a:xfrm>
            <a:custGeom>
              <a:avLst/>
              <a:gdLst>
                <a:gd name="T0" fmla="*/ 2147483647 w 97"/>
                <a:gd name="T1" fmla="*/ 2147483647 h 170"/>
                <a:gd name="T2" fmla="*/ 2147483647 w 97"/>
                <a:gd name="T3" fmla="*/ 2147483647 h 170"/>
                <a:gd name="T4" fmla="*/ 2147483647 w 97"/>
                <a:gd name="T5" fmla="*/ 2147483647 h 170"/>
                <a:gd name="T6" fmla="*/ 2147483647 w 97"/>
                <a:gd name="T7" fmla="*/ 2147483647 h 170"/>
                <a:gd name="T8" fmla="*/ 2147483647 w 97"/>
                <a:gd name="T9" fmla="*/ 2147483647 h 170"/>
                <a:gd name="T10" fmla="*/ 2147483647 w 97"/>
                <a:gd name="T11" fmla="*/ 2147483647 h 170"/>
                <a:gd name="T12" fmla="*/ 2147483647 w 97"/>
                <a:gd name="T13" fmla="*/ 2147483647 h 170"/>
                <a:gd name="T14" fmla="*/ 2147483647 w 97"/>
                <a:gd name="T15" fmla="*/ 2147483647 h 170"/>
                <a:gd name="T16" fmla="*/ 0 w 97"/>
                <a:gd name="T17" fmla="*/ 2147483647 h 170"/>
                <a:gd name="T18" fmla="*/ 2147483647 w 97"/>
                <a:gd name="T19" fmla="*/ 2147483647 h 170"/>
                <a:gd name="T20" fmla="*/ 2147483647 w 97"/>
                <a:gd name="T21" fmla="*/ 2147483647 h 170"/>
                <a:gd name="T22" fmla="*/ 2147483647 w 97"/>
                <a:gd name="T23" fmla="*/ 2147483647 h 170"/>
                <a:gd name="T24" fmla="*/ 2147483647 w 97"/>
                <a:gd name="T25" fmla="*/ 2147483647 h 170"/>
                <a:gd name="T26" fmla="*/ 2147483647 w 97"/>
                <a:gd name="T27" fmla="*/ 2147483647 h 170"/>
                <a:gd name="T28" fmla="*/ 2147483647 w 97"/>
                <a:gd name="T29" fmla="*/ 2147483647 h 170"/>
                <a:gd name="T30" fmla="*/ 2147483647 w 97"/>
                <a:gd name="T31" fmla="*/ 0 h 170"/>
                <a:gd name="T32" fmla="*/ 2147483647 w 97"/>
                <a:gd name="T33" fmla="*/ 2147483647 h 170"/>
                <a:gd name="T34" fmla="*/ 2147483647 w 97"/>
                <a:gd name="T35" fmla="*/ 2147483647 h 170"/>
                <a:gd name="T36" fmla="*/ 2147483647 w 97"/>
                <a:gd name="T37" fmla="*/ 2147483647 h 170"/>
                <a:gd name="T38" fmla="*/ 2147483647 w 97"/>
                <a:gd name="T39" fmla="*/ 2147483647 h 170"/>
                <a:gd name="T40" fmla="*/ 2147483647 w 97"/>
                <a:gd name="T41" fmla="*/ 2147483647 h 170"/>
                <a:gd name="T42" fmla="*/ 2147483647 w 97"/>
                <a:gd name="T43" fmla="*/ 2147483647 h 170"/>
                <a:gd name="T44" fmla="*/ 2147483647 w 97"/>
                <a:gd name="T45" fmla="*/ 2147483647 h 170"/>
                <a:gd name="T46" fmla="*/ 2147483647 w 97"/>
                <a:gd name="T47" fmla="*/ 2147483647 h 170"/>
                <a:gd name="T48" fmla="*/ 2147483647 w 97"/>
                <a:gd name="T49" fmla="*/ 2147483647 h 170"/>
                <a:gd name="T50" fmla="*/ 2147483647 w 97"/>
                <a:gd name="T51" fmla="*/ 2147483647 h 170"/>
                <a:gd name="T52" fmla="*/ 2147483647 w 97"/>
                <a:gd name="T53" fmla="*/ 2147483647 h 170"/>
                <a:gd name="T54" fmla="*/ 2147483647 w 97"/>
                <a:gd name="T55" fmla="*/ 2147483647 h 170"/>
                <a:gd name="T56" fmla="*/ 2147483647 w 97"/>
                <a:gd name="T57" fmla="*/ 2147483647 h 170"/>
                <a:gd name="T58" fmla="*/ 2147483647 w 97"/>
                <a:gd name="T59" fmla="*/ 2147483647 h 170"/>
                <a:gd name="T60" fmla="*/ 2147483647 w 97"/>
                <a:gd name="T61" fmla="*/ 2147483647 h 1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7"/>
                <a:gd name="T94" fmla="*/ 0 h 170"/>
                <a:gd name="T95" fmla="*/ 97 w 97"/>
                <a:gd name="T96" fmla="*/ 170 h 1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7" h="170">
                  <a:moveTo>
                    <a:pt x="18" y="170"/>
                  </a:moveTo>
                  <a:lnTo>
                    <a:pt x="13" y="158"/>
                  </a:lnTo>
                  <a:lnTo>
                    <a:pt x="4" y="152"/>
                  </a:lnTo>
                  <a:lnTo>
                    <a:pt x="5" y="144"/>
                  </a:lnTo>
                  <a:lnTo>
                    <a:pt x="15" y="141"/>
                  </a:lnTo>
                  <a:lnTo>
                    <a:pt x="16" y="123"/>
                  </a:lnTo>
                  <a:lnTo>
                    <a:pt x="7" y="111"/>
                  </a:lnTo>
                  <a:lnTo>
                    <a:pt x="4" y="110"/>
                  </a:lnTo>
                  <a:lnTo>
                    <a:pt x="0" y="106"/>
                  </a:lnTo>
                  <a:lnTo>
                    <a:pt x="2" y="93"/>
                  </a:lnTo>
                  <a:lnTo>
                    <a:pt x="18" y="73"/>
                  </a:lnTo>
                  <a:lnTo>
                    <a:pt x="19" y="44"/>
                  </a:lnTo>
                  <a:lnTo>
                    <a:pt x="24" y="36"/>
                  </a:lnTo>
                  <a:lnTo>
                    <a:pt x="16" y="25"/>
                  </a:lnTo>
                  <a:lnTo>
                    <a:pt x="12" y="9"/>
                  </a:lnTo>
                  <a:lnTo>
                    <a:pt x="26" y="0"/>
                  </a:lnTo>
                  <a:lnTo>
                    <a:pt x="97" y="40"/>
                  </a:lnTo>
                  <a:lnTo>
                    <a:pt x="97" y="83"/>
                  </a:lnTo>
                  <a:lnTo>
                    <a:pt x="84" y="85"/>
                  </a:lnTo>
                  <a:lnTo>
                    <a:pt x="85" y="92"/>
                  </a:lnTo>
                  <a:lnTo>
                    <a:pt x="83" y="96"/>
                  </a:lnTo>
                  <a:lnTo>
                    <a:pt x="80" y="110"/>
                  </a:lnTo>
                  <a:lnTo>
                    <a:pt x="78" y="114"/>
                  </a:lnTo>
                  <a:lnTo>
                    <a:pt x="83" y="119"/>
                  </a:lnTo>
                  <a:lnTo>
                    <a:pt x="83" y="124"/>
                  </a:lnTo>
                  <a:lnTo>
                    <a:pt x="78" y="128"/>
                  </a:lnTo>
                  <a:lnTo>
                    <a:pt x="75" y="139"/>
                  </a:lnTo>
                  <a:lnTo>
                    <a:pt x="62" y="154"/>
                  </a:lnTo>
                  <a:lnTo>
                    <a:pt x="51" y="154"/>
                  </a:lnTo>
                  <a:lnTo>
                    <a:pt x="46" y="165"/>
                  </a:lnTo>
                  <a:lnTo>
                    <a:pt x="18" y="1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4" name="Freeform 399"/>
            <p:cNvSpPr>
              <a:spLocks/>
            </p:cNvSpPr>
            <p:nvPr/>
          </p:nvSpPr>
          <p:spPr bwMode="gray">
            <a:xfrm>
              <a:off x="3162" y="2641"/>
              <a:ext cx="77" cy="78"/>
            </a:xfrm>
            <a:custGeom>
              <a:avLst/>
              <a:gdLst>
                <a:gd name="T0" fmla="*/ 2147483647 w 59"/>
                <a:gd name="T1" fmla="*/ 2147483647 h 60"/>
                <a:gd name="T2" fmla="*/ 2147483647 w 59"/>
                <a:gd name="T3" fmla="*/ 2147483647 h 60"/>
                <a:gd name="T4" fmla="*/ 2147483647 w 59"/>
                <a:gd name="T5" fmla="*/ 2147483647 h 60"/>
                <a:gd name="T6" fmla="*/ 2147483647 w 59"/>
                <a:gd name="T7" fmla="*/ 2147483647 h 60"/>
                <a:gd name="T8" fmla="*/ 2147483647 w 59"/>
                <a:gd name="T9" fmla="*/ 2147483647 h 60"/>
                <a:gd name="T10" fmla="*/ 2147483647 w 59"/>
                <a:gd name="T11" fmla="*/ 2147483647 h 60"/>
                <a:gd name="T12" fmla="*/ 0 w 59"/>
                <a:gd name="T13" fmla="*/ 2147483647 h 60"/>
                <a:gd name="T14" fmla="*/ 2147483647 w 59"/>
                <a:gd name="T15" fmla="*/ 2147483647 h 60"/>
                <a:gd name="T16" fmla="*/ 2147483647 w 59"/>
                <a:gd name="T17" fmla="*/ 2147483647 h 60"/>
                <a:gd name="T18" fmla="*/ 2147483647 w 59"/>
                <a:gd name="T19" fmla="*/ 0 h 60"/>
                <a:gd name="T20" fmla="*/ 2147483647 w 59"/>
                <a:gd name="T21" fmla="*/ 2147483647 h 60"/>
                <a:gd name="T22" fmla="*/ 2147483647 w 59"/>
                <a:gd name="T23" fmla="*/ 2147483647 h 60"/>
                <a:gd name="T24" fmla="*/ 2147483647 w 59"/>
                <a:gd name="T25" fmla="*/ 2147483647 h 60"/>
                <a:gd name="T26" fmla="*/ 2147483647 w 59"/>
                <a:gd name="T27" fmla="*/ 2147483647 h 60"/>
                <a:gd name="T28" fmla="*/ 2147483647 w 59"/>
                <a:gd name="T29" fmla="*/ 2147483647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60"/>
                <a:gd name="T47" fmla="*/ 59 w 59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60">
                  <a:moveTo>
                    <a:pt x="59" y="53"/>
                  </a:moveTo>
                  <a:lnTo>
                    <a:pt x="56" y="58"/>
                  </a:lnTo>
                  <a:lnTo>
                    <a:pt x="52" y="60"/>
                  </a:lnTo>
                  <a:lnTo>
                    <a:pt x="43" y="45"/>
                  </a:lnTo>
                  <a:lnTo>
                    <a:pt x="33" y="39"/>
                  </a:lnTo>
                  <a:lnTo>
                    <a:pt x="25" y="35"/>
                  </a:lnTo>
                  <a:lnTo>
                    <a:pt x="0" y="37"/>
                  </a:lnTo>
                  <a:lnTo>
                    <a:pt x="2" y="20"/>
                  </a:lnTo>
                  <a:lnTo>
                    <a:pt x="7" y="10"/>
                  </a:lnTo>
                  <a:lnTo>
                    <a:pt x="21" y="0"/>
                  </a:lnTo>
                  <a:lnTo>
                    <a:pt x="25" y="13"/>
                  </a:lnTo>
                  <a:lnTo>
                    <a:pt x="31" y="27"/>
                  </a:lnTo>
                  <a:lnTo>
                    <a:pt x="35" y="29"/>
                  </a:lnTo>
                  <a:lnTo>
                    <a:pt x="47" y="37"/>
                  </a:lnTo>
                  <a:lnTo>
                    <a:pt x="59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5" name="Freeform 400"/>
            <p:cNvSpPr>
              <a:spLocks/>
            </p:cNvSpPr>
            <p:nvPr/>
          </p:nvSpPr>
          <p:spPr bwMode="gray">
            <a:xfrm>
              <a:off x="3128" y="2686"/>
              <a:ext cx="180" cy="146"/>
            </a:xfrm>
            <a:custGeom>
              <a:avLst/>
              <a:gdLst>
                <a:gd name="T0" fmla="*/ 2147483647 w 138"/>
                <a:gd name="T1" fmla="*/ 2147483647 h 112"/>
                <a:gd name="T2" fmla="*/ 2147483647 w 138"/>
                <a:gd name="T3" fmla="*/ 2147483647 h 112"/>
                <a:gd name="T4" fmla="*/ 2147483647 w 138"/>
                <a:gd name="T5" fmla="*/ 2147483647 h 112"/>
                <a:gd name="T6" fmla="*/ 0 w 138"/>
                <a:gd name="T7" fmla="*/ 2147483647 h 112"/>
                <a:gd name="T8" fmla="*/ 2147483647 w 138"/>
                <a:gd name="T9" fmla="*/ 2147483647 h 112"/>
                <a:gd name="T10" fmla="*/ 2147483647 w 138"/>
                <a:gd name="T11" fmla="*/ 2147483647 h 112"/>
                <a:gd name="T12" fmla="*/ 2147483647 w 138"/>
                <a:gd name="T13" fmla="*/ 2147483647 h 112"/>
                <a:gd name="T14" fmla="*/ 2147483647 w 138"/>
                <a:gd name="T15" fmla="*/ 2147483647 h 112"/>
                <a:gd name="T16" fmla="*/ 2147483647 w 138"/>
                <a:gd name="T17" fmla="*/ 2147483647 h 112"/>
                <a:gd name="T18" fmla="*/ 2147483647 w 138"/>
                <a:gd name="T19" fmla="*/ 2147483647 h 112"/>
                <a:gd name="T20" fmla="*/ 2147483647 w 138"/>
                <a:gd name="T21" fmla="*/ 0 h 112"/>
                <a:gd name="T22" fmla="*/ 2147483647 w 138"/>
                <a:gd name="T23" fmla="*/ 2147483647 h 112"/>
                <a:gd name="T24" fmla="*/ 2147483647 w 138"/>
                <a:gd name="T25" fmla="*/ 2147483647 h 112"/>
                <a:gd name="T26" fmla="*/ 2147483647 w 138"/>
                <a:gd name="T27" fmla="*/ 2147483647 h 112"/>
                <a:gd name="T28" fmla="*/ 2147483647 w 138"/>
                <a:gd name="T29" fmla="*/ 2147483647 h 112"/>
                <a:gd name="T30" fmla="*/ 2147483647 w 138"/>
                <a:gd name="T31" fmla="*/ 2147483647 h 112"/>
                <a:gd name="T32" fmla="*/ 2147483647 w 138"/>
                <a:gd name="T33" fmla="*/ 2147483647 h 112"/>
                <a:gd name="T34" fmla="*/ 2147483647 w 138"/>
                <a:gd name="T35" fmla="*/ 2147483647 h 112"/>
                <a:gd name="T36" fmla="*/ 2147483647 w 138"/>
                <a:gd name="T37" fmla="*/ 2147483647 h 112"/>
                <a:gd name="T38" fmla="*/ 2147483647 w 138"/>
                <a:gd name="T39" fmla="*/ 2147483647 h 112"/>
                <a:gd name="T40" fmla="*/ 2147483647 w 138"/>
                <a:gd name="T41" fmla="*/ 2147483647 h 112"/>
                <a:gd name="T42" fmla="*/ 2147483647 w 138"/>
                <a:gd name="T43" fmla="*/ 2147483647 h 112"/>
                <a:gd name="T44" fmla="*/ 2147483647 w 138"/>
                <a:gd name="T45" fmla="*/ 2147483647 h 112"/>
                <a:gd name="T46" fmla="*/ 2147483647 w 138"/>
                <a:gd name="T47" fmla="*/ 2147483647 h 112"/>
                <a:gd name="T48" fmla="*/ 2147483647 w 138"/>
                <a:gd name="T49" fmla="*/ 2147483647 h 112"/>
                <a:gd name="T50" fmla="*/ 2147483647 w 138"/>
                <a:gd name="T51" fmla="*/ 2147483647 h 112"/>
                <a:gd name="T52" fmla="*/ 2147483647 w 138"/>
                <a:gd name="T53" fmla="*/ 2147483647 h 112"/>
                <a:gd name="T54" fmla="*/ 2147483647 w 138"/>
                <a:gd name="T55" fmla="*/ 2147483647 h 112"/>
                <a:gd name="T56" fmla="*/ 2147483647 w 138"/>
                <a:gd name="T57" fmla="*/ 2147483647 h 112"/>
                <a:gd name="T58" fmla="*/ 2147483647 w 138"/>
                <a:gd name="T59" fmla="*/ 2147483647 h 112"/>
                <a:gd name="T60" fmla="*/ 2147483647 w 138"/>
                <a:gd name="T61" fmla="*/ 2147483647 h 112"/>
                <a:gd name="T62" fmla="*/ 2147483647 w 138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8"/>
                <a:gd name="T97" fmla="*/ 0 h 112"/>
                <a:gd name="T98" fmla="*/ 138 w 138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8" h="112">
                  <a:moveTo>
                    <a:pt x="22" y="101"/>
                  </a:moveTo>
                  <a:lnTo>
                    <a:pt x="15" y="92"/>
                  </a:lnTo>
                  <a:lnTo>
                    <a:pt x="11" y="81"/>
                  </a:lnTo>
                  <a:lnTo>
                    <a:pt x="0" y="64"/>
                  </a:lnTo>
                  <a:lnTo>
                    <a:pt x="6" y="54"/>
                  </a:lnTo>
                  <a:lnTo>
                    <a:pt x="7" y="40"/>
                  </a:lnTo>
                  <a:lnTo>
                    <a:pt x="15" y="35"/>
                  </a:lnTo>
                  <a:lnTo>
                    <a:pt x="16" y="25"/>
                  </a:lnTo>
                  <a:lnTo>
                    <a:pt x="25" y="23"/>
                  </a:lnTo>
                  <a:lnTo>
                    <a:pt x="26" y="2"/>
                  </a:lnTo>
                  <a:lnTo>
                    <a:pt x="51" y="0"/>
                  </a:lnTo>
                  <a:lnTo>
                    <a:pt x="59" y="4"/>
                  </a:lnTo>
                  <a:lnTo>
                    <a:pt x="69" y="10"/>
                  </a:lnTo>
                  <a:lnTo>
                    <a:pt x="78" y="25"/>
                  </a:lnTo>
                  <a:lnTo>
                    <a:pt x="76" y="33"/>
                  </a:lnTo>
                  <a:lnTo>
                    <a:pt x="80" y="37"/>
                  </a:lnTo>
                  <a:lnTo>
                    <a:pt x="85" y="38"/>
                  </a:lnTo>
                  <a:lnTo>
                    <a:pt x="86" y="47"/>
                  </a:lnTo>
                  <a:lnTo>
                    <a:pt x="92" y="55"/>
                  </a:lnTo>
                  <a:lnTo>
                    <a:pt x="97" y="56"/>
                  </a:lnTo>
                  <a:lnTo>
                    <a:pt x="107" y="61"/>
                  </a:lnTo>
                  <a:lnTo>
                    <a:pt x="129" y="65"/>
                  </a:lnTo>
                  <a:lnTo>
                    <a:pt x="138" y="64"/>
                  </a:lnTo>
                  <a:lnTo>
                    <a:pt x="135" y="72"/>
                  </a:lnTo>
                  <a:lnTo>
                    <a:pt x="104" y="97"/>
                  </a:lnTo>
                  <a:lnTo>
                    <a:pt x="85" y="102"/>
                  </a:lnTo>
                  <a:lnTo>
                    <a:pt x="78" y="107"/>
                  </a:lnTo>
                  <a:lnTo>
                    <a:pt x="62" y="106"/>
                  </a:lnTo>
                  <a:lnTo>
                    <a:pt x="53" y="112"/>
                  </a:lnTo>
                  <a:lnTo>
                    <a:pt x="43" y="110"/>
                  </a:lnTo>
                  <a:lnTo>
                    <a:pt x="28" y="102"/>
                  </a:lnTo>
                  <a:lnTo>
                    <a:pt x="22" y="10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6" name="Freeform 401"/>
            <p:cNvSpPr>
              <a:spLocks noEditPoints="1"/>
            </p:cNvSpPr>
            <p:nvPr/>
          </p:nvSpPr>
          <p:spPr bwMode="gray">
            <a:xfrm>
              <a:off x="2926" y="3175"/>
              <a:ext cx="194" cy="195"/>
            </a:xfrm>
            <a:custGeom>
              <a:avLst/>
              <a:gdLst>
                <a:gd name="T0" fmla="*/ 2147483647 w 149"/>
                <a:gd name="T1" fmla="*/ 2147483647 h 150"/>
                <a:gd name="T2" fmla="*/ 2147483647 w 149"/>
                <a:gd name="T3" fmla="*/ 2147483647 h 150"/>
                <a:gd name="T4" fmla="*/ 2147483647 w 149"/>
                <a:gd name="T5" fmla="*/ 2147483647 h 150"/>
                <a:gd name="T6" fmla="*/ 2147483647 w 149"/>
                <a:gd name="T7" fmla="*/ 2147483647 h 150"/>
                <a:gd name="T8" fmla="*/ 0 w 149"/>
                <a:gd name="T9" fmla="*/ 2147483647 h 150"/>
                <a:gd name="T10" fmla="*/ 2147483647 w 149"/>
                <a:gd name="T11" fmla="*/ 2147483647 h 150"/>
                <a:gd name="T12" fmla="*/ 2147483647 w 149"/>
                <a:gd name="T13" fmla="*/ 2147483647 h 150"/>
                <a:gd name="T14" fmla="*/ 2147483647 w 149"/>
                <a:gd name="T15" fmla="*/ 2147483647 h 150"/>
                <a:gd name="T16" fmla="*/ 2147483647 w 149"/>
                <a:gd name="T17" fmla="*/ 2147483647 h 150"/>
                <a:gd name="T18" fmla="*/ 2147483647 w 149"/>
                <a:gd name="T19" fmla="*/ 2147483647 h 150"/>
                <a:gd name="T20" fmla="*/ 2147483647 w 149"/>
                <a:gd name="T21" fmla="*/ 2147483647 h 150"/>
                <a:gd name="T22" fmla="*/ 2147483647 w 149"/>
                <a:gd name="T23" fmla="*/ 2147483647 h 150"/>
                <a:gd name="T24" fmla="*/ 2147483647 w 149"/>
                <a:gd name="T25" fmla="*/ 2147483647 h 150"/>
                <a:gd name="T26" fmla="*/ 2147483647 w 149"/>
                <a:gd name="T27" fmla="*/ 2147483647 h 150"/>
                <a:gd name="T28" fmla="*/ 2147483647 w 149"/>
                <a:gd name="T29" fmla="*/ 2147483647 h 150"/>
                <a:gd name="T30" fmla="*/ 2147483647 w 149"/>
                <a:gd name="T31" fmla="*/ 2147483647 h 150"/>
                <a:gd name="T32" fmla="*/ 2147483647 w 149"/>
                <a:gd name="T33" fmla="*/ 2147483647 h 150"/>
                <a:gd name="T34" fmla="*/ 2147483647 w 149"/>
                <a:gd name="T35" fmla="*/ 2147483647 h 150"/>
                <a:gd name="T36" fmla="*/ 2147483647 w 149"/>
                <a:gd name="T37" fmla="*/ 2147483647 h 150"/>
                <a:gd name="T38" fmla="*/ 2147483647 w 149"/>
                <a:gd name="T39" fmla="*/ 2147483647 h 150"/>
                <a:gd name="T40" fmla="*/ 2147483647 w 149"/>
                <a:gd name="T41" fmla="*/ 2147483647 h 150"/>
                <a:gd name="T42" fmla="*/ 2147483647 w 149"/>
                <a:gd name="T43" fmla="*/ 2147483647 h 150"/>
                <a:gd name="T44" fmla="*/ 2147483647 w 149"/>
                <a:gd name="T45" fmla="*/ 2147483647 h 150"/>
                <a:gd name="T46" fmla="*/ 2147483647 w 149"/>
                <a:gd name="T47" fmla="*/ 2147483647 h 150"/>
                <a:gd name="T48" fmla="*/ 2147483647 w 149"/>
                <a:gd name="T49" fmla="*/ 2147483647 h 150"/>
                <a:gd name="T50" fmla="*/ 2147483647 w 149"/>
                <a:gd name="T51" fmla="*/ 2147483647 h 150"/>
                <a:gd name="T52" fmla="*/ 2147483647 w 149"/>
                <a:gd name="T53" fmla="*/ 2147483647 h 150"/>
                <a:gd name="T54" fmla="*/ 2147483647 w 149"/>
                <a:gd name="T55" fmla="*/ 2147483647 h 150"/>
                <a:gd name="T56" fmla="*/ 2147483647 w 149"/>
                <a:gd name="T57" fmla="*/ 2147483647 h 150"/>
                <a:gd name="T58" fmla="*/ 2147483647 w 149"/>
                <a:gd name="T59" fmla="*/ 2147483647 h 150"/>
                <a:gd name="T60" fmla="*/ 2147483647 w 149"/>
                <a:gd name="T61" fmla="*/ 2147483647 h 150"/>
                <a:gd name="T62" fmla="*/ 2147483647 w 149"/>
                <a:gd name="T63" fmla="*/ 2147483647 h 150"/>
                <a:gd name="T64" fmla="*/ 0 w 149"/>
                <a:gd name="T65" fmla="*/ 2147483647 h 1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9"/>
                <a:gd name="T100" fmla="*/ 0 h 150"/>
                <a:gd name="T101" fmla="*/ 149 w 149"/>
                <a:gd name="T102" fmla="*/ 150 h 1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9" h="150">
                  <a:moveTo>
                    <a:pt x="120" y="76"/>
                  </a:moveTo>
                  <a:lnTo>
                    <a:pt x="107" y="75"/>
                  </a:lnTo>
                  <a:lnTo>
                    <a:pt x="97" y="85"/>
                  </a:lnTo>
                  <a:lnTo>
                    <a:pt x="97" y="90"/>
                  </a:lnTo>
                  <a:lnTo>
                    <a:pt x="104" y="99"/>
                  </a:lnTo>
                  <a:lnTo>
                    <a:pt x="112" y="95"/>
                  </a:lnTo>
                  <a:lnTo>
                    <a:pt x="114" y="92"/>
                  </a:lnTo>
                  <a:lnTo>
                    <a:pt x="121" y="85"/>
                  </a:lnTo>
                  <a:lnTo>
                    <a:pt x="120" y="76"/>
                  </a:lnTo>
                  <a:close/>
                  <a:moveTo>
                    <a:pt x="0" y="75"/>
                  </a:moveTo>
                  <a:lnTo>
                    <a:pt x="5" y="70"/>
                  </a:lnTo>
                  <a:lnTo>
                    <a:pt x="9" y="70"/>
                  </a:lnTo>
                  <a:lnTo>
                    <a:pt x="11" y="73"/>
                  </a:lnTo>
                  <a:lnTo>
                    <a:pt x="16" y="76"/>
                  </a:lnTo>
                  <a:lnTo>
                    <a:pt x="22" y="78"/>
                  </a:lnTo>
                  <a:lnTo>
                    <a:pt x="33" y="75"/>
                  </a:lnTo>
                  <a:lnTo>
                    <a:pt x="34" y="28"/>
                  </a:lnTo>
                  <a:lnTo>
                    <a:pt x="40" y="35"/>
                  </a:lnTo>
                  <a:lnTo>
                    <a:pt x="43" y="54"/>
                  </a:lnTo>
                  <a:lnTo>
                    <a:pt x="52" y="54"/>
                  </a:lnTo>
                  <a:lnTo>
                    <a:pt x="63" y="38"/>
                  </a:lnTo>
                  <a:lnTo>
                    <a:pt x="68" y="38"/>
                  </a:lnTo>
                  <a:lnTo>
                    <a:pt x="74" y="41"/>
                  </a:lnTo>
                  <a:lnTo>
                    <a:pt x="82" y="41"/>
                  </a:lnTo>
                  <a:lnTo>
                    <a:pt x="88" y="33"/>
                  </a:lnTo>
                  <a:lnTo>
                    <a:pt x="90" y="20"/>
                  </a:lnTo>
                  <a:lnTo>
                    <a:pt x="99" y="17"/>
                  </a:lnTo>
                  <a:lnTo>
                    <a:pt x="101" y="13"/>
                  </a:lnTo>
                  <a:lnTo>
                    <a:pt x="112" y="3"/>
                  </a:lnTo>
                  <a:lnTo>
                    <a:pt x="118" y="3"/>
                  </a:lnTo>
                  <a:lnTo>
                    <a:pt x="124" y="0"/>
                  </a:lnTo>
                  <a:lnTo>
                    <a:pt x="137" y="3"/>
                  </a:lnTo>
                  <a:lnTo>
                    <a:pt x="141" y="29"/>
                  </a:lnTo>
                  <a:lnTo>
                    <a:pt x="140" y="40"/>
                  </a:lnTo>
                  <a:lnTo>
                    <a:pt x="135" y="39"/>
                  </a:lnTo>
                  <a:lnTo>
                    <a:pt x="131" y="40"/>
                  </a:lnTo>
                  <a:lnTo>
                    <a:pt x="129" y="57"/>
                  </a:lnTo>
                  <a:lnTo>
                    <a:pt x="132" y="62"/>
                  </a:lnTo>
                  <a:lnTo>
                    <a:pt x="139" y="62"/>
                  </a:lnTo>
                  <a:lnTo>
                    <a:pt x="142" y="54"/>
                  </a:lnTo>
                  <a:lnTo>
                    <a:pt x="149" y="54"/>
                  </a:lnTo>
                  <a:lnTo>
                    <a:pt x="149" y="59"/>
                  </a:lnTo>
                  <a:lnTo>
                    <a:pt x="147" y="64"/>
                  </a:lnTo>
                  <a:lnTo>
                    <a:pt x="147" y="71"/>
                  </a:lnTo>
                  <a:lnTo>
                    <a:pt x="140" y="79"/>
                  </a:lnTo>
                  <a:lnTo>
                    <a:pt x="130" y="93"/>
                  </a:lnTo>
                  <a:lnTo>
                    <a:pt x="128" y="102"/>
                  </a:lnTo>
                  <a:lnTo>
                    <a:pt x="119" y="113"/>
                  </a:lnTo>
                  <a:lnTo>
                    <a:pt x="115" y="120"/>
                  </a:lnTo>
                  <a:lnTo>
                    <a:pt x="102" y="130"/>
                  </a:lnTo>
                  <a:lnTo>
                    <a:pt x="92" y="137"/>
                  </a:lnTo>
                  <a:lnTo>
                    <a:pt x="85" y="139"/>
                  </a:lnTo>
                  <a:lnTo>
                    <a:pt x="82" y="141"/>
                  </a:lnTo>
                  <a:lnTo>
                    <a:pt x="63" y="140"/>
                  </a:lnTo>
                  <a:lnTo>
                    <a:pt x="54" y="142"/>
                  </a:lnTo>
                  <a:lnTo>
                    <a:pt x="43" y="144"/>
                  </a:lnTo>
                  <a:lnTo>
                    <a:pt x="38" y="148"/>
                  </a:lnTo>
                  <a:lnTo>
                    <a:pt x="32" y="150"/>
                  </a:lnTo>
                  <a:lnTo>
                    <a:pt x="17" y="135"/>
                  </a:lnTo>
                  <a:lnTo>
                    <a:pt x="16" y="130"/>
                  </a:lnTo>
                  <a:lnTo>
                    <a:pt x="18" y="126"/>
                  </a:lnTo>
                  <a:lnTo>
                    <a:pt x="19" y="118"/>
                  </a:lnTo>
                  <a:lnTo>
                    <a:pt x="14" y="104"/>
                  </a:lnTo>
                  <a:lnTo>
                    <a:pt x="7" y="92"/>
                  </a:lnTo>
                  <a:lnTo>
                    <a:pt x="2" y="81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7" name="Freeform 402"/>
            <p:cNvSpPr>
              <a:spLocks/>
            </p:cNvSpPr>
            <p:nvPr/>
          </p:nvSpPr>
          <p:spPr bwMode="gray">
            <a:xfrm>
              <a:off x="2530" y="2697"/>
              <a:ext cx="36" cy="12"/>
            </a:xfrm>
            <a:custGeom>
              <a:avLst/>
              <a:gdLst>
                <a:gd name="T0" fmla="*/ 0 w 28"/>
                <a:gd name="T1" fmla="*/ 2147483647 h 9"/>
                <a:gd name="T2" fmla="*/ 2147483647 w 28"/>
                <a:gd name="T3" fmla="*/ 2147483647 h 9"/>
                <a:gd name="T4" fmla="*/ 0 w 28"/>
                <a:gd name="T5" fmla="*/ 2147483647 h 9"/>
                <a:gd name="T6" fmla="*/ 2147483647 w 28"/>
                <a:gd name="T7" fmla="*/ 0 h 9"/>
                <a:gd name="T8" fmla="*/ 2147483647 w 28"/>
                <a:gd name="T9" fmla="*/ 2147483647 h 9"/>
                <a:gd name="T10" fmla="*/ 2147483647 w 28"/>
                <a:gd name="T11" fmla="*/ 2147483647 h 9"/>
                <a:gd name="T12" fmla="*/ 2147483647 w 28"/>
                <a:gd name="T13" fmla="*/ 2147483647 h 9"/>
                <a:gd name="T14" fmla="*/ 2147483647 w 28"/>
                <a:gd name="T15" fmla="*/ 2147483647 h 9"/>
                <a:gd name="T16" fmla="*/ 0 w 2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9"/>
                <a:gd name="T29" fmla="*/ 28 w 2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9">
                  <a:moveTo>
                    <a:pt x="0" y="9"/>
                  </a:moveTo>
                  <a:lnTo>
                    <a:pt x="1" y="4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5" y="2"/>
                  </a:lnTo>
                  <a:lnTo>
                    <a:pt x="28" y="7"/>
                  </a:lnTo>
                  <a:lnTo>
                    <a:pt x="24" y="9"/>
                  </a:lnTo>
                  <a:lnTo>
                    <a:pt x="15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8" name="Freeform 403"/>
            <p:cNvSpPr>
              <a:spLocks/>
            </p:cNvSpPr>
            <p:nvPr/>
          </p:nvSpPr>
          <p:spPr bwMode="gray">
            <a:xfrm>
              <a:off x="2532" y="2715"/>
              <a:ext cx="33" cy="18"/>
            </a:xfrm>
            <a:custGeom>
              <a:avLst/>
              <a:gdLst>
                <a:gd name="T0" fmla="*/ 2147483647 w 25"/>
                <a:gd name="T1" fmla="*/ 2147483647 h 14"/>
                <a:gd name="T2" fmla="*/ 2147483647 w 25"/>
                <a:gd name="T3" fmla="*/ 2147483647 h 14"/>
                <a:gd name="T4" fmla="*/ 2147483647 w 25"/>
                <a:gd name="T5" fmla="*/ 2147483647 h 14"/>
                <a:gd name="T6" fmla="*/ 0 w 25"/>
                <a:gd name="T7" fmla="*/ 2147483647 h 14"/>
                <a:gd name="T8" fmla="*/ 2147483647 w 25"/>
                <a:gd name="T9" fmla="*/ 0 h 14"/>
                <a:gd name="T10" fmla="*/ 2147483647 w 25"/>
                <a:gd name="T11" fmla="*/ 2147483647 h 14"/>
                <a:gd name="T12" fmla="*/ 2147483647 w 25"/>
                <a:gd name="T13" fmla="*/ 2147483647 h 14"/>
                <a:gd name="T14" fmla="*/ 2147483647 w 25"/>
                <a:gd name="T15" fmla="*/ 2147483647 h 14"/>
                <a:gd name="T16" fmla="*/ 2147483647 w 25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4"/>
                <a:gd name="T29" fmla="*/ 25 w 25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4">
                  <a:moveTo>
                    <a:pt x="12" y="14"/>
                  </a:moveTo>
                  <a:lnTo>
                    <a:pt x="9" y="9"/>
                  </a:lnTo>
                  <a:lnTo>
                    <a:pt x="3" y="6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5" y="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09" name="Freeform 404"/>
            <p:cNvSpPr>
              <a:spLocks/>
            </p:cNvSpPr>
            <p:nvPr/>
          </p:nvSpPr>
          <p:spPr bwMode="gray">
            <a:xfrm>
              <a:off x="2434" y="2658"/>
              <a:ext cx="7" cy="2"/>
            </a:xfrm>
            <a:custGeom>
              <a:avLst/>
              <a:gdLst>
                <a:gd name="T0" fmla="*/ 0 w 5"/>
                <a:gd name="T1" fmla="*/ 2147483646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6 h 2"/>
                <a:gd name="T8" fmla="*/ 0 w 5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0" name="Freeform 405"/>
            <p:cNvSpPr>
              <a:spLocks/>
            </p:cNvSpPr>
            <p:nvPr/>
          </p:nvSpPr>
          <p:spPr bwMode="gray">
            <a:xfrm>
              <a:off x="2446" y="2679"/>
              <a:ext cx="5" cy="3"/>
            </a:xfrm>
            <a:custGeom>
              <a:avLst/>
              <a:gdLst>
                <a:gd name="T0" fmla="*/ 0 w 4"/>
                <a:gd name="T1" fmla="*/ 2147483646 h 3"/>
                <a:gd name="T2" fmla="*/ 2147483647 w 4"/>
                <a:gd name="T3" fmla="*/ 0 h 3"/>
                <a:gd name="T4" fmla="*/ 2147483647 w 4"/>
                <a:gd name="T5" fmla="*/ 2147483646 h 3"/>
                <a:gd name="T6" fmla="*/ 2147483647 w 4"/>
                <a:gd name="T7" fmla="*/ 2147483646 h 3"/>
                <a:gd name="T8" fmla="*/ 0 w 4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1" name="Freeform 406"/>
            <p:cNvSpPr>
              <a:spLocks/>
            </p:cNvSpPr>
            <p:nvPr/>
          </p:nvSpPr>
          <p:spPr bwMode="gray">
            <a:xfrm>
              <a:off x="2433" y="2681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2147483647 w 4"/>
                <a:gd name="T3" fmla="*/ 0 h 4"/>
                <a:gd name="T4" fmla="*/ 2147483647 w 4"/>
                <a:gd name="T5" fmla="*/ 2147483647 h 4"/>
                <a:gd name="T6" fmla="*/ 2147483647 w 4"/>
                <a:gd name="T7" fmla="*/ 2147483647 h 4"/>
                <a:gd name="T8" fmla="*/ 0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1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2" name="Freeform 407"/>
            <p:cNvSpPr>
              <a:spLocks/>
            </p:cNvSpPr>
            <p:nvPr/>
          </p:nvSpPr>
          <p:spPr bwMode="gray">
            <a:xfrm>
              <a:off x="2740" y="2722"/>
              <a:ext cx="34" cy="78"/>
            </a:xfrm>
            <a:custGeom>
              <a:avLst/>
              <a:gdLst>
                <a:gd name="T0" fmla="*/ 0 w 26"/>
                <a:gd name="T1" fmla="*/ 2147483647 h 60"/>
                <a:gd name="T2" fmla="*/ 2147483647 w 26"/>
                <a:gd name="T3" fmla="*/ 2147483647 h 60"/>
                <a:gd name="T4" fmla="*/ 2147483647 w 26"/>
                <a:gd name="T5" fmla="*/ 2147483647 h 60"/>
                <a:gd name="T6" fmla="*/ 2147483647 w 26"/>
                <a:gd name="T7" fmla="*/ 0 h 60"/>
                <a:gd name="T8" fmla="*/ 2147483647 w 26"/>
                <a:gd name="T9" fmla="*/ 2147483647 h 60"/>
                <a:gd name="T10" fmla="*/ 2147483647 w 26"/>
                <a:gd name="T11" fmla="*/ 2147483647 h 60"/>
                <a:gd name="T12" fmla="*/ 2147483647 w 26"/>
                <a:gd name="T13" fmla="*/ 2147483647 h 60"/>
                <a:gd name="T14" fmla="*/ 2147483647 w 26"/>
                <a:gd name="T15" fmla="*/ 2147483647 h 60"/>
                <a:gd name="T16" fmla="*/ 2147483647 w 26"/>
                <a:gd name="T17" fmla="*/ 2147483647 h 60"/>
                <a:gd name="T18" fmla="*/ 2147483647 w 26"/>
                <a:gd name="T19" fmla="*/ 2147483647 h 60"/>
                <a:gd name="T20" fmla="*/ 2147483647 w 26"/>
                <a:gd name="T21" fmla="*/ 2147483647 h 60"/>
                <a:gd name="T22" fmla="*/ 2147483647 w 26"/>
                <a:gd name="T23" fmla="*/ 2147483647 h 60"/>
                <a:gd name="T24" fmla="*/ 0 w 26"/>
                <a:gd name="T25" fmla="*/ 2147483647 h 6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60"/>
                <a:gd name="T41" fmla="*/ 26 w 26"/>
                <a:gd name="T42" fmla="*/ 60 h 6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60">
                  <a:moveTo>
                    <a:pt x="0" y="13"/>
                  </a:moveTo>
                  <a:lnTo>
                    <a:pt x="16" y="3"/>
                  </a:lnTo>
                  <a:lnTo>
                    <a:pt x="15" y="1"/>
                  </a:lnTo>
                  <a:lnTo>
                    <a:pt x="22" y="0"/>
                  </a:lnTo>
                  <a:lnTo>
                    <a:pt x="26" y="9"/>
                  </a:lnTo>
                  <a:lnTo>
                    <a:pt x="26" y="23"/>
                  </a:lnTo>
                  <a:lnTo>
                    <a:pt x="19" y="33"/>
                  </a:lnTo>
                  <a:lnTo>
                    <a:pt x="20" y="59"/>
                  </a:lnTo>
                  <a:lnTo>
                    <a:pt x="9" y="60"/>
                  </a:lnTo>
                  <a:lnTo>
                    <a:pt x="9" y="33"/>
                  </a:lnTo>
                  <a:lnTo>
                    <a:pt x="5" y="23"/>
                  </a:lnTo>
                  <a:lnTo>
                    <a:pt x="1" y="18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3" name="Freeform 408"/>
            <p:cNvSpPr>
              <a:spLocks/>
            </p:cNvSpPr>
            <p:nvPr/>
          </p:nvSpPr>
          <p:spPr bwMode="gray">
            <a:xfrm>
              <a:off x="2730" y="2736"/>
              <a:ext cx="21" cy="69"/>
            </a:xfrm>
            <a:custGeom>
              <a:avLst/>
              <a:gdLst>
                <a:gd name="T0" fmla="*/ 2147483647 w 16"/>
                <a:gd name="T1" fmla="*/ 2147483647 h 53"/>
                <a:gd name="T2" fmla="*/ 2147483647 w 16"/>
                <a:gd name="T3" fmla="*/ 2147483647 h 53"/>
                <a:gd name="T4" fmla="*/ 2147483647 w 16"/>
                <a:gd name="T5" fmla="*/ 2147483647 h 53"/>
                <a:gd name="T6" fmla="*/ 2147483647 w 16"/>
                <a:gd name="T7" fmla="*/ 2147483647 h 53"/>
                <a:gd name="T8" fmla="*/ 2147483647 w 16"/>
                <a:gd name="T9" fmla="*/ 2147483647 h 53"/>
                <a:gd name="T10" fmla="*/ 2147483647 w 16"/>
                <a:gd name="T11" fmla="*/ 2147483647 h 53"/>
                <a:gd name="T12" fmla="*/ 2147483647 w 16"/>
                <a:gd name="T13" fmla="*/ 2147483647 h 53"/>
                <a:gd name="T14" fmla="*/ 2147483647 w 16"/>
                <a:gd name="T15" fmla="*/ 2147483647 h 53"/>
                <a:gd name="T16" fmla="*/ 2147483647 w 16"/>
                <a:gd name="T17" fmla="*/ 2147483647 h 53"/>
                <a:gd name="T18" fmla="*/ 2147483647 w 16"/>
                <a:gd name="T19" fmla="*/ 2147483647 h 53"/>
                <a:gd name="T20" fmla="*/ 0 w 16"/>
                <a:gd name="T21" fmla="*/ 0 h 53"/>
                <a:gd name="T22" fmla="*/ 2147483647 w 16"/>
                <a:gd name="T23" fmla="*/ 2147483647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"/>
                <a:gd name="T37" fmla="*/ 0 h 53"/>
                <a:gd name="T38" fmla="*/ 16 w 16"/>
                <a:gd name="T39" fmla="*/ 53 h 5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" h="53">
                  <a:moveTo>
                    <a:pt x="7" y="2"/>
                  </a:moveTo>
                  <a:lnTo>
                    <a:pt x="8" y="7"/>
                  </a:lnTo>
                  <a:lnTo>
                    <a:pt x="12" y="12"/>
                  </a:lnTo>
                  <a:lnTo>
                    <a:pt x="16" y="22"/>
                  </a:lnTo>
                  <a:lnTo>
                    <a:pt x="16" y="49"/>
                  </a:lnTo>
                  <a:lnTo>
                    <a:pt x="6" y="53"/>
                  </a:lnTo>
                  <a:lnTo>
                    <a:pt x="5" y="46"/>
                  </a:lnTo>
                  <a:lnTo>
                    <a:pt x="5" y="35"/>
                  </a:lnTo>
                  <a:lnTo>
                    <a:pt x="1" y="3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4" name="Freeform 409"/>
            <p:cNvSpPr>
              <a:spLocks/>
            </p:cNvSpPr>
            <p:nvPr/>
          </p:nvSpPr>
          <p:spPr bwMode="gray">
            <a:xfrm>
              <a:off x="2691" y="2729"/>
              <a:ext cx="47" cy="89"/>
            </a:xfrm>
            <a:custGeom>
              <a:avLst/>
              <a:gdLst>
                <a:gd name="T0" fmla="*/ 2147483647 w 36"/>
                <a:gd name="T1" fmla="*/ 2147483647 h 68"/>
                <a:gd name="T2" fmla="*/ 2147483647 w 36"/>
                <a:gd name="T3" fmla="*/ 2147483647 h 68"/>
                <a:gd name="T4" fmla="*/ 2147483647 w 36"/>
                <a:gd name="T5" fmla="*/ 2147483647 h 68"/>
                <a:gd name="T6" fmla="*/ 2147483647 w 36"/>
                <a:gd name="T7" fmla="*/ 2147483647 h 68"/>
                <a:gd name="T8" fmla="*/ 2147483647 w 36"/>
                <a:gd name="T9" fmla="*/ 2147483647 h 68"/>
                <a:gd name="T10" fmla="*/ 2147483647 w 36"/>
                <a:gd name="T11" fmla="*/ 2147483647 h 68"/>
                <a:gd name="T12" fmla="*/ 2147483647 w 36"/>
                <a:gd name="T13" fmla="*/ 2147483647 h 68"/>
                <a:gd name="T14" fmla="*/ 2147483647 w 36"/>
                <a:gd name="T15" fmla="*/ 2147483647 h 68"/>
                <a:gd name="T16" fmla="*/ 2147483647 w 36"/>
                <a:gd name="T17" fmla="*/ 2147483647 h 68"/>
                <a:gd name="T18" fmla="*/ 2147483647 w 36"/>
                <a:gd name="T19" fmla="*/ 2147483647 h 68"/>
                <a:gd name="T20" fmla="*/ 0 w 36"/>
                <a:gd name="T21" fmla="*/ 2147483647 h 68"/>
                <a:gd name="T22" fmla="*/ 2147483647 w 36"/>
                <a:gd name="T23" fmla="*/ 2147483647 h 68"/>
                <a:gd name="T24" fmla="*/ 2147483647 w 36"/>
                <a:gd name="T25" fmla="*/ 2147483647 h 68"/>
                <a:gd name="T26" fmla="*/ 2147483647 w 36"/>
                <a:gd name="T27" fmla="*/ 2147483647 h 68"/>
                <a:gd name="T28" fmla="*/ 2147483647 w 36"/>
                <a:gd name="T29" fmla="*/ 2147483647 h 68"/>
                <a:gd name="T30" fmla="*/ 2147483647 w 36"/>
                <a:gd name="T31" fmla="*/ 0 h 68"/>
                <a:gd name="T32" fmla="*/ 2147483647 w 36"/>
                <a:gd name="T33" fmla="*/ 2147483647 h 68"/>
                <a:gd name="T34" fmla="*/ 2147483647 w 36"/>
                <a:gd name="T35" fmla="*/ 2147483647 h 68"/>
                <a:gd name="T36" fmla="*/ 2147483647 w 36"/>
                <a:gd name="T37" fmla="*/ 2147483647 h 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68"/>
                <a:gd name="T59" fmla="*/ 36 w 36"/>
                <a:gd name="T60" fmla="*/ 68 h 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68">
                  <a:moveTo>
                    <a:pt x="30" y="5"/>
                  </a:moveTo>
                  <a:lnTo>
                    <a:pt x="31" y="16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5" y="51"/>
                  </a:lnTo>
                  <a:lnTo>
                    <a:pt x="36" y="58"/>
                  </a:lnTo>
                  <a:lnTo>
                    <a:pt x="29" y="60"/>
                  </a:lnTo>
                  <a:lnTo>
                    <a:pt x="10" y="68"/>
                  </a:lnTo>
                  <a:lnTo>
                    <a:pt x="5" y="66"/>
                  </a:lnTo>
                  <a:lnTo>
                    <a:pt x="2" y="58"/>
                  </a:lnTo>
                  <a:lnTo>
                    <a:pt x="0" y="51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3" y="15"/>
                  </a:lnTo>
                  <a:lnTo>
                    <a:pt x="7" y="2"/>
                  </a:lnTo>
                  <a:lnTo>
                    <a:pt x="13" y="0"/>
                  </a:lnTo>
                  <a:lnTo>
                    <a:pt x="20" y="3"/>
                  </a:lnTo>
                  <a:lnTo>
                    <a:pt x="24" y="2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5" name="Freeform 410"/>
            <p:cNvSpPr>
              <a:spLocks/>
            </p:cNvSpPr>
            <p:nvPr/>
          </p:nvSpPr>
          <p:spPr bwMode="gray">
            <a:xfrm>
              <a:off x="2548" y="2716"/>
              <a:ext cx="87" cy="69"/>
            </a:xfrm>
            <a:custGeom>
              <a:avLst/>
              <a:gdLst>
                <a:gd name="T0" fmla="*/ 2147483647 w 67"/>
                <a:gd name="T1" fmla="*/ 2147483647 h 53"/>
                <a:gd name="T2" fmla="*/ 2147483647 w 67"/>
                <a:gd name="T3" fmla="*/ 2147483647 h 53"/>
                <a:gd name="T4" fmla="*/ 0 w 67"/>
                <a:gd name="T5" fmla="*/ 2147483647 h 53"/>
                <a:gd name="T6" fmla="*/ 2147483647 w 67"/>
                <a:gd name="T7" fmla="*/ 2147483647 h 53"/>
                <a:gd name="T8" fmla="*/ 2147483647 w 67"/>
                <a:gd name="T9" fmla="*/ 2147483647 h 53"/>
                <a:gd name="T10" fmla="*/ 2147483647 w 67"/>
                <a:gd name="T11" fmla="*/ 0 h 53"/>
                <a:gd name="T12" fmla="*/ 2147483647 w 67"/>
                <a:gd name="T13" fmla="*/ 0 h 53"/>
                <a:gd name="T14" fmla="*/ 2147483647 w 67"/>
                <a:gd name="T15" fmla="*/ 2147483647 h 53"/>
                <a:gd name="T16" fmla="*/ 2147483647 w 67"/>
                <a:gd name="T17" fmla="*/ 2147483647 h 53"/>
                <a:gd name="T18" fmla="*/ 2147483647 w 67"/>
                <a:gd name="T19" fmla="*/ 2147483647 h 53"/>
                <a:gd name="T20" fmla="*/ 2147483647 w 67"/>
                <a:gd name="T21" fmla="*/ 2147483647 h 53"/>
                <a:gd name="T22" fmla="*/ 2147483647 w 67"/>
                <a:gd name="T23" fmla="*/ 2147483647 h 53"/>
                <a:gd name="T24" fmla="*/ 2147483647 w 67"/>
                <a:gd name="T25" fmla="*/ 2147483647 h 53"/>
                <a:gd name="T26" fmla="*/ 2147483647 w 67"/>
                <a:gd name="T27" fmla="*/ 2147483647 h 53"/>
                <a:gd name="T28" fmla="*/ 2147483647 w 67"/>
                <a:gd name="T29" fmla="*/ 2147483647 h 53"/>
                <a:gd name="T30" fmla="*/ 2147483647 w 67"/>
                <a:gd name="T31" fmla="*/ 2147483647 h 53"/>
                <a:gd name="T32" fmla="*/ 2147483647 w 67"/>
                <a:gd name="T33" fmla="*/ 2147483647 h 53"/>
                <a:gd name="T34" fmla="*/ 2147483647 w 67"/>
                <a:gd name="T35" fmla="*/ 2147483647 h 53"/>
                <a:gd name="T36" fmla="*/ 2147483647 w 67"/>
                <a:gd name="T37" fmla="*/ 2147483647 h 53"/>
                <a:gd name="T38" fmla="*/ 2147483647 w 67"/>
                <a:gd name="T39" fmla="*/ 2147483647 h 53"/>
                <a:gd name="T40" fmla="*/ 2147483647 w 67"/>
                <a:gd name="T41" fmla="*/ 2147483647 h 53"/>
                <a:gd name="T42" fmla="*/ 2147483647 w 67"/>
                <a:gd name="T43" fmla="*/ 2147483647 h 53"/>
                <a:gd name="T44" fmla="*/ 2147483647 w 67"/>
                <a:gd name="T45" fmla="*/ 2147483647 h 53"/>
                <a:gd name="T46" fmla="*/ 2147483647 w 67"/>
                <a:gd name="T47" fmla="*/ 2147483647 h 53"/>
                <a:gd name="T48" fmla="*/ 2147483647 w 67"/>
                <a:gd name="T49" fmla="*/ 2147483647 h 53"/>
                <a:gd name="T50" fmla="*/ 2147483647 w 67"/>
                <a:gd name="T51" fmla="*/ 2147483647 h 5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7"/>
                <a:gd name="T79" fmla="*/ 0 h 53"/>
                <a:gd name="T80" fmla="*/ 67 w 67"/>
                <a:gd name="T81" fmla="*/ 53 h 5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7" h="53">
                  <a:moveTo>
                    <a:pt x="15" y="33"/>
                  </a:moveTo>
                  <a:lnTo>
                    <a:pt x="2" y="16"/>
                  </a:lnTo>
                  <a:lnTo>
                    <a:pt x="0" y="13"/>
                  </a:lnTo>
                  <a:lnTo>
                    <a:pt x="6" y="11"/>
                  </a:lnTo>
                  <a:lnTo>
                    <a:pt x="12" y="10"/>
                  </a:lnTo>
                  <a:lnTo>
                    <a:pt x="13" y="0"/>
                  </a:lnTo>
                  <a:lnTo>
                    <a:pt x="21" y="0"/>
                  </a:lnTo>
                  <a:lnTo>
                    <a:pt x="35" y="3"/>
                  </a:lnTo>
                  <a:lnTo>
                    <a:pt x="45" y="8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9" y="9"/>
                  </a:lnTo>
                  <a:lnTo>
                    <a:pt x="65" y="24"/>
                  </a:lnTo>
                  <a:lnTo>
                    <a:pt x="67" y="38"/>
                  </a:lnTo>
                  <a:lnTo>
                    <a:pt x="65" y="48"/>
                  </a:lnTo>
                  <a:lnTo>
                    <a:pt x="62" y="53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4" y="44"/>
                  </a:lnTo>
                  <a:lnTo>
                    <a:pt x="43" y="41"/>
                  </a:lnTo>
                  <a:lnTo>
                    <a:pt x="38" y="42"/>
                  </a:lnTo>
                  <a:lnTo>
                    <a:pt x="36" y="38"/>
                  </a:lnTo>
                  <a:lnTo>
                    <a:pt x="38" y="31"/>
                  </a:lnTo>
                  <a:lnTo>
                    <a:pt x="33" y="27"/>
                  </a:lnTo>
                  <a:lnTo>
                    <a:pt x="24" y="28"/>
                  </a:lnTo>
                  <a:lnTo>
                    <a:pt x="15" y="3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6" name="Freeform 411"/>
            <p:cNvSpPr>
              <a:spLocks/>
            </p:cNvSpPr>
            <p:nvPr/>
          </p:nvSpPr>
          <p:spPr bwMode="gray">
            <a:xfrm>
              <a:off x="2567" y="2752"/>
              <a:ext cx="38" cy="40"/>
            </a:xfrm>
            <a:custGeom>
              <a:avLst/>
              <a:gdLst>
                <a:gd name="T0" fmla="*/ 2147483647 w 29"/>
                <a:gd name="T1" fmla="*/ 2147483647 h 31"/>
                <a:gd name="T2" fmla="*/ 2147483647 w 29"/>
                <a:gd name="T3" fmla="*/ 2147483647 h 31"/>
                <a:gd name="T4" fmla="*/ 2147483647 w 29"/>
                <a:gd name="T5" fmla="*/ 2147483647 h 31"/>
                <a:gd name="T6" fmla="*/ 0 w 29"/>
                <a:gd name="T7" fmla="*/ 2147483647 h 31"/>
                <a:gd name="T8" fmla="*/ 2147483647 w 29"/>
                <a:gd name="T9" fmla="*/ 2147483647 h 31"/>
                <a:gd name="T10" fmla="*/ 2147483647 w 29"/>
                <a:gd name="T11" fmla="*/ 0 h 31"/>
                <a:gd name="T12" fmla="*/ 2147483647 w 29"/>
                <a:gd name="T13" fmla="*/ 2147483647 h 31"/>
                <a:gd name="T14" fmla="*/ 2147483647 w 29"/>
                <a:gd name="T15" fmla="*/ 2147483647 h 31"/>
                <a:gd name="T16" fmla="*/ 2147483647 w 29"/>
                <a:gd name="T17" fmla="*/ 2147483647 h 31"/>
                <a:gd name="T18" fmla="*/ 2147483647 w 29"/>
                <a:gd name="T19" fmla="*/ 2147483647 h 31"/>
                <a:gd name="T20" fmla="*/ 2147483647 w 29"/>
                <a:gd name="T21" fmla="*/ 2147483647 h 31"/>
                <a:gd name="T22" fmla="*/ 2147483647 w 29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1"/>
                <a:gd name="T38" fmla="*/ 29 w 29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1">
                  <a:moveTo>
                    <a:pt x="21" y="31"/>
                  </a:moveTo>
                  <a:lnTo>
                    <a:pt x="7" y="25"/>
                  </a:lnTo>
                  <a:lnTo>
                    <a:pt x="4" y="15"/>
                  </a:lnTo>
                  <a:lnTo>
                    <a:pt x="0" y="6"/>
                  </a:lnTo>
                  <a:lnTo>
                    <a:pt x="9" y="1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1" y="11"/>
                  </a:lnTo>
                  <a:lnTo>
                    <a:pt x="23" y="15"/>
                  </a:lnTo>
                  <a:lnTo>
                    <a:pt x="28" y="14"/>
                  </a:lnTo>
                  <a:lnTo>
                    <a:pt x="29" y="17"/>
                  </a:lnTo>
                  <a:lnTo>
                    <a:pt x="21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7" name="Freeform 412"/>
            <p:cNvSpPr>
              <a:spLocks/>
            </p:cNvSpPr>
            <p:nvPr/>
          </p:nvSpPr>
          <p:spPr bwMode="gray">
            <a:xfrm>
              <a:off x="2629" y="2739"/>
              <a:ext cx="73" cy="85"/>
            </a:xfrm>
            <a:custGeom>
              <a:avLst/>
              <a:gdLst>
                <a:gd name="T0" fmla="*/ 2147483647 w 56"/>
                <a:gd name="T1" fmla="*/ 2147483647 h 66"/>
                <a:gd name="T2" fmla="*/ 2147483647 w 56"/>
                <a:gd name="T3" fmla="*/ 2147483647 h 66"/>
                <a:gd name="T4" fmla="*/ 2147483647 w 56"/>
                <a:gd name="T5" fmla="*/ 2147483647 h 66"/>
                <a:gd name="T6" fmla="*/ 2147483647 w 56"/>
                <a:gd name="T7" fmla="*/ 2147483647 h 66"/>
                <a:gd name="T8" fmla="*/ 2147483647 w 56"/>
                <a:gd name="T9" fmla="*/ 2147483647 h 66"/>
                <a:gd name="T10" fmla="*/ 2147483647 w 56"/>
                <a:gd name="T11" fmla="*/ 2147483647 h 66"/>
                <a:gd name="T12" fmla="*/ 2147483647 w 56"/>
                <a:gd name="T13" fmla="*/ 2147483647 h 66"/>
                <a:gd name="T14" fmla="*/ 0 w 56"/>
                <a:gd name="T15" fmla="*/ 2147483647 h 66"/>
                <a:gd name="T16" fmla="*/ 0 w 56"/>
                <a:gd name="T17" fmla="*/ 2147483647 h 66"/>
                <a:gd name="T18" fmla="*/ 2147483647 w 56"/>
                <a:gd name="T19" fmla="*/ 2147483647 h 66"/>
                <a:gd name="T20" fmla="*/ 2147483647 w 56"/>
                <a:gd name="T21" fmla="*/ 2147483647 h 66"/>
                <a:gd name="T22" fmla="*/ 2147483647 w 56"/>
                <a:gd name="T23" fmla="*/ 2147483647 h 66"/>
                <a:gd name="T24" fmla="*/ 2147483647 w 56"/>
                <a:gd name="T25" fmla="*/ 2147483647 h 66"/>
                <a:gd name="T26" fmla="*/ 2147483647 w 56"/>
                <a:gd name="T27" fmla="*/ 0 h 66"/>
                <a:gd name="T28" fmla="*/ 2147483647 w 56"/>
                <a:gd name="T29" fmla="*/ 2147483647 h 66"/>
                <a:gd name="T30" fmla="*/ 2147483647 w 56"/>
                <a:gd name="T31" fmla="*/ 2147483647 h 66"/>
                <a:gd name="T32" fmla="*/ 2147483647 w 56"/>
                <a:gd name="T33" fmla="*/ 2147483647 h 66"/>
                <a:gd name="T34" fmla="*/ 2147483647 w 56"/>
                <a:gd name="T35" fmla="*/ 2147483647 h 66"/>
                <a:gd name="T36" fmla="*/ 2147483647 w 56"/>
                <a:gd name="T37" fmla="*/ 2147483647 h 66"/>
                <a:gd name="T38" fmla="*/ 2147483647 w 56"/>
                <a:gd name="T39" fmla="*/ 2147483647 h 66"/>
                <a:gd name="T40" fmla="*/ 2147483647 w 56"/>
                <a:gd name="T41" fmla="*/ 2147483647 h 66"/>
                <a:gd name="T42" fmla="*/ 2147483647 w 56"/>
                <a:gd name="T43" fmla="*/ 2147483647 h 66"/>
                <a:gd name="T44" fmla="*/ 2147483647 w 56"/>
                <a:gd name="T45" fmla="*/ 2147483647 h 66"/>
                <a:gd name="T46" fmla="*/ 2147483647 w 56"/>
                <a:gd name="T47" fmla="*/ 2147483647 h 6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"/>
                <a:gd name="T73" fmla="*/ 0 h 66"/>
                <a:gd name="T74" fmla="*/ 56 w 56"/>
                <a:gd name="T75" fmla="*/ 66 h 6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" h="66">
                  <a:moveTo>
                    <a:pt x="53" y="59"/>
                  </a:moveTo>
                  <a:lnTo>
                    <a:pt x="40" y="59"/>
                  </a:lnTo>
                  <a:lnTo>
                    <a:pt x="29" y="61"/>
                  </a:lnTo>
                  <a:lnTo>
                    <a:pt x="16" y="64"/>
                  </a:lnTo>
                  <a:lnTo>
                    <a:pt x="6" y="66"/>
                  </a:lnTo>
                  <a:lnTo>
                    <a:pt x="9" y="57"/>
                  </a:lnTo>
                  <a:lnTo>
                    <a:pt x="8" y="51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3" y="31"/>
                  </a:lnTo>
                  <a:lnTo>
                    <a:pt x="5" y="21"/>
                  </a:lnTo>
                  <a:lnTo>
                    <a:pt x="3" y="7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22" y="5"/>
                  </a:lnTo>
                  <a:lnTo>
                    <a:pt x="28" y="5"/>
                  </a:lnTo>
                  <a:lnTo>
                    <a:pt x="35" y="14"/>
                  </a:lnTo>
                  <a:lnTo>
                    <a:pt x="41" y="8"/>
                  </a:lnTo>
                  <a:lnTo>
                    <a:pt x="51" y="8"/>
                  </a:lnTo>
                  <a:lnTo>
                    <a:pt x="56" y="24"/>
                  </a:lnTo>
                  <a:lnTo>
                    <a:pt x="56" y="29"/>
                  </a:lnTo>
                  <a:lnTo>
                    <a:pt x="48" y="44"/>
                  </a:lnTo>
                  <a:lnTo>
                    <a:pt x="50" y="51"/>
                  </a:lnTo>
                  <a:lnTo>
                    <a:pt x="53" y="5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8" name="Freeform 413"/>
            <p:cNvSpPr>
              <a:spLocks/>
            </p:cNvSpPr>
            <p:nvPr/>
          </p:nvSpPr>
          <p:spPr bwMode="gray">
            <a:xfrm>
              <a:off x="2595" y="2774"/>
              <a:ext cx="46" cy="50"/>
            </a:xfrm>
            <a:custGeom>
              <a:avLst/>
              <a:gdLst>
                <a:gd name="T0" fmla="*/ 2147483647 w 35"/>
                <a:gd name="T1" fmla="*/ 2147483647 h 39"/>
                <a:gd name="T2" fmla="*/ 2147483647 w 35"/>
                <a:gd name="T3" fmla="*/ 2147483647 h 39"/>
                <a:gd name="T4" fmla="*/ 2147483647 w 35"/>
                <a:gd name="T5" fmla="*/ 2147483647 h 39"/>
                <a:gd name="T6" fmla="*/ 2147483647 w 35"/>
                <a:gd name="T7" fmla="*/ 2147483647 h 39"/>
                <a:gd name="T8" fmla="*/ 2147483647 w 35"/>
                <a:gd name="T9" fmla="*/ 2147483647 h 39"/>
                <a:gd name="T10" fmla="*/ 2147483647 w 35"/>
                <a:gd name="T11" fmla="*/ 2147483647 h 39"/>
                <a:gd name="T12" fmla="*/ 2147483647 w 35"/>
                <a:gd name="T13" fmla="*/ 2147483647 h 39"/>
                <a:gd name="T14" fmla="*/ 0 w 35"/>
                <a:gd name="T15" fmla="*/ 2147483647 h 39"/>
                <a:gd name="T16" fmla="*/ 2147483647 w 35"/>
                <a:gd name="T17" fmla="*/ 0 h 39"/>
                <a:gd name="T18" fmla="*/ 2147483647 w 35"/>
                <a:gd name="T19" fmla="*/ 2147483647 h 39"/>
                <a:gd name="T20" fmla="*/ 2147483647 w 35"/>
                <a:gd name="T21" fmla="*/ 2147483647 h 39"/>
                <a:gd name="T22" fmla="*/ 2147483647 w 35"/>
                <a:gd name="T23" fmla="*/ 2147483647 h 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39"/>
                <a:gd name="T38" fmla="*/ 35 w 35"/>
                <a:gd name="T39" fmla="*/ 39 h 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39">
                  <a:moveTo>
                    <a:pt x="26" y="9"/>
                  </a:moveTo>
                  <a:lnTo>
                    <a:pt x="26" y="20"/>
                  </a:lnTo>
                  <a:lnTo>
                    <a:pt x="34" y="24"/>
                  </a:lnTo>
                  <a:lnTo>
                    <a:pt x="35" y="30"/>
                  </a:lnTo>
                  <a:lnTo>
                    <a:pt x="32" y="39"/>
                  </a:lnTo>
                  <a:lnTo>
                    <a:pt x="19" y="34"/>
                  </a:lnTo>
                  <a:lnTo>
                    <a:pt x="9" y="23"/>
                  </a:lnTo>
                  <a:lnTo>
                    <a:pt x="0" y="14"/>
                  </a:lnTo>
                  <a:lnTo>
                    <a:pt x="8" y="0"/>
                  </a:lnTo>
                  <a:lnTo>
                    <a:pt x="15" y="4"/>
                  </a:lnTo>
                  <a:lnTo>
                    <a:pt x="18" y="7"/>
                  </a:lnTo>
                  <a:lnTo>
                    <a:pt x="26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19" name="Freeform 414"/>
            <p:cNvSpPr>
              <a:spLocks/>
            </p:cNvSpPr>
            <p:nvPr/>
          </p:nvSpPr>
          <p:spPr bwMode="gray">
            <a:xfrm>
              <a:off x="2834" y="2832"/>
              <a:ext cx="3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6 w 3"/>
                <a:gd name="T5" fmla="*/ 0 h 4"/>
                <a:gd name="T6" fmla="*/ 2147483646 w 3"/>
                <a:gd name="T7" fmla="*/ 2147483647 h 4"/>
                <a:gd name="T8" fmla="*/ 2147483646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0" name="Freeform 415"/>
            <p:cNvSpPr>
              <a:spLocks/>
            </p:cNvSpPr>
            <p:nvPr/>
          </p:nvSpPr>
          <p:spPr bwMode="gray">
            <a:xfrm>
              <a:off x="2871" y="2943"/>
              <a:ext cx="17" cy="13"/>
            </a:xfrm>
            <a:custGeom>
              <a:avLst/>
              <a:gdLst>
                <a:gd name="T0" fmla="*/ 0 w 13"/>
                <a:gd name="T1" fmla="*/ 2147483647 h 10"/>
                <a:gd name="T2" fmla="*/ 2147483647 w 13"/>
                <a:gd name="T3" fmla="*/ 0 h 10"/>
                <a:gd name="T4" fmla="*/ 2147483647 w 13"/>
                <a:gd name="T5" fmla="*/ 2147483647 h 10"/>
                <a:gd name="T6" fmla="*/ 2147483647 w 13"/>
                <a:gd name="T7" fmla="*/ 2147483647 h 10"/>
                <a:gd name="T8" fmla="*/ 2147483647 w 13"/>
                <a:gd name="T9" fmla="*/ 2147483647 h 10"/>
                <a:gd name="T10" fmla="*/ 2147483647 w 13"/>
                <a:gd name="T11" fmla="*/ 2147483647 h 10"/>
                <a:gd name="T12" fmla="*/ 0 w 13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0"/>
                <a:gd name="T23" fmla="*/ 13 w 13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0">
                  <a:moveTo>
                    <a:pt x="0" y="6"/>
                  </a:moveTo>
                  <a:lnTo>
                    <a:pt x="11" y="0"/>
                  </a:lnTo>
                  <a:lnTo>
                    <a:pt x="12" y="1"/>
                  </a:lnTo>
                  <a:lnTo>
                    <a:pt x="13" y="4"/>
                  </a:lnTo>
                  <a:lnTo>
                    <a:pt x="12" y="8"/>
                  </a:lnTo>
                  <a:lnTo>
                    <a:pt x="4" y="1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1" name="Freeform 416"/>
            <p:cNvSpPr>
              <a:spLocks/>
            </p:cNvSpPr>
            <p:nvPr/>
          </p:nvSpPr>
          <p:spPr bwMode="gray">
            <a:xfrm>
              <a:off x="2764" y="2696"/>
              <a:ext cx="137" cy="127"/>
            </a:xfrm>
            <a:custGeom>
              <a:avLst/>
              <a:gdLst>
                <a:gd name="T0" fmla="*/ 2147483647 w 105"/>
                <a:gd name="T1" fmla="*/ 2147483647 h 98"/>
                <a:gd name="T2" fmla="*/ 2147483647 w 105"/>
                <a:gd name="T3" fmla="*/ 2147483647 h 98"/>
                <a:gd name="T4" fmla="*/ 2147483647 w 105"/>
                <a:gd name="T5" fmla="*/ 2147483647 h 98"/>
                <a:gd name="T6" fmla="*/ 2147483647 w 105"/>
                <a:gd name="T7" fmla="*/ 2147483647 h 98"/>
                <a:gd name="T8" fmla="*/ 2147483647 w 105"/>
                <a:gd name="T9" fmla="*/ 2147483647 h 98"/>
                <a:gd name="T10" fmla="*/ 2147483647 w 105"/>
                <a:gd name="T11" fmla="*/ 2147483647 h 98"/>
                <a:gd name="T12" fmla="*/ 2147483647 w 105"/>
                <a:gd name="T13" fmla="*/ 2147483647 h 98"/>
                <a:gd name="T14" fmla="*/ 2147483647 w 105"/>
                <a:gd name="T15" fmla="*/ 2147483647 h 98"/>
                <a:gd name="T16" fmla="*/ 2147483647 w 105"/>
                <a:gd name="T17" fmla="*/ 2147483647 h 98"/>
                <a:gd name="T18" fmla="*/ 2147483647 w 105"/>
                <a:gd name="T19" fmla="*/ 2147483647 h 98"/>
                <a:gd name="T20" fmla="*/ 2147483647 w 105"/>
                <a:gd name="T21" fmla="*/ 2147483647 h 98"/>
                <a:gd name="T22" fmla="*/ 2147483647 w 105"/>
                <a:gd name="T23" fmla="*/ 2147483647 h 98"/>
                <a:gd name="T24" fmla="*/ 2147483647 w 105"/>
                <a:gd name="T25" fmla="*/ 2147483647 h 98"/>
                <a:gd name="T26" fmla="*/ 2147483647 w 105"/>
                <a:gd name="T27" fmla="*/ 2147483647 h 98"/>
                <a:gd name="T28" fmla="*/ 2147483647 w 105"/>
                <a:gd name="T29" fmla="*/ 2147483647 h 98"/>
                <a:gd name="T30" fmla="*/ 2147483647 w 105"/>
                <a:gd name="T31" fmla="*/ 2147483647 h 98"/>
                <a:gd name="T32" fmla="*/ 2147483647 w 105"/>
                <a:gd name="T33" fmla="*/ 2147483647 h 98"/>
                <a:gd name="T34" fmla="*/ 2147483647 w 105"/>
                <a:gd name="T35" fmla="*/ 2147483647 h 98"/>
                <a:gd name="T36" fmla="*/ 0 w 105"/>
                <a:gd name="T37" fmla="*/ 2147483647 h 98"/>
                <a:gd name="T38" fmla="*/ 2147483647 w 105"/>
                <a:gd name="T39" fmla="*/ 2147483647 h 98"/>
                <a:gd name="T40" fmla="*/ 2147483647 w 105"/>
                <a:gd name="T41" fmla="*/ 2147483647 h 98"/>
                <a:gd name="T42" fmla="*/ 2147483647 w 105"/>
                <a:gd name="T43" fmla="*/ 2147483647 h 98"/>
                <a:gd name="T44" fmla="*/ 2147483647 w 105"/>
                <a:gd name="T45" fmla="*/ 2147483647 h 98"/>
                <a:gd name="T46" fmla="*/ 2147483647 w 105"/>
                <a:gd name="T47" fmla="*/ 2147483647 h 98"/>
                <a:gd name="T48" fmla="*/ 2147483647 w 105"/>
                <a:gd name="T49" fmla="*/ 0 h 98"/>
                <a:gd name="T50" fmla="*/ 2147483647 w 105"/>
                <a:gd name="T51" fmla="*/ 2147483647 h 98"/>
                <a:gd name="T52" fmla="*/ 2147483647 w 105"/>
                <a:gd name="T53" fmla="*/ 2147483647 h 98"/>
                <a:gd name="T54" fmla="*/ 2147483647 w 105"/>
                <a:gd name="T55" fmla="*/ 2147483647 h 98"/>
                <a:gd name="T56" fmla="*/ 2147483647 w 105"/>
                <a:gd name="T57" fmla="*/ 2147483647 h 98"/>
                <a:gd name="T58" fmla="*/ 2147483647 w 105"/>
                <a:gd name="T59" fmla="*/ 2147483647 h 98"/>
                <a:gd name="T60" fmla="*/ 2147483647 w 105"/>
                <a:gd name="T61" fmla="*/ 2147483647 h 98"/>
                <a:gd name="T62" fmla="*/ 2147483647 w 105"/>
                <a:gd name="T63" fmla="*/ 2147483647 h 98"/>
                <a:gd name="T64" fmla="*/ 2147483647 w 105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98"/>
                <a:gd name="T101" fmla="*/ 105 w 105"/>
                <a:gd name="T102" fmla="*/ 98 h 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98">
                  <a:moveTo>
                    <a:pt x="99" y="3"/>
                  </a:moveTo>
                  <a:lnTo>
                    <a:pt x="103" y="7"/>
                  </a:lnTo>
                  <a:lnTo>
                    <a:pt x="104" y="12"/>
                  </a:lnTo>
                  <a:lnTo>
                    <a:pt x="105" y="28"/>
                  </a:lnTo>
                  <a:lnTo>
                    <a:pt x="100" y="31"/>
                  </a:lnTo>
                  <a:lnTo>
                    <a:pt x="93" y="45"/>
                  </a:lnTo>
                  <a:lnTo>
                    <a:pt x="87" y="52"/>
                  </a:lnTo>
                  <a:lnTo>
                    <a:pt x="83" y="71"/>
                  </a:lnTo>
                  <a:lnTo>
                    <a:pt x="78" y="77"/>
                  </a:lnTo>
                  <a:lnTo>
                    <a:pt x="73" y="70"/>
                  </a:lnTo>
                  <a:lnTo>
                    <a:pt x="66" y="70"/>
                  </a:lnTo>
                  <a:lnTo>
                    <a:pt x="55" y="85"/>
                  </a:lnTo>
                  <a:lnTo>
                    <a:pt x="52" y="98"/>
                  </a:lnTo>
                  <a:lnTo>
                    <a:pt x="32" y="97"/>
                  </a:lnTo>
                  <a:lnTo>
                    <a:pt x="26" y="96"/>
                  </a:lnTo>
                  <a:lnTo>
                    <a:pt x="24" y="89"/>
                  </a:lnTo>
                  <a:lnTo>
                    <a:pt x="12" y="79"/>
                  </a:lnTo>
                  <a:lnTo>
                    <a:pt x="1" y="79"/>
                  </a:lnTo>
                  <a:lnTo>
                    <a:pt x="0" y="53"/>
                  </a:lnTo>
                  <a:lnTo>
                    <a:pt x="7" y="43"/>
                  </a:lnTo>
                  <a:lnTo>
                    <a:pt x="7" y="29"/>
                  </a:lnTo>
                  <a:lnTo>
                    <a:pt x="3" y="20"/>
                  </a:lnTo>
                  <a:lnTo>
                    <a:pt x="7" y="19"/>
                  </a:lnTo>
                  <a:lnTo>
                    <a:pt x="11" y="6"/>
                  </a:lnTo>
                  <a:lnTo>
                    <a:pt x="18" y="0"/>
                  </a:lnTo>
                  <a:lnTo>
                    <a:pt x="32" y="2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56" y="13"/>
                  </a:lnTo>
                  <a:lnTo>
                    <a:pt x="63" y="11"/>
                  </a:lnTo>
                  <a:lnTo>
                    <a:pt x="68" y="5"/>
                  </a:lnTo>
                  <a:lnTo>
                    <a:pt x="85" y="8"/>
                  </a:lnTo>
                  <a:lnTo>
                    <a:pt x="99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2" name="Freeform 417"/>
            <p:cNvSpPr>
              <a:spLocks/>
            </p:cNvSpPr>
            <p:nvPr/>
          </p:nvSpPr>
          <p:spPr bwMode="gray">
            <a:xfrm>
              <a:off x="2832" y="2705"/>
              <a:ext cx="85" cy="152"/>
            </a:xfrm>
            <a:custGeom>
              <a:avLst/>
              <a:gdLst>
                <a:gd name="T0" fmla="*/ 0 w 65"/>
                <a:gd name="T1" fmla="*/ 2147483647 h 117"/>
                <a:gd name="T2" fmla="*/ 2147483647 w 65"/>
                <a:gd name="T3" fmla="*/ 2147483647 h 117"/>
                <a:gd name="T4" fmla="*/ 2147483647 w 65"/>
                <a:gd name="T5" fmla="*/ 2147483647 h 117"/>
                <a:gd name="T6" fmla="*/ 2147483647 w 65"/>
                <a:gd name="T7" fmla="*/ 2147483647 h 117"/>
                <a:gd name="T8" fmla="*/ 2147483647 w 65"/>
                <a:gd name="T9" fmla="*/ 2147483647 h 117"/>
                <a:gd name="T10" fmla="*/ 2147483647 w 65"/>
                <a:gd name="T11" fmla="*/ 2147483647 h 117"/>
                <a:gd name="T12" fmla="*/ 2147483647 w 65"/>
                <a:gd name="T13" fmla="*/ 2147483647 h 117"/>
                <a:gd name="T14" fmla="*/ 2147483647 w 65"/>
                <a:gd name="T15" fmla="*/ 2147483647 h 117"/>
                <a:gd name="T16" fmla="*/ 2147483647 w 65"/>
                <a:gd name="T17" fmla="*/ 2147483647 h 117"/>
                <a:gd name="T18" fmla="*/ 2147483647 w 65"/>
                <a:gd name="T19" fmla="*/ 2147483647 h 117"/>
                <a:gd name="T20" fmla="*/ 2147483647 w 65"/>
                <a:gd name="T21" fmla="*/ 2147483647 h 117"/>
                <a:gd name="T22" fmla="*/ 2147483647 w 65"/>
                <a:gd name="T23" fmla="*/ 0 h 117"/>
                <a:gd name="T24" fmla="*/ 2147483647 w 65"/>
                <a:gd name="T25" fmla="*/ 2147483647 h 117"/>
                <a:gd name="T26" fmla="*/ 2147483647 w 65"/>
                <a:gd name="T27" fmla="*/ 2147483647 h 117"/>
                <a:gd name="T28" fmla="*/ 2147483647 w 65"/>
                <a:gd name="T29" fmla="*/ 2147483647 h 117"/>
                <a:gd name="T30" fmla="*/ 2147483647 w 65"/>
                <a:gd name="T31" fmla="*/ 2147483647 h 117"/>
                <a:gd name="T32" fmla="*/ 2147483647 w 65"/>
                <a:gd name="T33" fmla="*/ 2147483647 h 117"/>
                <a:gd name="T34" fmla="*/ 2147483647 w 65"/>
                <a:gd name="T35" fmla="*/ 2147483647 h 117"/>
                <a:gd name="T36" fmla="*/ 2147483647 w 65"/>
                <a:gd name="T37" fmla="*/ 2147483647 h 117"/>
                <a:gd name="T38" fmla="*/ 2147483647 w 65"/>
                <a:gd name="T39" fmla="*/ 2147483647 h 117"/>
                <a:gd name="T40" fmla="*/ 2147483647 w 65"/>
                <a:gd name="T41" fmla="*/ 2147483647 h 117"/>
                <a:gd name="T42" fmla="*/ 2147483647 w 65"/>
                <a:gd name="T43" fmla="*/ 2147483647 h 117"/>
                <a:gd name="T44" fmla="*/ 2147483647 w 65"/>
                <a:gd name="T45" fmla="*/ 2147483647 h 117"/>
                <a:gd name="T46" fmla="*/ 2147483647 w 65"/>
                <a:gd name="T47" fmla="*/ 2147483647 h 117"/>
                <a:gd name="T48" fmla="*/ 2147483647 w 65"/>
                <a:gd name="T49" fmla="*/ 2147483647 h 117"/>
                <a:gd name="T50" fmla="*/ 2147483647 w 65"/>
                <a:gd name="T51" fmla="*/ 2147483647 h 117"/>
                <a:gd name="T52" fmla="*/ 2147483647 w 65"/>
                <a:gd name="T53" fmla="*/ 2147483647 h 117"/>
                <a:gd name="T54" fmla="*/ 2147483647 w 65"/>
                <a:gd name="T55" fmla="*/ 2147483647 h 117"/>
                <a:gd name="T56" fmla="*/ 2147483647 w 65"/>
                <a:gd name="T57" fmla="*/ 2147483647 h 117"/>
                <a:gd name="T58" fmla="*/ 0 w 65"/>
                <a:gd name="T59" fmla="*/ 2147483647 h 11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117"/>
                <a:gd name="T92" fmla="*/ 65 w 65"/>
                <a:gd name="T93" fmla="*/ 117 h 11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117">
                  <a:moveTo>
                    <a:pt x="0" y="91"/>
                  </a:moveTo>
                  <a:lnTo>
                    <a:pt x="3" y="78"/>
                  </a:lnTo>
                  <a:lnTo>
                    <a:pt x="14" y="63"/>
                  </a:lnTo>
                  <a:lnTo>
                    <a:pt x="21" y="63"/>
                  </a:lnTo>
                  <a:lnTo>
                    <a:pt x="26" y="70"/>
                  </a:lnTo>
                  <a:lnTo>
                    <a:pt x="31" y="64"/>
                  </a:lnTo>
                  <a:lnTo>
                    <a:pt x="35" y="45"/>
                  </a:lnTo>
                  <a:lnTo>
                    <a:pt x="41" y="38"/>
                  </a:lnTo>
                  <a:lnTo>
                    <a:pt x="48" y="24"/>
                  </a:lnTo>
                  <a:lnTo>
                    <a:pt x="53" y="21"/>
                  </a:lnTo>
                  <a:lnTo>
                    <a:pt x="52" y="5"/>
                  </a:lnTo>
                  <a:lnTo>
                    <a:pt x="51" y="0"/>
                  </a:lnTo>
                  <a:lnTo>
                    <a:pt x="54" y="1"/>
                  </a:lnTo>
                  <a:lnTo>
                    <a:pt x="63" y="13"/>
                  </a:lnTo>
                  <a:lnTo>
                    <a:pt x="62" y="31"/>
                  </a:lnTo>
                  <a:lnTo>
                    <a:pt x="52" y="34"/>
                  </a:lnTo>
                  <a:lnTo>
                    <a:pt x="51" y="42"/>
                  </a:lnTo>
                  <a:lnTo>
                    <a:pt x="60" y="48"/>
                  </a:lnTo>
                  <a:lnTo>
                    <a:pt x="65" y="60"/>
                  </a:lnTo>
                  <a:lnTo>
                    <a:pt x="55" y="77"/>
                  </a:lnTo>
                  <a:lnTo>
                    <a:pt x="55" y="84"/>
                  </a:lnTo>
                  <a:lnTo>
                    <a:pt x="65" y="108"/>
                  </a:lnTo>
                  <a:lnTo>
                    <a:pt x="59" y="117"/>
                  </a:lnTo>
                  <a:lnTo>
                    <a:pt x="54" y="113"/>
                  </a:lnTo>
                  <a:lnTo>
                    <a:pt x="40" y="113"/>
                  </a:lnTo>
                  <a:lnTo>
                    <a:pt x="27" y="113"/>
                  </a:lnTo>
                  <a:lnTo>
                    <a:pt x="12" y="113"/>
                  </a:lnTo>
                  <a:lnTo>
                    <a:pt x="12" y="104"/>
                  </a:lnTo>
                  <a:lnTo>
                    <a:pt x="7" y="97"/>
                  </a:lnTo>
                  <a:lnTo>
                    <a:pt x="0" y="9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3" name="Freeform 418"/>
            <p:cNvSpPr>
              <a:spLocks/>
            </p:cNvSpPr>
            <p:nvPr/>
          </p:nvSpPr>
          <p:spPr bwMode="gray">
            <a:xfrm>
              <a:off x="2839" y="2852"/>
              <a:ext cx="66" cy="90"/>
            </a:xfrm>
            <a:custGeom>
              <a:avLst/>
              <a:gdLst>
                <a:gd name="T0" fmla="*/ 2147483647 w 51"/>
                <a:gd name="T1" fmla="*/ 2147483647 h 69"/>
                <a:gd name="T2" fmla="*/ 2147483647 w 51"/>
                <a:gd name="T3" fmla="*/ 2147483647 h 69"/>
                <a:gd name="T4" fmla="*/ 2147483647 w 51"/>
                <a:gd name="T5" fmla="*/ 2147483647 h 69"/>
                <a:gd name="T6" fmla="*/ 0 w 51"/>
                <a:gd name="T7" fmla="*/ 2147483647 h 69"/>
                <a:gd name="T8" fmla="*/ 2147483647 w 51"/>
                <a:gd name="T9" fmla="*/ 2147483647 h 69"/>
                <a:gd name="T10" fmla="*/ 2147483647 w 51"/>
                <a:gd name="T11" fmla="*/ 2147483647 h 69"/>
                <a:gd name="T12" fmla="*/ 2147483647 w 51"/>
                <a:gd name="T13" fmla="*/ 2147483647 h 69"/>
                <a:gd name="T14" fmla="*/ 2147483647 w 51"/>
                <a:gd name="T15" fmla="*/ 2147483647 h 69"/>
                <a:gd name="T16" fmla="*/ 2147483647 w 51"/>
                <a:gd name="T17" fmla="*/ 0 h 69"/>
                <a:gd name="T18" fmla="*/ 2147483647 w 51"/>
                <a:gd name="T19" fmla="*/ 0 h 69"/>
                <a:gd name="T20" fmla="*/ 2147483647 w 51"/>
                <a:gd name="T21" fmla="*/ 2147483647 h 69"/>
                <a:gd name="T22" fmla="*/ 2147483647 w 51"/>
                <a:gd name="T23" fmla="*/ 2147483647 h 69"/>
                <a:gd name="T24" fmla="*/ 2147483647 w 51"/>
                <a:gd name="T25" fmla="*/ 2147483647 h 69"/>
                <a:gd name="T26" fmla="*/ 2147483647 w 51"/>
                <a:gd name="T27" fmla="*/ 2147483647 h 69"/>
                <a:gd name="T28" fmla="*/ 2147483647 w 51"/>
                <a:gd name="T29" fmla="*/ 2147483647 h 69"/>
                <a:gd name="T30" fmla="*/ 2147483647 w 51"/>
                <a:gd name="T31" fmla="*/ 2147483647 h 69"/>
                <a:gd name="T32" fmla="*/ 2147483647 w 51"/>
                <a:gd name="T33" fmla="*/ 2147483647 h 69"/>
                <a:gd name="T34" fmla="*/ 2147483647 w 51"/>
                <a:gd name="T35" fmla="*/ 2147483647 h 69"/>
                <a:gd name="T36" fmla="*/ 2147483647 w 51"/>
                <a:gd name="T37" fmla="*/ 2147483647 h 69"/>
                <a:gd name="T38" fmla="*/ 2147483647 w 51"/>
                <a:gd name="T39" fmla="*/ 2147483647 h 69"/>
                <a:gd name="T40" fmla="*/ 2147483647 w 51"/>
                <a:gd name="T41" fmla="*/ 2147483647 h 69"/>
                <a:gd name="T42" fmla="*/ 2147483647 w 51"/>
                <a:gd name="T43" fmla="*/ 2147483647 h 69"/>
                <a:gd name="T44" fmla="*/ 2147483647 w 51"/>
                <a:gd name="T45" fmla="*/ 2147483647 h 69"/>
                <a:gd name="T46" fmla="*/ 2147483647 w 51"/>
                <a:gd name="T47" fmla="*/ 2147483647 h 69"/>
                <a:gd name="T48" fmla="*/ 2147483647 w 51"/>
                <a:gd name="T49" fmla="*/ 2147483647 h 69"/>
                <a:gd name="T50" fmla="*/ 2147483647 w 51"/>
                <a:gd name="T51" fmla="*/ 2147483647 h 69"/>
                <a:gd name="T52" fmla="*/ 2147483647 w 51"/>
                <a:gd name="T53" fmla="*/ 2147483647 h 69"/>
                <a:gd name="T54" fmla="*/ 2147483647 w 51"/>
                <a:gd name="T55" fmla="*/ 2147483647 h 69"/>
                <a:gd name="T56" fmla="*/ 2147483647 w 51"/>
                <a:gd name="T57" fmla="*/ 2147483647 h 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1"/>
                <a:gd name="T88" fmla="*/ 0 h 69"/>
                <a:gd name="T89" fmla="*/ 51 w 51"/>
                <a:gd name="T90" fmla="*/ 69 h 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1" h="69">
                  <a:moveTo>
                    <a:pt x="23" y="69"/>
                  </a:moveTo>
                  <a:lnTo>
                    <a:pt x="13" y="53"/>
                  </a:lnTo>
                  <a:lnTo>
                    <a:pt x="6" y="44"/>
                  </a:lnTo>
                  <a:lnTo>
                    <a:pt x="0" y="32"/>
                  </a:lnTo>
                  <a:lnTo>
                    <a:pt x="5" y="20"/>
                  </a:lnTo>
                  <a:lnTo>
                    <a:pt x="4" y="15"/>
                  </a:lnTo>
                  <a:lnTo>
                    <a:pt x="5" y="9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35" y="0"/>
                  </a:lnTo>
                  <a:lnTo>
                    <a:pt x="33" y="7"/>
                  </a:lnTo>
                  <a:lnTo>
                    <a:pt x="41" y="14"/>
                  </a:lnTo>
                  <a:lnTo>
                    <a:pt x="48" y="10"/>
                  </a:lnTo>
                  <a:lnTo>
                    <a:pt x="50" y="12"/>
                  </a:lnTo>
                  <a:lnTo>
                    <a:pt x="51" y="19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45" y="32"/>
                  </a:lnTo>
                  <a:lnTo>
                    <a:pt x="48" y="33"/>
                  </a:lnTo>
                  <a:lnTo>
                    <a:pt x="45" y="53"/>
                  </a:lnTo>
                  <a:lnTo>
                    <a:pt x="39" y="47"/>
                  </a:lnTo>
                  <a:lnTo>
                    <a:pt x="35" y="41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6" y="50"/>
                  </a:lnTo>
                  <a:lnTo>
                    <a:pt x="22" y="48"/>
                  </a:lnTo>
                  <a:lnTo>
                    <a:pt x="24" y="54"/>
                  </a:lnTo>
                  <a:lnTo>
                    <a:pt x="31" y="62"/>
                  </a:lnTo>
                  <a:lnTo>
                    <a:pt x="23" y="6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4" name="Freeform 419"/>
            <p:cNvSpPr>
              <a:spLocks/>
            </p:cNvSpPr>
            <p:nvPr/>
          </p:nvSpPr>
          <p:spPr bwMode="gray">
            <a:xfrm>
              <a:off x="2867" y="2832"/>
              <a:ext cx="84" cy="119"/>
            </a:xfrm>
            <a:custGeom>
              <a:avLst/>
              <a:gdLst>
                <a:gd name="T0" fmla="*/ 2147483647 w 64"/>
                <a:gd name="T1" fmla="*/ 2147483647 h 91"/>
                <a:gd name="T2" fmla="*/ 2147483647 w 64"/>
                <a:gd name="T3" fmla="*/ 2147483647 h 91"/>
                <a:gd name="T4" fmla="*/ 2147483647 w 64"/>
                <a:gd name="T5" fmla="*/ 2147483647 h 91"/>
                <a:gd name="T6" fmla="*/ 2147483647 w 64"/>
                <a:gd name="T7" fmla="*/ 2147483647 h 91"/>
                <a:gd name="T8" fmla="*/ 2147483647 w 64"/>
                <a:gd name="T9" fmla="*/ 2147483647 h 91"/>
                <a:gd name="T10" fmla="*/ 2147483647 w 64"/>
                <a:gd name="T11" fmla="*/ 2147483647 h 91"/>
                <a:gd name="T12" fmla="*/ 2147483647 w 64"/>
                <a:gd name="T13" fmla="*/ 2147483647 h 91"/>
                <a:gd name="T14" fmla="*/ 0 w 64"/>
                <a:gd name="T15" fmla="*/ 2147483647 h 91"/>
                <a:gd name="T16" fmla="*/ 2147483647 w 64"/>
                <a:gd name="T17" fmla="*/ 2147483647 h 91"/>
                <a:gd name="T18" fmla="*/ 2147483647 w 64"/>
                <a:gd name="T19" fmla="*/ 2147483647 h 91"/>
                <a:gd name="T20" fmla="*/ 2147483647 w 64"/>
                <a:gd name="T21" fmla="*/ 2147483647 h 91"/>
                <a:gd name="T22" fmla="*/ 2147483647 w 64"/>
                <a:gd name="T23" fmla="*/ 2147483647 h 91"/>
                <a:gd name="T24" fmla="*/ 2147483647 w 64"/>
                <a:gd name="T25" fmla="*/ 2147483647 h 91"/>
                <a:gd name="T26" fmla="*/ 2147483647 w 64"/>
                <a:gd name="T27" fmla="*/ 2147483647 h 91"/>
                <a:gd name="T28" fmla="*/ 2147483647 w 64"/>
                <a:gd name="T29" fmla="*/ 2147483647 h 91"/>
                <a:gd name="T30" fmla="*/ 2147483647 w 64"/>
                <a:gd name="T31" fmla="*/ 2147483647 h 91"/>
                <a:gd name="T32" fmla="*/ 2147483647 w 64"/>
                <a:gd name="T33" fmla="*/ 2147483647 h 91"/>
                <a:gd name="T34" fmla="*/ 2147483647 w 64"/>
                <a:gd name="T35" fmla="*/ 2147483647 h 91"/>
                <a:gd name="T36" fmla="*/ 2147483647 w 64"/>
                <a:gd name="T37" fmla="*/ 2147483647 h 91"/>
                <a:gd name="T38" fmla="*/ 2147483647 w 64"/>
                <a:gd name="T39" fmla="*/ 2147483647 h 91"/>
                <a:gd name="T40" fmla="*/ 2147483647 w 64"/>
                <a:gd name="T41" fmla="*/ 2147483647 h 91"/>
                <a:gd name="T42" fmla="*/ 2147483647 w 64"/>
                <a:gd name="T43" fmla="*/ 2147483647 h 91"/>
                <a:gd name="T44" fmla="*/ 2147483647 w 64"/>
                <a:gd name="T45" fmla="*/ 2147483647 h 91"/>
                <a:gd name="T46" fmla="*/ 2147483647 w 64"/>
                <a:gd name="T47" fmla="*/ 2147483647 h 91"/>
                <a:gd name="T48" fmla="*/ 2147483647 w 64"/>
                <a:gd name="T49" fmla="*/ 2147483647 h 91"/>
                <a:gd name="T50" fmla="*/ 2147483647 w 64"/>
                <a:gd name="T51" fmla="*/ 2147483647 h 91"/>
                <a:gd name="T52" fmla="*/ 2147483647 w 64"/>
                <a:gd name="T53" fmla="*/ 2147483647 h 91"/>
                <a:gd name="T54" fmla="*/ 2147483647 w 64"/>
                <a:gd name="T55" fmla="*/ 2147483647 h 91"/>
                <a:gd name="T56" fmla="*/ 2147483647 w 64"/>
                <a:gd name="T57" fmla="*/ 0 h 91"/>
                <a:gd name="T58" fmla="*/ 2147483647 w 64"/>
                <a:gd name="T59" fmla="*/ 0 h 91"/>
                <a:gd name="T60" fmla="*/ 2147483647 w 64"/>
                <a:gd name="T61" fmla="*/ 0 h 91"/>
                <a:gd name="T62" fmla="*/ 2147483647 w 64"/>
                <a:gd name="T63" fmla="*/ 2147483647 h 91"/>
                <a:gd name="T64" fmla="*/ 2147483647 w 64"/>
                <a:gd name="T65" fmla="*/ 2147483647 h 91"/>
                <a:gd name="T66" fmla="*/ 2147483647 w 64"/>
                <a:gd name="T67" fmla="*/ 2147483647 h 91"/>
                <a:gd name="T68" fmla="*/ 2147483647 w 64"/>
                <a:gd name="T69" fmla="*/ 2147483647 h 91"/>
                <a:gd name="T70" fmla="*/ 2147483647 w 64"/>
                <a:gd name="T71" fmla="*/ 2147483647 h 91"/>
                <a:gd name="T72" fmla="*/ 2147483647 w 64"/>
                <a:gd name="T73" fmla="*/ 2147483647 h 91"/>
                <a:gd name="T74" fmla="*/ 2147483647 w 64"/>
                <a:gd name="T75" fmla="*/ 2147483647 h 91"/>
                <a:gd name="T76" fmla="*/ 2147483647 w 64"/>
                <a:gd name="T77" fmla="*/ 2147483647 h 91"/>
                <a:gd name="T78" fmla="*/ 2147483647 w 64"/>
                <a:gd name="T79" fmla="*/ 2147483647 h 91"/>
                <a:gd name="T80" fmla="*/ 2147483647 w 64"/>
                <a:gd name="T81" fmla="*/ 2147483647 h 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4"/>
                <a:gd name="T124" fmla="*/ 0 h 91"/>
                <a:gd name="T125" fmla="*/ 64 w 64"/>
                <a:gd name="T126" fmla="*/ 91 h 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4" h="91">
                  <a:moveTo>
                    <a:pt x="16" y="89"/>
                  </a:moveTo>
                  <a:lnTo>
                    <a:pt x="15" y="86"/>
                  </a:lnTo>
                  <a:lnTo>
                    <a:pt x="14" y="85"/>
                  </a:lnTo>
                  <a:lnTo>
                    <a:pt x="3" y="91"/>
                  </a:lnTo>
                  <a:lnTo>
                    <a:pt x="1" y="84"/>
                  </a:lnTo>
                  <a:lnTo>
                    <a:pt x="9" y="77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4" y="65"/>
                  </a:lnTo>
                  <a:lnTo>
                    <a:pt x="6" y="59"/>
                  </a:lnTo>
                  <a:lnTo>
                    <a:pt x="6" y="55"/>
                  </a:lnTo>
                  <a:lnTo>
                    <a:pt x="13" y="56"/>
                  </a:lnTo>
                  <a:lnTo>
                    <a:pt x="17" y="62"/>
                  </a:lnTo>
                  <a:lnTo>
                    <a:pt x="23" y="6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29" y="34"/>
                  </a:lnTo>
                  <a:lnTo>
                    <a:pt x="28" y="27"/>
                  </a:lnTo>
                  <a:lnTo>
                    <a:pt x="26" y="25"/>
                  </a:lnTo>
                  <a:lnTo>
                    <a:pt x="19" y="29"/>
                  </a:lnTo>
                  <a:lnTo>
                    <a:pt x="11" y="22"/>
                  </a:lnTo>
                  <a:lnTo>
                    <a:pt x="13" y="15"/>
                  </a:lnTo>
                  <a:lnTo>
                    <a:pt x="27" y="15"/>
                  </a:lnTo>
                  <a:lnTo>
                    <a:pt x="32" y="19"/>
                  </a:lnTo>
                  <a:lnTo>
                    <a:pt x="38" y="10"/>
                  </a:lnTo>
                  <a:lnTo>
                    <a:pt x="43" y="2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64" y="11"/>
                  </a:lnTo>
                  <a:lnTo>
                    <a:pt x="58" y="19"/>
                  </a:lnTo>
                  <a:lnTo>
                    <a:pt x="57" y="36"/>
                  </a:lnTo>
                  <a:lnTo>
                    <a:pt x="53" y="50"/>
                  </a:lnTo>
                  <a:lnTo>
                    <a:pt x="46" y="54"/>
                  </a:lnTo>
                  <a:lnTo>
                    <a:pt x="40" y="80"/>
                  </a:lnTo>
                  <a:lnTo>
                    <a:pt x="23" y="89"/>
                  </a:lnTo>
                  <a:lnTo>
                    <a:pt x="23" y="84"/>
                  </a:lnTo>
                  <a:lnTo>
                    <a:pt x="20" y="84"/>
                  </a:lnTo>
                  <a:lnTo>
                    <a:pt x="16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5" name="Freeform 420"/>
            <p:cNvSpPr>
              <a:spLocks/>
            </p:cNvSpPr>
            <p:nvPr/>
          </p:nvSpPr>
          <p:spPr bwMode="gray">
            <a:xfrm>
              <a:off x="2845" y="2852"/>
              <a:ext cx="22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0 h 9"/>
                <a:gd name="T4" fmla="*/ 2147483647 w 17"/>
                <a:gd name="T5" fmla="*/ 2147483647 h 9"/>
                <a:gd name="T6" fmla="*/ 0 w 17"/>
                <a:gd name="T7" fmla="*/ 2147483647 h 9"/>
                <a:gd name="T8" fmla="*/ 2147483647 w 1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2" y="0"/>
                  </a:moveTo>
                  <a:lnTo>
                    <a:pt x="17" y="0"/>
                  </a:lnTo>
                  <a:lnTo>
                    <a:pt x="17" y="9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6" name="Freeform 421"/>
            <p:cNvSpPr>
              <a:spLocks/>
            </p:cNvSpPr>
            <p:nvPr/>
          </p:nvSpPr>
          <p:spPr bwMode="gray">
            <a:xfrm>
              <a:off x="2820" y="2857"/>
              <a:ext cx="6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2147483647 w 4"/>
                <a:gd name="T9" fmla="*/ 2147483647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7" name="Freeform 422"/>
            <p:cNvSpPr>
              <a:spLocks/>
            </p:cNvSpPr>
            <p:nvPr/>
          </p:nvSpPr>
          <p:spPr bwMode="gray">
            <a:xfrm>
              <a:off x="2817" y="2869"/>
              <a:ext cx="3" cy="4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6 w 3"/>
                <a:gd name="T5" fmla="*/ 0 h 3"/>
                <a:gd name="T6" fmla="*/ 2147483646 w 3"/>
                <a:gd name="T7" fmla="*/ 2147483647 h 3"/>
                <a:gd name="T8" fmla="*/ 2147483646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8" name="Freeform 423"/>
            <p:cNvSpPr>
              <a:spLocks/>
            </p:cNvSpPr>
            <p:nvPr/>
          </p:nvSpPr>
          <p:spPr bwMode="gray">
            <a:xfrm>
              <a:off x="3120" y="3003"/>
              <a:ext cx="36" cy="106"/>
            </a:xfrm>
            <a:custGeom>
              <a:avLst/>
              <a:gdLst>
                <a:gd name="T0" fmla="*/ 0 w 27"/>
                <a:gd name="T1" fmla="*/ 0 h 81"/>
                <a:gd name="T2" fmla="*/ 2147483647 w 27"/>
                <a:gd name="T3" fmla="*/ 0 h 81"/>
                <a:gd name="T4" fmla="*/ 2147483647 w 27"/>
                <a:gd name="T5" fmla="*/ 2147483647 h 81"/>
                <a:gd name="T6" fmla="*/ 2147483647 w 27"/>
                <a:gd name="T7" fmla="*/ 2147483647 h 81"/>
                <a:gd name="T8" fmla="*/ 2147483647 w 27"/>
                <a:gd name="T9" fmla="*/ 2147483647 h 81"/>
                <a:gd name="T10" fmla="*/ 2147483647 w 27"/>
                <a:gd name="T11" fmla="*/ 2147483647 h 81"/>
                <a:gd name="T12" fmla="*/ 2147483647 w 27"/>
                <a:gd name="T13" fmla="*/ 2147483647 h 81"/>
                <a:gd name="T14" fmla="*/ 2147483647 w 27"/>
                <a:gd name="T15" fmla="*/ 2147483647 h 81"/>
                <a:gd name="T16" fmla="*/ 2147483647 w 27"/>
                <a:gd name="T17" fmla="*/ 2147483647 h 81"/>
                <a:gd name="T18" fmla="*/ 2147483647 w 27"/>
                <a:gd name="T19" fmla="*/ 2147483647 h 81"/>
                <a:gd name="T20" fmla="*/ 2147483647 w 27"/>
                <a:gd name="T21" fmla="*/ 2147483647 h 81"/>
                <a:gd name="T22" fmla="*/ 2147483647 w 27"/>
                <a:gd name="T23" fmla="*/ 2147483647 h 81"/>
                <a:gd name="T24" fmla="*/ 2147483647 w 27"/>
                <a:gd name="T25" fmla="*/ 2147483647 h 81"/>
                <a:gd name="T26" fmla="*/ 2147483647 w 27"/>
                <a:gd name="T27" fmla="*/ 2147483647 h 81"/>
                <a:gd name="T28" fmla="*/ 2147483647 w 27"/>
                <a:gd name="T29" fmla="*/ 2147483647 h 81"/>
                <a:gd name="T30" fmla="*/ 2147483647 w 27"/>
                <a:gd name="T31" fmla="*/ 2147483647 h 81"/>
                <a:gd name="T32" fmla="*/ 2147483647 w 27"/>
                <a:gd name="T33" fmla="*/ 2147483647 h 81"/>
                <a:gd name="T34" fmla="*/ 2147483647 w 27"/>
                <a:gd name="T35" fmla="*/ 2147483647 h 81"/>
                <a:gd name="T36" fmla="*/ 2147483647 w 27"/>
                <a:gd name="T37" fmla="*/ 2147483647 h 81"/>
                <a:gd name="T38" fmla="*/ 2147483647 w 27"/>
                <a:gd name="T39" fmla="*/ 2147483647 h 81"/>
                <a:gd name="T40" fmla="*/ 2147483647 w 27"/>
                <a:gd name="T41" fmla="*/ 2147483647 h 81"/>
                <a:gd name="T42" fmla="*/ 2147483647 w 27"/>
                <a:gd name="T43" fmla="*/ 2147483647 h 81"/>
                <a:gd name="T44" fmla="*/ 0 w 27"/>
                <a:gd name="T45" fmla="*/ 0 h 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81"/>
                <a:gd name="T71" fmla="*/ 27 w 27"/>
                <a:gd name="T72" fmla="*/ 81 h 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81">
                  <a:moveTo>
                    <a:pt x="0" y="0"/>
                  </a:moveTo>
                  <a:lnTo>
                    <a:pt x="7" y="0"/>
                  </a:lnTo>
                  <a:lnTo>
                    <a:pt x="14" y="2"/>
                  </a:lnTo>
                  <a:lnTo>
                    <a:pt x="18" y="11"/>
                  </a:lnTo>
                  <a:lnTo>
                    <a:pt x="19" y="23"/>
                  </a:lnTo>
                  <a:lnTo>
                    <a:pt x="18" y="36"/>
                  </a:lnTo>
                  <a:lnTo>
                    <a:pt x="23" y="44"/>
                  </a:lnTo>
                  <a:lnTo>
                    <a:pt x="27" y="52"/>
                  </a:lnTo>
                  <a:lnTo>
                    <a:pt x="27" y="64"/>
                  </a:lnTo>
                  <a:lnTo>
                    <a:pt x="23" y="72"/>
                  </a:lnTo>
                  <a:lnTo>
                    <a:pt x="25" y="80"/>
                  </a:lnTo>
                  <a:lnTo>
                    <a:pt x="22" y="81"/>
                  </a:lnTo>
                  <a:lnTo>
                    <a:pt x="16" y="77"/>
                  </a:lnTo>
                  <a:lnTo>
                    <a:pt x="15" y="70"/>
                  </a:lnTo>
                  <a:lnTo>
                    <a:pt x="15" y="62"/>
                  </a:lnTo>
                  <a:lnTo>
                    <a:pt x="15" y="53"/>
                  </a:lnTo>
                  <a:lnTo>
                    <a:pt x="10" y="52"/>
                  </a:lnTo>
                  <a:lnTo>
                    <a:pt x="7" y="48"/>
                  </a:lnTo>
                  <a:lnTo>
                    <a:pt x="2" y="48"/>
                  </a:lnTo>
                  <a:lnTo>
                    <a:pt x="4" y="30"/>
                  </a:lnTo>
                  <a:lnTo>
                    <a:pt x="7" y="27"/>
                  </a:ln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29" name="Freeform 424"/>
            <p:cNvSpPr>
              <a:spLocks/>
            </p:cNvSpPr>
            <p:nvPr/>
          </p:nvSpPr>
          <p:spPr bwMode="gray">
            <a:xfrm>
              <a:off x="3080" y="2890"/>
              <a:ext cx="20" cy="22"/>
            </a:xfrm>
            <a:custGeom>
              <a:avLst/>
              <a:gdLst>
                <a:gd name="T0" fmla="*/ 0 w 15"/>
                <a:gd name="T1" fmla="*/ 2147483647 h 17"/>
                <a:gd name="T2" fmla="*/ 2147483647 w 15"/>
                <a:gd name="T3" fmla="*/ 2147483647 h 17"/>
                <a:gd name="T4" fmla="*/ 2147483647 w 15"/>
                <a:gd name="T5" fmla="*/ 0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2147483647 w 15"/>
                <a:gd name="T17" fmla="*/ 2147483647 h 17"/>
                <a:gd name="T18" fmla="*/ 2147483647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0 w 15"/>
                <a:gd name="T25" fmla="*/ 2147483647 h 17"/>
                <a:gd name="T26" fmla="*/ 0 w 15"/>
                <a:gd name="T27" fmla="*/ 2147483647 h 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17"/>
                <a:gd name="T44" fmla="*/ 15 w 15"/>
                <a:gd name="T45" fmla="*/ 17 h 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17">
                  <a:moveTo>
                    <a:pt x="0" y="5"/>
                  </a:moveTo>
                  <a:lnTo>
                    <a:pt x="5" y="3"/>
                  </a:lnTo>
                  <a:lnTo>
                    <a:pt x="8" y="0"/>
                  </a:lnTo>
                  <a:lnTo>
                    <a:pt x="12" y="1"/>
                  </a:lnTo>
                  <a:lnTo>
                    <a:pt x="15" y="6"/>
                  </a:lnTo>
                  <a:lnTo>
                    <a:pt x="14" y="9"/>
                  </a:lnTo>
                  <a:lnTo>
                    <a:pt x="11" y="11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0" name="Freeform 425"/>
            <p:cNvSpPr>
              <a:spLocks/>
            </p:cNvSpPr>
            <p:nvPr/>
          </p:nvSpPr>
          <p:spPr bwMode="gray">
            <a:xfrm>
              <a:off x="3094" y="3226"/>
              <a:ext cx="17" cy="30"/>
            </a:xfrm>
            <a:custGeom>
              <a:avLst/>
              <a:gdLst>
                <a:gd name="T0" fmla="*/ 2147483647 w 13"/>
                <a:gd name="T1" fmla="*/ 2147483647 h 23"/>
                <a:gd name="T2" fmla="*/ 2147483647 w 13"/>
                <a:gd name="T3" fmla="*/ 2147483647 h 23"/>
                <a:gd name="T4" fmla="*/ 2147483647 w 13"/>
                <a:gd name="T5" fmla="*/ 2147483647 h 23"/>
                <a:gd name="T6" fmla="*/ 0 w 13"/>
                <a:gd name="T7" fmla="*/ 2147483647 h 23"/>
                <a:gd name="T8" fmla="*/ 2147483647 w 13"/>
                <a:gd name="T9" fmla="*/ 2147483647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3"/>
                <a:gd name="T26" fmla="*/ 13 w 13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3">
                  <a:moveTo>
                    <a:pt x="13" y="15"/>
                  </a:moveTo>
                  <a:lnTo>
                    <a:pt x="10" y="23"/>
                  </a:lnTo>
                  <a:lnTo>
                    <a:pt x="3" y="23"/>
                  </a:lnTo>
                  <a:lnTo>
                    <a:pt x="0" y="18"/>
                  </a:lnTo>
                  <a:lnTo>
                    <a:pt x="2" y="1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1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1" name="Freeform 426"/>
            <p:cNvSpPr>
              <a:spLocks/>
            </p:cNvSpPr>
            <p:nvPr/>
          </p:nvSpPr>
          <p:spPr bwMode="gray">
            <a:xfrm>
              <a:off x="3089" y="3016"/>
              <a:ext cx="127" cy="229"/>
            </a:xfrm>
            <a:custGeom>
              <a:avLst/>
              <a:gdLst>
                <a:gd name="T0" fmla="*/ 2147483647 w 97"/>
                <a:gd name="T1" fmla="*/ 2147483647 h 176"/>
                <a:gd name="T2" fmla="*/ 2147483647 w 97"/>
                <a:gd name="T3" fmla="*/ 2147483647 h 176"/>
                <a:gd name="T4" fmla="*/ 2147483647 w 97"/>
                <a:gd name="T5" fmla="*/ 2147483647 h 176"/>
                <a:gd name="T6" fmla="*/ 2147483647 w 97"/>
                <a:gd name="T7" fmla="*/ 2147483647 h 176"/>
                <a:gd name="T8" fmla="*/ 2147483647 w 97"/>
                <a:gd name="T9" fmla="*/ 2147483647 h 176"/>
                <a:gd name="T10" fmla="*/ 2147483647 w 97"/>
                <a:gd name="T11" fmla="*/ 2147483647 h 176"/>
                <a:gd name="T12" fmla="*/ 2147483647 w 97"/>
                <a:gd name="T13" fmla="*/ 2147483647 h 176"/>
                <a:gd name="T14" fmla="*/ 2147483647 w 97"/>
                <a:gd name="T15" fmla="*/ 2147483647 h 176"/>
                <a:gd name="T16" fmla="*/ 2147483647 w 97"/>
                <a:gd name="T17" fmla="*/ 2147483647 h 176"/>
                <a:gd name="T18" fmla="*/ 2147483647 w 97"/>
                <a:gd name="T19" fmla="*/ 2147483647 h 176"/>
                <a:gd name="T20" fmla="*/ 2147483647 w 97"/>
                <a:gd name="T21" fmla="*/ 2147483647 h 176"/>
                <a:gd name="T22" fmla="*/ 2147483647 w 97"/>
                <a:gd name="T23" fmla="*/ 2147483647 h 176"/>
                <a:gd name="T24" fmla="*/ 2147483647 w 97"/>
                <a:gd name="T25" fmla="*/ 2147483647 h 176"/>
                <a:gd name="T26" fmla="*/ 2147483647 w 97"/>
                <a:gd name="T27" fmla="*/ 2147483647 h 176"/>
                <a:gd name="T28" fmla="*/ 0 w 97"/>
                <a:gd name="T29" fmla="*/ 2147483647 h 176"/>
                <a:gd name="T30" fmla="*/ 2147483647 w 97"/>
                <a:gd name="T31" fmla="*/ 2147483647 h 176"/>
                <a:gd name="T32" fmla="*/ 2147483647 w 97"/>
                <a:gd name="T33" fmla="*/ 2147483647 h 176"/>
                <a:gd name="T34" fmla="*/ 2147483647 w 97"/>
                <a:gd name="T35" fmla="*/ 2147483647 h 176"/>
                <a:gd name="T36" fmla="*/ 2147483647 w 97"/>
                <a:gd name="T37" fmla="*/ 2147483647 h 176"/>
                <a:gd name="T38" fmla="*/ 2147483647 w 97"/>
                <a:gd name="T39" fmla="*/ 2147483647 h 176"/>
                <a:gd name="T40" fmla="*/ 2147483647 w 97"/>
                <a:gd name="T41" fmla="*/ 2147483647 h 176"/>
                <a:gd name="T42" fmla="*/ 2147483647 w 97"/>
                <a:gd name="T43" fmla="*/ 2147483647 h 176"/>
                <a:gd name="T44" fmla="*/ 2147483647 w 97"/>
                <a:gd name="T45" fmla="*/ 2147483647 h 176"/>
                <a:gd name="T46" fmla="*/ 2147483647 w 97"/>
                <a:gd name="T47" fmla="*/ 2147483647 h 176"/>
                <a:gd name="T48" fmla="*/ 2147483647 w 97"/>
                <a:gd name="T49" fmla="*/ 2147483647 h 176"/>
                <a:gd name="T50" fmla="*/ 2147483647 w 97"/>
                <a:gd name="T51" fmla="*/ 2147483647 h 176"/>
                <a:gd name="T52" fmla="*/ 2147483647 w 97"/>
                <a:gd name="T53" fmla="*/ 2147483647 h 176"/>
                <a:gd name="T54" fmla="*/ 2147483647 w 97"/>
                <a:gd name="T55" fmla="*/ 2147483647 h 176"/>
                <a:gd name="T56" fmla="*/ 2147483647 w 97"/>
                <a:gd name="T57" fmla="*/ 2147483647 h 176"/>
                <a:gd name="T58" fmla="*/ 2147483647 w 97"/>
                <a:gd name="T59" fmla="*/ 2147483647 h 176"/>
                <a:gd name="T60" fmla="*/ 2147483647 w 97"/>
                <a:gd name="T61" fmla="*/ 2147483647 h 176"/>
                <a:gd name="T62" fmla="*/ 2147483647 w 97"/>
                <a:gd name="T63" fmla="*/ 2147483647 h 176"/>
                <a:gd name="T64" fmla="*/ 2147483647 w 97"/>
                <a:gd name="T65" fmla="*/ 2147483647 h 176"/>
                <a:gd name="T66" fmla="*/ 2147483647 w 97"/>
                <a:gd name="T67" fmla="*/ 2147483647 h 176"/>
                <a:gd name="T68" fmla="*/ 2147483647 w 97"/>
                <a:gd name="T69" fmla="*/ 2147483647 h 176"/>
                <a:gd name="T70" fmla="*/ 2147483647 w 97"/>
                <a:gd name="T71" fmla="*/ 2147483647 h 176"/>
                <a:gd name="T72" fmla="*/ 2147483647 w 97"/>
                <a:gd name="T73" fmla="*/ 2147483647 h 176"/>
                <a:gd name="T74" fmla="*/ 2147483647 w 97"/>
                <a:gd name="T75" fmla="*/ 2147483647 h 176"/>
                <a:gd name="T76" fmla="*/ 2147483647 w 97"/>
                <a:gd name="T77" fmla="*/ 2147483647 h 176"/>
                <a:gd name="T78" fmla="*/ 2147483647 w 97"/>
                <a:gd name="T79" fmla="*/ 2147483647 h 176"/>
                <a:gd name="T80" fmla="*/ 2147483647 w 97"/>
                <a:gd name="T81" fmla="*/ 2147483647 h 176"/>
                <a:gd name="T82" fmla="*/ 2147483647 w 97"/>
                <a:gd name="T83" fmla="*/ 0 h 176"/>
                <a:gd name="T84" fmla="*/ 2147483647 w 97"/>
                <a:gd name="T85" fmla="*/ 2147483647 h 176"/>
                <a:gd name="T86" fmla="*/ 2147483647 w 97"/>
                <a:gd name="T87" fmla="*/ 2147483647 h 176"/>
                <a:gd name="T88" fmla="*/ 2147483647 w 97"/>
                <a:gd name="T89" fmla="*/ 2147483647 h 176"/>
                <a:gd name="T90" fmla="*/ 2147483647 w 97"/>
                <a:gd name="T91" fmla="*/ 2147483647 h 176"/>
                <a:gd name="T92" fmla="*/ 2147483647 w 97"/>
                <a:gd name="T93" fmla="*/ 2147483647 h 176"/>
                <a:gd name="T94" fmla="*/ 2147483647 w 97"/>
                <a:gd name="T95" fmla="*/ 2147483647 h 176"/>
                <a:gd name="T96" fmla="*/ 2147483647 w 97"/>
                <a:gd name="T97" fmla="*/ 2147483647 h 176"/>
                <a:gd name="T98" fmla="*/ 2147483647 w 97"/>
                <a:gd name="T99" fmla="*/ 2147483647 h 176"/>
                <a:gd name="T100" fmla="*/ 2147483647 w 97"/>
                <a:gd name="T101" fmla="*/ 2147483647 h 176"/>
                <a:gd name="T102" fmla="*/ 2147483647 w 97"/>
                <a:gd name="T103" fmla="*/ 2147483647 h 176"/>
                <a:gd name="T104" fmla="*/ 2147483647 w 97"/>
                <a:gd name="T105" fmla="*/ 2147483647 h 176"/>
                <a:gd name="T106" fmla="*/ 2147483647 w 97"/>
                <a:gd name="T107" fmla="*/ 2147483647 h 176"/>
                <a:gd name="T108" fmla="*/ 2147483647 w 97"/>
                <a:gd name="T109" fmla="*/ 2147483647 h 176"/>
                <a:gd name="T110" fmla="*/ 2147483647 w 97"/>
                <a:gd name="T111" fmla="*/ 2147483647 h 176"/>
                <a:gd name="T112" fmla="*/ 2147483647 w 97"/>
                <a:gd name="T113" fmla="*/ 2147483647 h 176"/>
                <a:gd name="T114" fmla="*/ 2147483647 w 97"/>
                <a:gd name="T115" fmla="*/ 2147483647 h 176"/>
                <a:gd name="T116" fmla="*/ 2147483647 w 97"/>
                <a:gd name="T117" fmla="*/ 2147483647 h 17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76"/>
                <a:gd name="T179" fmla="*/ 97 w 97"/>
                <a:gd name="T180" fmla="*/ 176 h 17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76">
                  <a:moveTo>
                    <a:pt x="24" y="176"/>
                  </a:moveTo>
                  <a:lnTo>
                    <a:pt x="17" y="176"/>
                  </a:lnTo>
                  <a:lnTo>
                    <a:pt x="15" y="162"/>
                  </a:lnTo>
                  <a:lnTo>
                    <a:pt x="16" y="151"/>
                  </a:lnTo>
                  <a:lnTo>
                    <a:pt x="12" y="125"/>
                  </a:lnTo>
                  <a:lnTo>
                    <a:pt x="17" y="121"/>
                  </a:lnTo>
                  <a:lnTo>
                    <a:pt x="18" y="109"/>
                  </a:lnTo>
                  <a:lnTo>
                    <a:pt x="27" y="103"/>
                  </a:lnTo>
                  <a:lnTo>
                    <a:pt x="28" y="100"/>
                  </a:lnTo>
                  <a:lnTo>
                    <a:pt x="24" y="93"/>
                  </a:lnTo>
                  <a:lnTo>
                    <a:pt x="24" y="87"/>
                  </a:lnTo>
                  <a:lnTo>
                    <a:pt x="26" y="84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0" y="56"/>
                  </a:lnTo>
                  <a:lnTo>
                    <a:pt x="2" y="47"/>
                  </a:lnTo>
                  <a:lnTo>
                    <a:pt x="6" y="46"/>
                  </a:lnTo>
                  <a:lnTo>
                    <a:pt x="13" y="41"/>
                  </a:lnTo>
                  <a:lnTo>
                    <a:pt x="19" y="42"/>
                  </a:lnTo>
                  <a:lnTo>
                    <a:pt x="26" y="38"/>
                  </a:lnTo>
                  <a:lnTo>
                    <a:pt x="31" y="38"/>
                  </a:lnTo>
                  <a:lnTo>
                    <a:pt x="34" y="42"/>
                  </a:lnTo>
                  <a:lnTo>
                    <a:pt x="39" y="43"/>
                  </a:lnTo>
                  <a:lnTo>
                    <a:pt x="39" y="52"/>
                  </a:lnTo>
                  <a:lnTo>
                    <a:pt x="39" y="60"/>
                  </a:lnTo>
                  <a:lnTo>
                    <a:pt x="40" y="67"/>
                  </a:lnTo>
                  <a:lnTo>
                    <a:pt x="46" y="71"/>
                  </a:lnTo>
                  <a:lnTo>
                    <a:pt x="49" y="70"/>
                  </a:lnTo>
                  <a:lnTo>
                    <a:pt x="47" y="62"/>
                  </a:lnTo>
                  <a:lnTo>
                    <a:pt x="51" y="54"/>
                  </a:lnTo>
                  <a:lnTo>
                    <a:pt x="51" y="42"/>
                  </a:lnTo>
                  <a:lnTo>
                    <a:pt x="47" y="34"/>
                  </a:lnTo>
                  <a:lnTo>
                    <a:pt x="42" y="26"/>
                  </a:lnTo>
                  <a:lnTo>
                    <a:pt x="43" y="13"/>
                  </a:lnTo>
                  <a:lnTo>
                    <a:pt x="56" y="14"/>
                  </a:lnTo>
                  <a:lnTo>
                    <a:pt x="62" y="16"/>
                  </a:lnTo>
                  <a:lnTo>
                    <a:pt x="68" y="15"/>
                  </a:lnTo>
                  <a:lnTo>
                    <a:pt x="76" y="13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4" y="0"/>
                  </a:lnTo>
                  <a:lnTo>
                    <a:pt x="95" y="18"/>
                  </a:lnTo>
                  <a:lnTo>
                    <a:pt x="97" y="28"/>
                  </a:lnTo>
                  <a:lnTo>
                    <a:pt x="96" y="49"/>
                  </a:lnTo>
                  <a:lnTo>
                    <a:pt x="84" y="68"/>
                  </a:lnTo>
                  <a:lnTo>
                    <a:pt x="68" y="74"/>
                  </a:lnTo>
                  <a:lnTo>
                    <a:pt x="60" y="82"/>
                  </a:lnTo>
                  <a:lnTo>
                    <a:pt x="55" y="88"/>
                  </a:lnTo>
                  <a:lnTo>
                    <a:pt x="51" y="90"/>
                  </a:lnTo>
                  <a:lnTo>
                    <a:pt x="42" y="97"/>
                  </a:lnTo>
                  <a:lnTo>
                    <a:pt x="42" y="103"/>
                  </a:lnTo>
                  <a:lnTo>
                    <a:pt x="47" y="120"/>
                  </a:lnTo>
                  <a:lnTo>
                    <a:pt x="49" y="140"/>
                  </a:lnTo>
                  <a:lnTo>
                    <a:pt x="45" y="154"/>
                  </a:lnTo>
                  <a:lnTo>
                    <a:pt x="28" y="160"/>
                  </a:lnTo>
                  <a:lnTo>
                    <a:pt x="23" y="167"/>
                  </a:lnTo>
                  <a:lnTo>
                    <a:pt x="25" y="170"/>
                  </a:lnTo>
                  <a:lnTo>
                    <a:pt x="24" y="17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2" name="Freeform 427"/>
            <p:cNvSpPr>
              <a:spLocks/>
            </p:cNvSpPr>
            <p:nvPr/>
          </p:nvSpPr>
          <p:spPr bwMode="gray">
            <a:xfrm>
              <a:off x="3084" y="2888"/>
              <a:ext cx="128" cy="149"/>
            </a:xfrm>
            <a:custGeom>
              <a:avLst/>
              <a:gdLst>
                <a:gd name="T0" fmla="*/ 2147483647 w 98"/>
                <a:gd name="T1" fmla="*/ 2147483647 h 114"/>
                <a:gd name="T2" fmla="*/ 2147483647 w 98"/>
                <a:gd name="T3" fmla="*/ 2147483647 h 114"/>
                <a:gd name="T4" fmla="*/ 2147483647 w 98"/>
                <a:gd name="T5" fmla="*/ 2147483647 h 114"/>
                <a:gd name="T6" fmla="*/ 2147483647 w 98"/>
                <a:gd name="T7" fmla="*/ 2147483647 h 114"/>
                <a:gd name="T8" fmla="*/ 2147483647 w 98"/>
                <a:gd name="T9" fmla="*/ 2147483647 h 114"/>
                <a:gd name="T10" fmla="*/ 2147483647 w 98"/>
                <a:gd name="T11" fmla="*/ 2147483647 h 114"/>
                <a:gd name="T12" fmla="*/ 2147483647 w 98"/>
                <a:gd name="T13" fmla="*/ 2147483647 h 114"/>
                <a:gd name="T14" fmla="*/ 2147483647 w 98"/>
                <a:gd name="T15" fmla="*/ 2147483647 h 114"/>
                <a:gd name="T16" fmla="*/ 2147483647 w 98"/>
                <a:gd name="T17" fmla="*/ 2147483647 h 114"/>
                <a:gd name="T18" fmla="*/ 2147483647 w 98"/>
                <a:gd name="T19" fmla="*/ 2147483647 h 114"/>
                <a:gd name="T20" fmla="*/ 2147483647 w 98"/>
                <a:gd name="T21" fmla="*/ 2147483647 h 114"/>
                <a:gd name="T22" fmla="*/ 2147483647 w 98"/>
                <a:gd name="T23" fmla="*/ 2147483647 h 114"/>
                <a:gd name="T24" fmla="*/ 2147483647 w 98"/>
                <a:gd name="T25" fmla="*/ 2147483647 h 114"/>
                <a:gd name="T26" fmla="*/ 2147483647 w 98"/>
                <a:gd name="T27" fmla="*/ 2147483647 h 114"/>
                <a:gd name="T28" fmla="*/ 2147483647 w 98"/>
                <a:gd name="T29" fmla="*/ 2147483647 h 114"/>
                <a:gd name="T30" fmla="*/ 2147483647 w 98"/>
                <a:gd name="T31" fmla="*/ 2147483647 h 114"/>
                <a:gd name="T32" fmla="*/ 2147483647 w 98"/>
                <a:gd name="T33" fmla="*/ 2147483647 h 114"/>
                <a:gd name="T34" fmla="*/ 2147483647 w 98"/>
                <a:gd name="T35" fmla="*/ 2147483647 h 114"/>
                <a:gd name="T36" fmla="*/ 2147483647 w 98"/>
                <a:gd name="T37" fmla="*/ 2147483647 h 114"/>
                <a:gd name="T38" fmla="*/ 2147483647 w 98"/>
                <a:gd name="T39" fmla="*/ 2147483647 h 114"/>
                <a:gd name="T40" fmla="*/ 2147483647 w 98"/>
                <a:gd name="T41" fmla="*/ 2147483647 h 114"/>
                <a:gd name="T42" fmla="*/ 2147483647 w 98"/>
                <a:gd name="T43" fmla="*/ 2147483647 h 114"/>
                <a:gd name="T44" fmla="*/ 2147483647 w 98"/>
                <a:gd name="T45" fmla="*/ 2147483647 h 114"/>
                <a:gd name="T46" fmla="*/ 0 w 98"/>
                <a:gd name="T47" fmla="*/ 2147483647 h 114"/>
                <a:gd name="T48" fmla="*/ 0 w 98"/>
                <a:gd name="T49" fmla="*/ 2147483647 h 114"/>
                <a:gd name="T50" fmla="*/ 2147483647 w 98"/>
                <a:gd name="T51" fmla="*/ 2147483647 h 114"/>
                <a:gd name="T52" fmla="*/ 2147483647 w 98"/>
                <a:gd name="T53" fmla="*/ 2147483647 h 114"/>
                <a:gd name="T54" fmla="*/ 2147483647 w 98"/>
                <a:gd name="T55" fmla="*/ 2147483647 h 114"/>
                <a:gd name="T56" fmla="*/ 2147483647 w 98"/>
                <a:gd name="T57" fmla="*/ 2147483647 h 114"/>
                <a:gd name="T58" fmla="*/ 2147483647 w 98"/>
                <a:gd name="T59" fmla="*/ 2147483647 h 114"/>
                <a:gd name="T60" fmla="*/ 2147483647 w 98"/>
                <a:gd name="T61" fmla="*/ 2147483647 h 114"/>
                <a:gd name="T62" fmla="*/ 2147483647 w 98"/>
                <a:gd name="T63" fmla="*/ 2147483647 h 114"/>
                <a:gd name="T64" fmla="*/ 2147483647 w 98"/>
                <a:gd name="T65" fmla="*/ 2147483647 h 114"/>
                <a:gd name="T66" fmla="*/ 2147483647 w 98"/>
                <a:gd name="T67" fmla="*/ 2147483647 h 114"/>
                <a:gd name="T68" fmla="*/ 2147483647 w 98"/>
                <a:gd name="T69" fmla="*/ 2147483647 h 114"/>
                <a:gd name="T70" fmla="*/ 2147483647 w 98"/>
                <a:gd name="T71" fmla="*/ 0 h 114"/>
                <a:gd name="T72" fmla="*/ 2147483647 w 98"/>
                <a:gd name="T73" fmla="*/ 2147483647 h 114"/>
                <a:gd name="T74" fmla="*/ 2147483647 w 98"/>
                <a:gd name="T75" fmla="*/ 2147483647 h 114"/>
                <a:gd name="T76" fmla="*/ 2147483647 w 98"/>
                <a:gd name="T77" fmla="*/ 2147483647 h 114"/>
                <a:gd name="T78" fmla="*/ 2147483647 w 98"/>
                <a:gd name="T79" fmla="*/ 2147483647 h 114"/>
                <a:gd name="T80" fmla="*/ 2147483647 w 98"/>
                <a:gd name="T81" fmla="*/ 2147483647 h 114"/>
                <a:gd name="T82" fmla="*/ 2147483647 w 98"/>
                <a:gd name="T83" fmla="*/ 2147483647 h 1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8"/>
                <a:gd name="T127" fmla="*/ 0 h 114"/>
                <a:gd name="T128" fmla="*/ 98 w 98"/>
                <a:gd name="T129" fmla="*/ 114 h 1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8" h="114">
                  <a:moveTo>
                    <a:pt x="89" y="39"/>
                  </a:moveTo>
                  <a:lnTo>
                    <a:pt x="83" y="51"/>
                  </a:lnTo>
                  <a:lnTo>
                    <a:pt x="83" y="56"/>
                  </a:lnTo>
                  <a:lnTo>
                    <a:pt x="89" y="62"/>
                  </a:lnTo>
                  <a:lnTo>
                    <a:pt x="87" y="73"/>
                  </a:lnTo>
                  <a:lnTo>
                    <a:pt x="88" y="86"/>
                  </a:lnTo>
                  <a:lnTo>
                    <a:pt x="98" y="98"/>
                  </a:lnTo>
                  <a:lnTo>
                    <a:pt x="93" y="100"/>
                  </a:lnTo>
                  <a:lnTo>
                    <a:pt x="91" y="104"/>
                  </a:lnTo>
                  <a:lnTo>
                    <a:pt x="85" y="107"/>
                  </a:lnTo>
                  <a:lnTo>
                    <a:pt x="80" y="111"/>
                  </a:lnTo>
                  <a:lnTo>
                    <a:pt x="72" y="113"/>
                  </a:lnTo>
                  <a:lnTo>
                    <a:pt x="66" y="114"/>
                  </a:lnTo>
                  <a:lnTo>
                    <a:pt x="60" y="112"/>
                  </a:lnTo>
                  <a:lnTo>
                    <a:pt x="47" y="111"/>
                  </a:lnTo>
                  <a:lnTo>
                    <a:pt x="46" y="99"/>
                  </a:lnTo>
                  <a:lnTo>
                    <a:pt x="42" y="90"/>
                  </a:lnTo>
                  <a:lnTo>
                    <a:pt x="35" y="88"/>
                  </a:lnTo>
                  <a:lnTo>
                    <a:pt x="28" y="88"/>
                  </a:lnTo>
                  <a:lnTo>
                    <a:pt x="19" y="83"/>
                  </a:lnTo>
                  <a:lnTo>
                    <a:pt x="11" y="76"/>
                  </a:lnTo>
                  <a:lnTo>
                    <a:pt x="9" y="68"/>
                  </a:lnTo>
                  <a:lnTo>
                    <a:pt x="1" y="5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1" y="37"/>
                  </a:lnTo>
                  <a:lnTo>
                    <a:pt x="5" y="34"/>
                  </a:lnTo>
                  <a:lnTo>
                    <a:pt x="6" y="30"/>
                  </a:lnTo>
                  <a:lnTo>
                    <a:pt x="10" y="28"/>
                  </a:lnTo>
                  <a:lnTo>
                    <a:pt x="11" y="20"/>
                  </a:lnTo>
                  <a:lnTo>
                    <a:pt x="7" y="17"/>
                  </a:lnTo>
                  <a:lnTo>
                    <a:pt x="8" y="12"/>
                  </a:lnTo>
                  <a:lnTo>
                    <a:pt x="11" y="10"/>
                  </a:lnTo>
                  <a:lnTo>
                    <a:pt x="12" y="7"/>
                  </a:lnTo>
                  <a:lnTo>
                    <a:pt x="9" y="2"/>
                  </a:lnTo>
                  <a:lnTo>
                    <a:pt x="13" y="0"/>
                  </a:lnTo>
                  <a:lnTo>
                    <a:pt x="39" y="1"/>
                  </a:lnTo>
                  <a:lnTo>
                    <a:pt x="53" y="11"/>
                  </a:lnTo>
                  <a:lnTo>
                    <a:pt x="72" y="19"/>
                  </a:lnTo>
                  <a:lnTo>
                    <a:pt x="73" y="24"/>
                  </a:lnTo>
                  <a:lnTo>
                    <a:pt x="72" y="30"/>
                  </a:lnTo>
                  <a:lnTo>
                    <a:pt x="89" y="3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3" name="Freeform 428"/>
            <p:cNvSpPr>
              <a:spLocks/>
            </p:cNvSpPr>
            <p:nvPr/>
          </p:nvSpPr>
          <p:spPr bwMode="gray">
            <a:xfrm>
              <a:off x="3080" y="2821"/>
              <a:ext cx="68" cy="75"/>
            </a:xfrm>
            <a:custGeom>
              <a:avLst/>
              <a:gdLst>
                <a:gd name="T0" fmla="*/ 2147483647 w 52"/>
                <a:gd name="T1" fmla="*/ 2147483647 h 58"/>
                <a:gd name="T2" fmla="*/ 2147483647 w 52"/>
                <a:gd name="T3" fmla="*/ 2147483647 h 58"/>
                <a:gd name="T4" fmla="*/ 2147483647 w 52"/>
                <a:gd name="T5" fmla="*/ 2147483647 h 58"/>
                <a:gd name="T6" fmla="*/ 2147483647 w 52"/>
                <a:gd name="T7" fmla="*/ 2147483647 h 58"/>
                <a:gd name="T8" fmla="*/ 2147483647 w 52"/>
                <a:gd name="T9" fmla="*/ 2147483647 h 58"/>
                <a:gd name="T10" fmla="*/ 0 w 52"/>
                <a:gd name="T11" fmla="*/ 2147483647 h 58"/>
                <a:gd name="T12" fmla="*/ 2147483647 w 52"/>
                <a:gd name="T13" fmla="*/ 2147483647 h 58"/>
                <a:gd name="T14" fmla="*/ 2147483647 w 52"/>
                <a:gd name="T15" fmla="*/ 2147483647 h 58"/>
                <a:gd name="T16" fmla="*/ 2147483647 w 52"/>
                <a:gd name="T17" fmla="*/ 2147483647 h 58"/>
                <a:gd name="T18" fmla="*/ 2147483647 w 52"/>
                <a:gd name="T19" fmla="*/ 2147483647 h 58"/>
                <a:gd name="T20" fmla="*/ 2147483647 w 52"/>
                <a:gd name="T21" fmla="*/ 2147483647 h 58"/>
                <a:gd name="T22" fmla="*/ 2147483647 w 52"/>
                <a:gd name="T23" fmla="*/ 2147483647 h 58"/>
                <a:gd name="T24" fmla="*/ 2147483647 w 52"/>
                <a:gd name="T25" fmla="*/ 2147483647 h 58"/>
                <a:gd name="T26" fmla="*/ 2147483647 w 52"/>
                <a:gd name="T27" fmla="*/ 0 h 58"/>
                <a:gd name="T28" fmla="*/ 2147483647 w 52"/>
                <a:gd name="T29" fmla="*/ 2147483647 h 58"/>
                <a:gd name="T30" fmla="*/ 2147483647 w 52"/>
                <a:gd name="T31" fmla="*/ 2147483647 h 58"/>
                <a:gd name="T32" fmla="*/ 2147483647 w 52"/>
                <a:gd name="T33" fmla="*/ 2147483647 h 58"/>
                <a:gd name="T34" fmla="*/ 2147483647 w 52"/>
                <a:gd name="T35" fmla="*/ 2147483647 h 58"/>
                <a:gd name="T36" fmla="*/ 2147483647 w 52"/>
                <a:gd name="T37" fmla="*/ 2147483647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2"/>
                <a:gd name="T58" fmla="*/ 0 h 58"/>
                <a:gd name="T59" fmla="*/ 52 w 52"/>
                <a:gd name="T60" fmla="*/ 58 h 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2" h="58">
                  <a:moveTo>
                    <a:pt x="42" y="53"/>
                  </a:moveTo>
                  <a:lnTo>
                    <a:pt x="16" y="52"/>
                  </a:lnTo>
                  <a:lnTo>
                    <a:pt x="12" y="54"/>
                  </a:lnTo>
                  <a:lnTo>
                    <a:pt x="8" y="53"/>
                  </a:lnTo>
                  <a:lnTo>
                    <a:pt x="5" y="56"/>
                  </a:lnTo>
                  <a:lnTo>
                    <a:pt x="0" y="58"/>
                  </a:lnTo>
                  <a:lnTo>
                    <a:pt x="3" y="45"/>
                  </a:lnTo>
                  <a:lnTo>
                    <a:pt x="13" y="28"/>
                  </a:lnTo>
                  <a:lnTo>
                    <a:pt x="15" y="19"/>
                  </a:lnTo>
                  <a:lnTo>
                    <a:pt x="12" y="9"/>
                  </a:lnTo>
                  <a:lnTo>
                    <a:pt x="16" y="6"/>
                  </a:lnTo>
                  <a:lnTo>
                    <a:pt x="23" y="9"/>
                  </a:lnTo>
                  <a:lnTo>
                    <a:pt x="36" y="8"/>
                  </a:lnTo>
                  <a:lnTo>
                    <a:pt x="42" y="0"/>
                  </a:lnTo>
                  <a:lnTo>
                    <a:pt x="44" y="7"/>
                  </a:lnTo>
                  <a:lnTo>
                    <a:pt x="52" y="21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42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4" name="Freeform 429"/>
            <p:cNvSpPr>
              <a:spLocks/>
            </p:cNvSpPr>
            <p:nvPr/>
          </p:nvSpPr>
          <p:spPr bwMode="gray">
            <a:xfrm>
              <a:off x="3080" y="2909"/>
              <a:ext cx="18" cy="28"/>
            </a:xfrm>
            <a:custGeom>
              <a:avLst/>
              <a:gdLst>
                <a:gd name="T0" fmla="*/ 0 w 14"/>
                <a:gd name="T1" fmla="*/ 0 h 21"/>
                <a:gd name="T2" fmla="*/ 2147483647 w 14"/>
                <a:gd name="T3" fmla="*/ 0 h 21"/>
                <a:gd name="T4" fmla="*/ 2147483647 w 14"/>
                <a:gd name="T5" fmla="*/ 2147483647 h 21"/>
                <a:gd name="T6" fmla="*/ 2147483647 w 14"/>
                <a:gd name="T7" fmla="*/ 2147483647 h 21"/>
                <a:gd name="T8" fmla="*/ 2147483647 w 14"/>
                <a:gd name="T9" fmla="*/ 2147483647 h 21"/>
                <a:gd name="T10" fmla="*/ 2147483647 w 14"/>
                <a:gd name="T11" fmla="*/ 2147483647 h 21"/>
                <a:gd name="T12" fmla="*/ 2147483647 w 14"/>
                <a:gd name="T13" fmla="*/ 2147483647 h 21"/>
                <a:gd name="T14" fmla="*/ 2147483647 w 14"/>
                <a:gd name="T15" fmla="*/ 2147483647 h 21"/>
                <a:gd name="T16" fmla="*/ 2147483647 w 14"/>
                <a:gd name="T17" fmla="*/ 2147483647 h 21"/>
                <a:gd name="T18" fmla="*/ 2147483647 w 14"/>
                <a:gd name="T19" fmla="*/ 2147483647 h 21"/>
                <a:gd name="T20" fmla="*/ 2147483647 w 14"/>
                <a:gd name="T21" fmla="*/ 2147483647 h 21"/>
                <a:gd name="T22" fmla="*/ 2147483647 w 14"/>
                <a:gd name="T23" fmla="*/ 2147483647 h 21"/>
                <a:gd name="T24" fmla="*/ 2147483647 w 14"/>
                <a:gd name="T25" fmla="*/ 2147483647 h 21"/>
                <a:gd name="T26" fmla="*/ 0 w 1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21"/>
                <a:gd name="T44" fmla="*/ 14 w 14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21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4" y="4"/>
                  </a:lnTo>
                  <a:lnTo>
                    <a:pt x="13" y="12"/>
                  </a:lnTo>
                  <a:lnTo>
                    <a:pt x="9" y="14"/>
                  </a:lnTo>
                  <a:lnTo>
                    <a:pt x="8" y="18"/>
                  </a:lnTo>
                  <a:lnTo>
                    <a:pt x="4" y="21"/>
                  </a:lnTo>
                  <a:lnTo>
                    <a:pt x="4" y="13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5" name="Freeform 430"/>
            <p:cNvSpPr>
              <a:spLocks/>
            </p:cNvSpPr>
            <p:nvPr/>
          </p:nvSpPr>
          <p:spPr bwMode="gray">
            <a:xfrm>
              <a:off x="3053" y="3273"/>
              <a:ext cx="31" cy="31"/>
            </a:xfrm>
            <a:custGeom>
              <a:avLst/>
              <a:gdLst>
                <a:gd name="T0" fmla="*/ 2147483647 w 24"/>
                <a:gd name="T1" fmla="*/ 2147483647 h 24"/>
                <a:gd name="T2" fmla="*/ 2147483647 w 24"/>
                <a:gd name="T3" fmla="*/ 2147483647 h 24"/>
                <a:gd name="T4" fmla="*/ 2147483647 w 24"/>
                <a:gd name="T5" fmla="*/ 2147483647 h 24"/>
                <a:gd name="T6" fmla="*/ 2147483647 w 24"/>
                <a:gd name="T7" fmla="*/ 2147483647 h 24"/>
                <a:gd name="T8" fmla="*/ 2147483647 w 24"/>
                <a:gd name="T9" fmla="*/ 2147483647 h 24"/>
                <a:gd name="T10" fmla="*/ 0 w 24"/>
                <a:gd name="T11" fmla="*/ 2147483647 h 24"/>
                <a:gd name="T12" fmla="*/ 0 w 24"/>
                <a:gd name="T13" fmla="*/ 2147483647 h 24"/>
                <a:gd name="T14" fmla="*/ 2147483647 w 24"/>
                <a:gd name="T15" fmla="*/ 0 h 24"/>
                <a:gd name="T16" fmla="*/ 2147483647 w 24"/>
                <a:gd name="T17" fmla="*/ 2147483647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4"/>
                <a:gd name="T29" fmla="*/ 24 w 24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4">
                  <a:moveTo>
                    <a:pt x="23" y="1"/>
                  </a:moveTo>
                  <a:lnTo>
                    <a:pt x="24" y="10"/>
                  </a:lnTo>
                  <a:lnTo>
                    <a:pt x="17" y="17"/>
                  </a:lnTo>
                  <a:lnTo>
                    <a:pt x="15" y="20"/>
                  </a:lnTo>
                  <a:lnTo>
                    <a:pt x="7" y="24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3" y="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6" name="Freeform 431"/>
            <p:cNvSpPr>
              <a:spLocks/>
            </p:cNvSpPr>
            <p:nvPr/>
          </p:nvSpPr>
          <p:spPr bwMode="gray">
            <a:xfrm>
              <a:off x="2997" y="2987"/>
              <a:ext cx="133" cy="133"/>
            </a:xfrm>
            <a:custGeom>
              <a:avLst/>
              <a:gdLst>
                <a:gd name="T0" fmla="*/ 2147483647 w 102"/>
                <a:gd name="T1" fmla="*/ 2147483647 h 102"/>
                <a:gd name="T2" fmla="*/ 0 w 102"/>
                <a:gd name="T3" fmla="*/ 2147483647 h 102"/>
                <a:gd name="T4" fmla="*/ 0 w 102"/>
                <a:gd name="T5" fmla="*/ 2147483647 h 102"/>
                <a:gd name="T6" fmla="*/ 2147483647 w 102"/>
                <a:gd name="T7" fmla="*/ 2147483647 h 102"/>
                <a:gd name="T8" fmla="*/ 2147483647 w 102"/>
                <a:gd name="T9" fmla="*/ 2147483647 h 102"/>
                <a:gd name="T10" fmla="*/ 2147483647 w 102"/>
                <a:gd name="T11" fmla="*/ 2147483647 h 102"/>
                <a:gd name="T12" fmla="*/ 2147483647 w 102"/>
                <a:gd name="T13" fmla="*/ 2147483647 h 102"/>
                <a:gd name="T14" fmla="*/ 2147483647 w 102"/>
                <a:gd name="T15" fmla="*/ 2147483647 h 102"/>
                <a:gd name="T16" fmla="*/ 2147483647 w 102"/>
                <a:gd name="T17" fmla="*/ 2147483647 h 102"/>
                <a:gd name="T18" fmla="*/ 2147483647 w 102"/>
                <a:gd name="T19" fmla="*/ 2147483647 h 102"/>
                <a:gd name="T20" fmla="*/ 2147483647 w 102"/>
                <a:gd name="T21" fmla="*/ 2147483647 h 102"/>
                <a:gd name="T22" fmla="*/ 2147483647 w 102"/>
                <a:gd name="T23" fmla="*/ 2147483647 h 102"/>
                <a:gd name="T24" fmla="*/ 2147483647 w 102"/>
                <a:gd name="T25" fmla="*/ 2147483647 h 102"/>
                <a:gd name="T26" fmla="*/ 2147483647 w 102"/>
                <a:gd name="T27" fmla="*/ 2147483647 h 102"/>
                <a:gd name="T28" fmla="*/ 2147483647 w 102"/>
                <a:gd name="T29" fmla="*/ 2147483647 h 102"/>
                <a:gd name="T30" fmla="*/ 2147483647 w 102"/>
                <a:gd name="T31" fmla="*/ 2147483647 h 102"/>
                <a:gd name="T32" fmla="*/ 2147483647 w 102"/>
                <a:gd name="T33" fmla="*/ 2147483647 h 102"/>
                <a:gd name="T34" fmla="*/ 2147483647 w 102"/>
                <a:gd name="T35" fmla="*/ 2147483647 h 102"/>
                <a:gd name="T36" fmla="*/ 2147483647 w 102"/>
                <a:gd name="T37" fmla="*/ 2147483647 h 102"/>
                <a:gd name="T38" fmla="*/ 2147483647 w 102"/>
                <a:gd name="T39" fmla="*/ 2147483647 h 102"/>
                <a:gd name="T40" fmla="*/ 2147483647 w 102"/>
                <a:gd name="T41" fmla="*/ 2147483647 h 102"/>
                <a:gd name="T42" fmla="*/ 2147483647 w 102"/>
                <a:gd name="T43" fmla="*/ 2147483647 h 102"/>
                <a:gd name="T44" fmla="*/ 2147483647 w 102"/>
                <a:gd name="T45" fmla="*/ 2147483647 h 102"/>
                <a:gd name="T46" fmla="*/ 2147483647 w 102"/>
                <a:gd name="T47" fmla="*/ 0 h 102"/>
                <a:gd name="T48" fmla="*/ 2147483647 w 102"/>
                <a:gd name="T49" fmla="*/ 2147483647 h 102"/>
                <a:gd name="T50" fmla="*/ 2147483647 w 102"/>
                <a:gd name="T51" fmla="*/ 2147483647 h 102"/>
                <a:gd name="T52" fmla="*/ 2147483647 w 102"/>
                <a:gd name="T53" fmla="*/ 2147483647 h 102"/>
                <a:gd name="T54" fmla="*/ 2147483647 w 102"/>
                <a:gd name="T55" fmla="*/ 2147483647 h 102"/>
                <a:gd name="T56" fmla="*/ 2147483647 w 102"/>
                <a:gd name="T57" fmla="*/ 2147483647 h 102"/>
                <a:gd name="T58" fmla="*/ 2147483647 w 102"/>
                <a:gd name="T59" fmla="*/ 2147483647 h 102"/>
                <a:gd name="T60" fmla="*/ 2147483647 w 102"/>
                <a:gd name="T61" fmla="*/ 2147483647 h 102"/>
                <a:gd name="T62" fmla="*/ 2147483647 w 102"/>
                <a:gd name="T63" fmla="*/ 2147483647 h 102"/>
                <a:gd name="T64" fmla="*/ 2147483647 w 102"/>
                <a:gd name="T65" fmla="*/ 2147483647 h 102"/>
                <a:gd name="T66" fmla="*/ 2147483647 w 102"/>
                <a:gd name="T67" fmla="*/ 2147483647 h 102"/>
                <a:gd name="T68" fmla="*/ 2147483647 w 102"/>
                <a:gd name="T69" fmla="*/ 2147483647 h 102"/>
                <a:gd name="T70" fmla="*/ 2147483647 w 102"/>
                <a:gd name="T71" fmla="*/ 2147483647 h 102"/>
                <a:gd name="T72" fmla="*/ 2147483647 w 102"/>
                <a:gd name="T73" fmla="*/ 2147483647 h 102"/>
                <a:gd name="T74" fmla="*/ 2147483647 w 102"/>
                <a:gd name="T75" fmla="*/ 2147483647 h 102"/>
                <a:gd name="T76" fmla="*/ 2147483647 w 102"/>
                <a:gd name="T77" fmla="*/ 2147483647 h 102"/>
                <a:gd name="T78" fmla="*/ 2147483647 w 102"/>
                <a:gd name="T79" fmla="*/ 2147483647 h 102"/>
                <a:gd name="T80" fmla="*/ 2147483647 w 102"/>
                <a:gd name="T81" fmla="*/ 2147483647 h 102"/>
                <a:gd name="T82" fmla="*/ 2147483647 w 102"/>
                <a:gd name="T83" fmla="*/ 2147483647 h 102"/>
                <a:gd name="T84" fmla="*/ 2147483647 w 102"/>
                <a:gd name="T85" fmla="*/ 2147483647 h 102"/>
                <a:gd name="T86" fmla="*/ 2147483647 w 102"/>
                <a:gd name="T87" fmla="*/ 2147483647 h 102"/>
                <a:gd name="T88" fmla="*/ 2147483647 w 102"/>
                <a:gd name="T89" fmla="*/ 2147483647 h 102"/>
                <a:gd name="T90" fmla="*/ 2147483647 w 102"/>
                <a:gd name="T91" fmla="*/ 2147483647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2"/>
                <a:gd name="T139" fmla="*/ 0 h 102"/>
                <a:gd name="T140" fmla="*/ 102 w 102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2" h="102">
                  <a:moveTo>
                    <a:pt x="7" y="94"/>
                  </a:moveTo>
                  <a:lnTo>
                    <a:pt x="0" y="87"/>
                  </a:lnTo>
                  <a:lnTo>
                    <a:pt x="0" y="49"/>
                  </a:lnTo>
                  <a:lnTo>
                    <a:pt x="18" y="48"/>
                  </a:lnTo>
                  <a:lnTo>
                    <a:pt x="19" y="34"/>
                  </a:lnTo>
                  <a:lnTo>
                    <a:pt x="22" y="32"/>
                  </a:lnTo>
                  <a:lnTo>
                    <a:pt x="26" y="33"/>
                  </a:lnTo>
                  <a:lnTo>
                    <a:pt x="28" y="31"/>
                  </a:lnTo>
                  <a:lnTo>
                    <a:pt x="32" y="34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0" y="33"/>
                  </a:lnTo>
                  <a:lnTo>
                    <a:pt x="43" y="34"/>
                  </a:lnTo>
                  <a:lnTo>
                    <a:pt x="65" y="56"/>
                  </a:lnTo>
                  <a:lnTo>
                    <a:pt x="69" y="53"/>
                  </a:lnTo>
                  <a:lnTo>
                    <a:pt x="70" y="39"/>
                  </a:lnTo>
                  <a:lnTo>
                    <a:pt x="67" y="37"/>
                  </a:lnTo>
                  <a:lnTo>
                    <a:pt x="64" y="41"/>
                  </a:lnTo>
                  <a:lnTo>
                    <a:pt x="60" y="41"/>
                  </a:lnTo>
                  <a:lnTo>
                    <a:pt x="55" y="35"/>
                  </a:lnTo>
                  <a:lnTo>
                    <a:pt x="59" y="11"/>
                  </a:lnTo>
                  <a:lnTo>
                    <a:pt x="63" y="6"/>
                  </a:lnTo>
                  <a:lnTo>
                    <a:pt x="68" y="4"/>
                  </a:lnTo>
                  <a:lnTo>
                    <a:pt x="78" y="0"/>
                  </a:lnTo>
                  <a:lnTo>
                    <a:pt x="86" y="7"/>
                  </a:lnTo>
                  <a:lnTo>
                    <a:pt x="95" y="12"/>
                  </a:lnTo>
                  <a:lnTo>
                    <a:pt x="101" y="21"/>
                  </a:lnTo>
                  <a:lnTo>
                    <a:pt x="102" y="39"/>
                  </a:lnTo>
                  <a:lnTo>
                    <a:pt x="99" y="42"/>
                  </a:lnTo>
                  <a:lnTo>
                    <a:pt x="97" y="60"/>
                  </a:lnTo>
                  <a:lnTo>
                    <a:pt x="90" y="64"/>
                  </a:lnTo>
                  <a:lnTo>
                    <a:pt x="84" y="63"/>
                  </a:lnTo>
                  <a:lnTo>
                    <a:pt x="77" y="68"/>
                  </a:lnTo>
                  <a:lnTo>
                    <a:pt x="73" y="69"/>
                  </a:lnTo>
                  <a:lnTo>
                    <a:pt x="71" y="78"/>
                  </a:lnTo>
                  <a:lnTo>
                    <a:pt x="63" y="80"/>
                  </a:lnTo>
                  <a:lnTo>
                    <a:pt x="60" y="83"/>
                  </a:lnTo>
                  <a:lnTo>
                    <a:pt x="59" y="88"/>
                  </a:lnTo>
                  <a:lnTo>
                    <a:pt x="52" y="93"/>
                  </a:lnTo>
                  <a:lnTo>
                    <a:pt x="47" y="95"/>
                  </a:lnTo>
                  <a:lnTo>
                    <a:pt x="42" y="102"/>
                  </a:lnTo>
                  <a:lnTo>
                    <a:pt x="33" y="102"/>
                  </a:lnTo>
                  <a:lnTo>
                    <a:pt x="30" y="99"/>
                  </a:lnTo>
                  <a:lnTo>
                    <a:pt x="24" y="97"/>
                  </a:lnTo>
                  <a:lnTo>
                    <a:pt x="13" y="96"/>
                  </a:lnTo>
                  <a:lnTo>
                    <a:pt x="7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7" name="Freeform 432"/>
            <p:cNvSpPr>
              <a:spLocks/>
            </p:cNvSpPr>
            <p:nvPr/>
          </p:nvSpPr>
          <p:spPr bwMode="gray">
            <a:xfrm>
              <a:off x="2904" y="2723"/>
              <a:ext cx="156" cy="122"/>
            </a:xfrm>
            <a:custGeom>
              <a:avLst/>
              <a:gdLst>
                <a:gd name="T0" fmla="*/ 2147483647 w 120"/>
                <a:gd name="T1" fmla="*/ 2147483647 h 94"/>
                <a:gd name="T2" fmla="*/ 0 w 120"/>
                <a:gd name="T3" fmla="*/ 2147483647 h 94"/>
                <a:gd name="T4" fmla="*/ 0 w 120"/>
                <a:gd name="T5" fmla="*/ 2147483647 h 94"/>
                <a:gd name="T6" fmla="*/ 2147483647 w 120"/>
                <a:gd name="T7" fmla="*/ 2147483647 h 94"/>
                <a:gd name="T8" fmla="*/ 2147483647 w 120"/>
                <a:gd name="T9" fmla="*/ 2147483647 h 94"/>
                <a:gd name="T10" fmla="*/ 2147483647 w 120"/>
                <a:gd name="T11" fmla="*/ 2147483647 h 94"/>
                <a:gd name="T12" fmla="*/ 2147483647 w 120"/>
                <a:gd name="T13" fmla="*/ 2147483647 h 94"/>
                <a:gd name="T14" fmla="*/ 2147483647 w 120"/>
                <a:gd name="T15" fmla="*/ 2147483647 h 94"/>
                <a:gd name="T16" fmla="*/ 2147483647 w 120"/>
                <a:gd name="T17" fmla="*/ 2147483647 h 94"/>
                <a:gd name="T18" fmla="*/ 2147483647 w 120"/>
                <a:gd name="T19" fmla="*/ 0 h 94"/>
                <a:gd name="T20" fmla="*/ 2147483647 w 120"/>
                <a:gd name="T21" fmla="*/ 2147483647 h 94"/>
                <a:gd name="T22" fmla="*/ 2147483647 w 120"/>
                <a:gd name="T23" fmla="*/ 2147483647 h 94"/>
                <a:gd name="T24" fmla="*/ 2147483647 w 120"/>
                <a:gd name="T25" fmla="*/ 2147483647 h 94"/>
                <a:gd name="T26" fmla="*/ 2147483647 w 120"/>
                <a:gd name="T27" fmla="*/ 2147483647 h 94"/>
                <a:gd name="T28" fmla="*/ 2147483647 w 120"/>
                <a:gd name="T29" fmla="*/ 2147483647 h 94"/>
                <a:gd name="T30" fmla="*/ 2147483647 w 120"/>
                <a:gd name="T31" fmla="*/ 2147483647 h 94"/>
                <a:gd name="T32" fmla="*/ 2147483647 w 120"/>
                <a:gd name="T33" fmla="*/ 2147483647 h 94"/>
                <a:gd name="T34" fmla="*/ 2147483647 w 120"/>
                <a:gd name="T35" fmla="*/ 2147483647 h 94"/>
                <a:gd name="T36" fmla="*/ 2147483647 w 120"/>
                <a:gd name="T37" fmla="*/ 2147483647 h 94"/>
                <a:gd name="T38" fmla="*/ 2147483647 w 120"/>
                <a:gd name="T39" fmla="*/ 2147483647 h 94"/>
                <a:gd name="T40" fmla="*/ 2147483647 w 120"/>
                <a:gd name="T41" fmla="*/ 2147483647 h 94"/>
                <a:gd name="T42" fmla="*/ 2147483647 w 120"/>
                <a:gd name="T43" fmla="*/ 2147483647 h 94"/>
                <a:gd name="T44" fmla="*/ 2147483647 w 120"/>
                <a:gd name="T45" fmla="*/ 2147483647 h 94"/>
                <a:gd name="T46" fmla="*/ 2147483647 w 120"/>
                <a:gd name="T47" fmla="*/ 2147483647 h 94"/>
                <a:gd name="T48" fmla="*/ 2147483647 w 120"/>
                <a:gd name="T49" fmla="*/ 2147483647 h 94"/>
                <a:gd name="T50" fmla="*/ 2147483647 w 120"/>
                <a:gd name="T51" fmla="*/ 2147483647 h 94"/>
                <a:gd name="T52" fmla="*/ 2147483647 w 120"/>
                <a:gd name="T53" fmla="*/ 2147483647 h 94"/>
                <a:gd name="T54" fmla="*/ 2147483647 w 120"/>
                <a:gd name="T55" fmla="*/ 2147483647 h 94"/>
                <a:gd name="T56" fmla="*/ 2147483647 w 120"/>
                <a:gd name="T57" fmla="*/ 2147483647 h 94"/>
                <a:gd name="T58" fmla="*/ 2147483647 w 120"/>
                <a:gd name="T59" fmla="*/ 2147483647 h 94"/>
                <a:gd name="T60" fmla="*/ 2147483647 w 120"/>
                <a:gd name="T61" fmla="*/ 2147483647 h 94"/>
                <a:gd name="T62" fmla="*/ 2147483647 w 120"/>
                <a:gd name="T63" fmla="*/ 2147483647 h 94"/>
                <a:gd name="T64" fmla="*/ 2147483647 w 120"/>
                <a:gd name="T65" fmla="*/ 2147483647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94"/>
                <a:gd name="T101" fmla="*/ 120 w 120"/>
                <a:gd name="T102" fmla="*/ 94 h 9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94">
                  <a:moveTo>
                    <a:pt x="10" y="94"/>
                  </a:moveTo>
                  <a:lnTo>
                    <a:pt x="0" y="70"/>
                  </a:lnTo>
                  <a:lnTo>
                    <a:pt x="0" y="63"/>
                  </a:lnTo>
                  <a:lnTo>
                    <a:pt x="10" y="46"/>
                  </a:lnTo>
                  <a:lnTo>
                    <a:pt x="38" y="41"/>
                  </a:lnTo>
                  <a:lnTo>
                    <a:pt x="43" y="30"/>
                  </a:lnTo>
                  <a:lnTo>
                    <a:pt x="54" y="30"/>
                  </a:lnTo>
                  <a:lnTo>
                    <a:pt x="67" y="15"/>
                  </a:lnTo>
                  <a:lnTo>
                    <a:pt x="70" y="4"/>
                  </a:lnTo>
                  <a:lnTo>
                    <a:pt x="75" y="0"/>
                  </a:lnTo>
                  <a:lnTo>
                    <a:pt x="81" y="5"/>
                  </a:lnTo>
                  <a:lnTo>
                    <a:pt x="82" y="9"/>
                  </a:lnTo>
                  <a:lnTo>
                    <a:pt x="81" y="12"/>
                  </a:lnTo>
                  <a:lnTo>
                    <a:pt x="87" y="20"/>
                  </a:lnTo>
                  <a:lnTo>
                    <a:pt x="85" y="33"/>
                  </a:lnTo>
                  <a:lnTo>
                    <a:pt x="91" y="35"/>
                  </a:lnTo>
                  <a:lnTo>
                    <a:pt x="95" y="41"/>
                  </a:lnTo>
                  <a:lnTo>
                    <a:pt x="99" y="42"/>
                  </a:lnTo>
                  <a:lnTo>
                    <a:pt x="107" y="50"/>
                  </a:lnTo>
                  <a:lnTo>
                    <a:pt x="107" y="57"/>
                  </a:lnTo>
                  <a:lnTo>
                    <a:pt x="117" y="64"/>
                  </a:lnTo>
                  <a:lnTo>
                    <a:pt x="120" y="69"/>
                  </a:lnTo>
                  <a:lnTo>
                    <a:pt x="103" y="68"/>
                  </a:lnTo>
                  <a:lnTo>
                    <a:pt x="80" y="77"/>
                  </a:lnTo>
                  <a:lnTo>
                    <a:pt x="71" y="80"/>
                  </a:lnTo>
                  <a:lnTo>
                    <a:pt x="59" y="77"/>
                  </a:lnTo>
                  <a:lnTo>
                    <a:pt x="51" y="71"/>
                  </a:lnTo>
                  <a:lnTo>
                    <a:pt x="37" y="74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1" y="84"/>
                  </a:lnTo>
                  <a:lnTo>
                    <a:pt x="15" y="86"/>
                  </a:lnTo>
                  <a:lnTo>
                    <a:pt x="10" y="9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8" name="Freeform 433"/>
            <p:cNvSpPr>
              <a:spLocks/>
            </p:cNvSpPr>
            <p:nvPr/>
          </p:nvSpPr>
          <p:spPr bwMode="gray">
            <a:xfrm>
              <a:off x="2970" y="3119"/>
              <a:ext cx="102" cy="126"/>
            </a:xfrm>
            <a:custGeom>
              <a:avLst/>
              <a:gdLst>
                <a:gd name="T0" fmla="*/ 2147483647 w 78"/>
                <a:gd name="T1" fmla="*/ 2147483647 h 97"/>
                <a:gd name="T2" fmla="*/ 2147483647 w 78"/>
                <a:gd name="T3" fmla="*/ 2147483647 h 97"/>
                <a:gd name="T4" fmla="*/ 2147483647 w 78"/>
                <a:gd name="T5" fmla="*/ 2147483647 h 97"/>
                <a:gd name="T6" fmla="*/ 2147483647 w 78"/>
                <a:gd name="T7" fmla="*/ 2147483647 h 97"/>
                <a:gd name="T8" fmla="*/ 2147483647 w 78"/>
                <a:gd name="T9" fmla="*/ 2147483647 h 97"/>
                <a:gd name="T10" fmla="*/ 2147483647 w 78"/>
                <a:gd name="T11" fmla="*/ 2147483647 h 97"/>
                <a:gd name="T12" fmla="*/ 2147483647 w 78"/>
                <a:gd name="T13" fmla="*/ 2147483647 h 97"/>
                <a:gd name="T14" fmla="*/ 2147483647 w 78"/>
                <a:gd name="T15" fmla="*/ 2147483647 h 97"/>
                <a:gd name="T16" fmla="*/ 2147483647 w 78"/>
                <a:gd name="T17" fmla="*/ 2147483647 h 97"/>
                <a:gd name="T18" fmla="*/ 2147483647 w 78"/>
                <a:gd name="T19" fmla="*/ 2147483647 h 97"/>
                <a:gd name="T20" fmla="*/ 2147483647 w 78"/>
                <a:gd name="T21" fmla="*/ 2147483647 h 97"/>
                <a:gd name="T22" fmla="*/ 2147483647 w 78"/>
                <a:gd name="T23" fmla="*/ 2147483647 h 97"/>
                <a:gd name="T24" fmla="*/ 0 w 78"/>
                <a:gd name="T25" fmla="*/ 2147483647 h 97"/>
                <a:gd name="T26" fmla="*/ 2147483647 w 78"/>
                <a:gd name="T27" fmla="*/ 2147483647 h 97"/>
                <a:gd name="T28" fmla="*/ 2147483647 w 78"/>
                <a:gd name="T29" fmla="*/ 2147483647 h 97"/>
                <a:gd name="T30" fmla="*/ 2147483647 w 78"/>
                <a:gd name="T31" fmla="*/ 2147483647 h 97"/>
                <a:gd name="T32" fmla="*/ 2147483647 w 78"/>
                <a:gd name="T33" fmla="*/ 2147483647 h 97"/>
                <a:gd name="T34" fmla="*/ 2147483647 w 78"/>
                <a:gd name="T35" fmla="*/ 2147483647 h 97"/>
                <a:gd name="T36" fmla="*/ 2147483647 w 78"/>
                <a:gd name="T37" fmla="*/ 0 h 97"/>
                <a:gd name="T38" fmla="*/ 2147483647 w 78"/>
                <a:gd name="T39" fmla="*/ 2147483647 h 97"/>
                <a:gd name="T40" fmla="*/ 2147483647 w 78"/>
                <a:gd name="T41" fmla="*/ 2147483647 h 97"/>
                <a:gd name="T42" fmla="*/ 2147483647 w 78"/>
                <a:gd name="T43" fmla="*/ 2147483647 h 97"/>
                <a:gd name="T44" fmla="*/ 2147483647 w 78"/>
                <a:gd name="T45" fmla="*/ 2147483647 h 97"/>
                <a:gd name="T46" fmla="*/ 2147483647 w 78"/>
                <a:gd name="T47" fmla="*/ 2147483647 h 97"/>
                <a:gd name="T48" fmla="*/ 2147483647 w 78"/>
                <a:gd name="T49" fmla="*/ 2147483647 h 9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8"/>
                <a:gd name="T76" fmla="*/ 0 h 97"/>
                <a:gd name="T77" fmla="*/ 78 w 78"/>
                <a:gd name="T78" fmla="*/ 97 h 9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8" h="97">
                  <a:moveTo>
                    <a:pt x="78" y="46"/>
                  </a:moveTo>
                  <a:lnTo>
                    <a:pt x="67" y="56"/>
                  </a:lnTo>
                  <a:lnTo>
                    <a:pt x="65" y="60"/>
                  </a:lnTo>
                  <a:lnTo>
                    <a:pt x="56" y="63"/>
                  </a:lnTo>
                  <a:lnTo>
                    <a:pt x="54" y="76"/>
                  </a:lnTo>
                  <a:lnTo>
                    <a:pt x="48" y="84"/>
                  </a:lnTo>
                  <a:lnTo>
                    <a:pt x="40" y="84"/>
                  </a:lnTo>
                  <a:lnTo>
                    <a:pt x="34" y="81"/>
                  </a:lnTo>
                  <a:lnTo>
                    <a:pt x="29" y="81"/>
                  </a:lnTo>
                  <a:lnTo>
                    <a:pt x="18" y="97"/>
                  </a:lnTo>
                  <a:lnTo>
                    <a:pt x="9" y="97"/>
                  </a:lnTo>
                  <a:lnTo>
                    <a:pt x="6" y="78"/>
                  </a:lnTo>
                  <a:lnTo>
                    <a:pt x="0" y="71"/>
                  </a:lnTo>
                  <a:lnTo>
                    <a:pt x="1" y="43"/>
                  </a:lnTo>
                  <a:lnTo>
                    <a:pt x="10" y="41"/>
                  </a:lnTo>
                  <a:lnTo>
                    <a:pt x="11" y="8"/>
                  </a:lnTo>
                  <a:lnTo>
                    <a:pt x="28" y="2"/>
                  </a:lnTo>
                  <a:lnTo>
                    <a:pt x="36" y="5"/>
                  </a:lnTo>
                  <a:lnTo>
                    <a:pt x="46" y="0"/>
                  </a:lnTo>
                  <a:lnTo>
                    <a:pt x="53" y="1"/>
                  </a:lnTo>
                  <a:lnTo>
                    <a:pt x="54" y="8"/>
                  </a:lnTo>
                  <a:lnTo>
                    <a:pt x="67" y="19"/>
                  </a:lnTo>
                  <a:lnTo>
                    <a:pt x="69" y="26"/>
                  </a:lnTo>
                  <a:lnTo>
                    <a:pt x="74" y="39"/>
                  </a:lnTo>
                  <a:lnTo>
                    <a:pt x="78" y="4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39" name="Freeform 434"/>
            <p:cNvSpPr>
              <a:spLocks/>
            </p:cNvSpPr>
            <p:nvPr/>
          </p:nvSpPr>
          <p:spPr bwMode="gray">
            <a:xfrm>
              <a:off x="3040" y="3089"/>
              <a:ext cx="86" cy="90"/>
            </a:xfrm>
            <a:custGeom>
              <a:avLst/>
              <a:gdLst>
                <a:gd name="T0" fmla="*/ 2147483647 w 66"/>
                <a:gd name="T1" fmla="*/ 2147483647 h 69"/>
                <a:gd name="T2" fmla="*/ 2147483647 w 66"/>
                <a:gd name="T3" fmla="*/ 2147483647 h 69"/>
                <a:gd name="T4" fmla="*/ 2147483647 w 66"/>
                <a:gd name="T5" fmla="*/ 0 h 69"/>
                <a:gd name="T6" fmla="*/ 2147483647 w 66"/>
                <a:gd name="T7" fmla="*/ 2147483647 h 69"/>
                <a:gd name="T8" fmla="*/ 2147483647 w 66"/>
                <a:gd name="T9" fmla="*/ 2147483647 h 69"/>
                <a:gd name="T10" fmla="*/ 2147483647 w 66"/>
                <a:gd name="T11" fmla="*/ 2147483647 h 69"/>
                <a:gd name="T12" fmla="*/ 2147483647 w 66"/>
                <a:gd name="T13" fmla="*/ 2147483647 h 69"/>
                <a:gd name="T14" fmla="*/ 2147483647 w 66"/>
                <a:gd name="T15" fmla="*/ 2147483647 h 69"/>
                <a:gd name="T16" fmla="*/ 2147483647 w 66"/>
                <a:gd name="T17" fmla="*/ 2147483647 h 69"/>
                <a:gd name="T18" fmla="*/ 2147483647 w 66"/>
                <a:gd name="T19" fmla="*/ 2147483647 h 69"/>
                <a:gd name="T20" fmla="*/ 2147483647 w 66"/>
                <a:gd name="T21" fmla="*/ 2147483647 h 69"/>
                <a:gd name="T22" fmla="*/ 2147483647 w 66"/>
                <a:gd name="T23" fmla="*/ 2147483647 h 69"/>
                <a:gd name="T24" fmla="*/ 2147483647 w 66"/>
                <a:gd name="T25" fmla="*/ 2147483647 h 69"/>
                <a:gd name="T26" fmla="*/ 2147483647 w 66"/>
                <a:gd name="T27" fmla="*/ 2147483647 h 69"/>
                <a:gd name="T28" fmla="*/ 2147483647 w 66"/>
                <a:gd name="T29" fmla="*/ 2147483647 h 69"/>
                <a:gd name="T30" fmla="*/ 2147483647 w 66"/>
                <a:gd name="T31" fmla="*/ 2147483647 h 69"/>
                <a:gd name="T32" fmla="*/ 2147483647 w 66"/>
                <a:gd name="T33" fmla="*/ 2147483647 h 69"/>
                <a:gd name="T34" fmla="*/ 2147483647 w 66"/>
                <a:gd name="T35" fmla="*/ 2147483647 h 69"/>
                <a:gd name="T36" fmla="*/ 2147483647 w 66"/>
                <a:gd name="T37" fmla="*/ 2147483647 h 69"/>
                <a:gd name="T38" fmla="*/ 2147483647 w 66"/>
                <a:gd name="T39" fmla="*/ 2147483647 h 69"/>
                <a:gd name="T40" fmla="*/ 0 w 66"/>
                <a:gd name="T41" fmla="*/ 2147483647 h 69"/>
                <a:gd name="T42" fmla="*/ 2147483647 w 66"/>
                <a:gd name="T43" fmla="*/ 2147483647 h 69"/>
                <a:gd name="T44" fmla="*/ 2147483647 w 66"/>
                <a:gd name="T45" fmla="*/ 2147483647 h 69"/>
                <a:gd name="T46" fmla="*/ 2147483647 w 66"/>
                <a:gd name="T47" fmla="*/ 2147483647 h 69"/>
                <a:gd name="T48" fmla="*/ 2147483647 w 66"/>
                <a:gd name="T49" fmla="*/ 2147483647 h 69"/>
                <a:gd name="T50" fmla="*/ 2147483647 w 66"/>
                <a:gd name="T51" fmla="*/ 2147483647 h 6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6"/>
                <a:gd name="T79" fmla="*/ 0 h 69"/>
                <a:gd name="T80" fmla="*/ 66 w 66"/>
                <a:gd name="T81" fmla="*/ 69 h 6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6" h="69">
                  <a:moveTo>
                    <a:pt x="27" y="5"/>
                  </a:moveTo>
                  <a:lnTo>
                    <a:pt x="30" y="2"/>
                  </a:lnTo>
                  <a:lnTo>
                    <a:pt x="38" y="0"/>
                  </a:lnTo>
                  <a:lnTo>
                    <a:pt x="59" y="8"/>
                  </a:lnTo>
                  <a:lnTo>
                    <a:pt x="63" y="13"/>
                  </a:lnTo>
                  <a:lnTo>
                    <a:pt x="64" y="28"/>
                  </a:lnTo>
                  <a:lnTo>
                    <a:pt x="62" y="31"/>
                  </a:lnTo>
                  <a:lnTo>
                    <a:pt x="62" y="37"/>
                  </a:lnTo>
                  <a:lnTo>
                    <a:pt x="66" y="44"/>
                  </a:lnTo>
                  <a:lnTo>
                    <a:pt x="65" y="47"/>
                  </a:lnTo>
                  <a:lnTo>
                    <a:pt x="56" y="53"/>
                  </a:lnTo>
                  <a:lnTo>
                    <a:pt x="55" y="65"/>
                  </a:lnTo>
                  <a:lnTo>
                    <a:pt x="50" y="69"/>
                  </a:lnTo>
                  <a:lnTo>
                    <a:pt x="37" y="66"/>
                  </a:lnTo>
                  <a:lnTo>
                    <a:pt x="31" y="69"/>
                  </a:lnTo>
                  <a:lnTo>
                    <a:pt x="25" y="69"/>
                  </a:lnTo>
                  <a:lnTo>
                    <a:pt x="21" y="62"/>
                  </a:lnTo>
                  <a:lnTo>
                    <a:pt x="16" y="49"/>
                  </a:lnTo>
                  <a:lnTo>
                    <a:pt x="14" y="42"/>
                  </a:lnTo>
                  <a:lnTo>
                    <a:pt x="1" y="31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19" y="15"/>
                  </a:lnTo>
                  <a:lnTo>
                    <a:pt x="26" y="10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0" name="Freeform 435"/>
            <p:cNvSpPr>
              <a:spLocks/>
            </p:cNvSpPr>
            <p:nvPr/>
          </p:nvSpPr>
          <p:spPr bwMode="gray">
            <a:xfrm>
              <a:off x="2871" y="2961"/>
              <a:ext cx="150" cy="159"/>
            </a:xfrm>
            <a:custGeom>
              <a:avLst/>
              <a:gdLst>
                <a:gd name="T0" fmla="*/ 2147483647 w 115"/>
                <a:gd name="T1" fmla="*/ 2147483647 h 122"/>
                <a:gd name="T2" fmla="*/ 0 w 115"/>
                <a:gd name="T3" fmla="*/ 2147483647 h 122"/>
                <a:gd name="T4" fmla="*/ 2147483647 w 115"/>
                <a:gd name="T5" fmla="*/ 2147483647 h 122"/>
                <a:gd name="T6" fmla="*/ 2147483647 w 115"/>
                <a:gd name="T7" fmla="*/ 2147483647 h 122"/>
                <a:gd name="T8" fmla="*/ 2147483647 w 115"/>
                <a:gd name="T9" fmla="*/ 2147483647 h 122"/>
                <a:gd name="T10" fmla="*/ 2147483647 w 115"/>
                <a:gd name="T11" fmla="*/ 2147483647 h 122"/>
                <a:gd name="T12" fmla="*/ 2147483647 w 115"/>
                <a:gd name="T13" fmla="*/ 2147483647 h 122"/>
                <a:gd name="T14" fmla="*/ 2147483647 w 115"/>
                <a:gd name="T15" fmla="*/ 2147483647 h 122"/>
                <a:gd name="T16" fmla="*/ 2147483647 w 115"/>
                <a:gd name="T17" fmla="*/ 2147483647 h 122"/>
                <a:gd name="T18" fmla="*/ 2147483647 w 115"/>
                <a:gd name="T19" fmla="*/ 2147483647 h 122"/>
                <a:gd name="T20" fmla="*/ 2147483647 w 115"/>
                <a:gd name="T21" fmla="*/ 2147483647 h 122"/>
                <a:gd name="T22" fmla="*/ 2147483647 w 115"/>
                <a:gd name="T23" fmla="*/ 2147483647 h 122"/>
                <a:gd name="T24" fmla="*/ 2147483647 w 115"/>
                <a:gd name="T25" fmla="*/ 0 h 122"/>
                <a:gd name="T26" fmla="*/ 2147483647 w 115"/>
                <a:gd name="T27" fmla="*/ 2147483647 h 122"/>
                <a:gd name="T28" fmla="*/ 2147483647 w 115"/>
                <a:gd name="T29" fmla="*/ 2147483647 h 122"/>
                <a:gd name="T30" fmla="*/ 2147483647 w 115"/>
                <a:gd name="T31" fmla="*/ 2147483647 h 122"/>
                <a:gd name="T32" fmla="*/ 2147483647 w 115"/>
                <a:gd name="T33" fmla="*/ 2147483647 h 122"/>
                <a:gd name="T34" fmla="*/ 2147483647 w 115"/>
                <a:gd name="T35" fmla="*/ 2147483647 h 122"/>
                <a:gd name="T36" fmla="*/ 2147483647 w 115"/>
                <a:gd name="T37" fmla="*/ 2147483647 h 122"/>
                <a:gd name="T38" fmla="*/ 2147483647 w 115"/>
                <a:gd name="T39" fmla="*/ 2147483647 h 122"/>
                <a:gd name="T40" fmla="*/ 2147483647 w 115"/>
                <a:gd name="T41" fmla="*/ 2147483647 h 122"/>
                <a:gd name="T42" fmla="*/ 2147483647 w 115"/>
                <a:gd name="T43" fmla="*/ 2147483647 h 122"/>
                <a:gd name="T44" fmla="*/ 2147483647 w 115"/>
                <a:gd name="T45" fmla="*/ 2147483647 h 122"/>
                <a:gd name="T46" fmla="*/ 2147483647 w 115"/>
                <a:gd name="T47" fmla="*/ 2147483647 h 122"/>
                <a:gd name="T48" fmla="*/ 2147483647 w 115"/>
                <a:gd name="T49" fmla="*/ 2147483647 h 122"/>
                <a:gd name="T50" fmla="*/ 2147483647 w 115"/>
                <a:gd name="T51" fmla="*/ 2147483647 h 122"/>
                <a:gd name="T52" fmla="*/ 2147483647 w 115"/>
                <a:gd name="T53" fmla="*/ 2147483647 h 122"/>
                <a:gd name="T54" fmla="*/ 2147483647 w 115"/>
                <a:gd name="T55" fmla="*/ 2147483647 h 122"/>
                <a:gd name="T56" fmla="*/ 2147483647 w 115"/>
                <a:gd name="T57" fmla="*/ 2147483647 h 122"/>
                <a:gd name="T58" fmla="*/ 2147483647 w 115"/>
                <a:gd name="T59" fmla="*/ 2147483647 h 122"/>
                <a:gd name="T60" fmla="*/ 2147483647 w 115"/>
                <a:gd name="T61" fmla="*/ 2147483647 h 122"/>
                <a:gd name="T62" fmla="*/ 2147483647 w 115"/>
                <a:gd name="T63" fmla="*/ 2147483647 h 122"/>
                <a:gd name="T64" fmla="*/ 2147483647 w 115"/>
                <a:gd name="T65" fmla="*/ 2147483647 h 122"/>
                <a:gd name="T66" fmla="*/ 2147483647 w 115"/>
                <a:gd name="T67" fmla="*/ 2147483647 h 122"/>
                <a:gd name="T68" fmla="*/ 2147483647 w 115"/>
                <a:gd name="T69" fmla="*/ 2147483647 h 122"/>
                <a:gd name="T70" fmla="*/ 2147483647 w 115"/>
                <a:gd name="T71" fmla="*/ 2147483647 h 122"/>
                <a:gd name="T72" fmla="*/ 2147483647 w 115"/>
                <a:gd name="T73" fmla="*/ 2147483647 h 122"/>
                <a:gd name="T74" fmla="*/ 2147483647 w 115"/>
                <a:gd name="T75" fmla="*/ 2147483647 h 1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5"/>
                <a:gd name="T115" fmla="*/ 0 h 122"/>
                <a:gd name="T116" fmla="*/ 115 w 115"/>
                <a:gd name="T117" fmla="*/ 122 h 1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5" h="122">
                  <a:moveTo>
                    <a:pt x="1" y="116"/>
                  </a:moveTo>
                  <a:lnTo>
                    <a:pt x="0" y="107"/>
                  </a:lnTo>
                  <a:lnTo>
                    <a:pt x="1" y="98"/>
                  </a:lnTo>
                  <a:lnTo>
                    <a:pt x="9" y="72"/>
                  </a:lnTo>
                  <a:lnTo>
                    <a:pt x="14" y="68"/>
                  </a:lnTo>
                  <a:lnTo>
                    <a:pt x="20" y="57"/>
                  </a:lnTo>
                  <a:lnTo>
                    <a:pt x="17" y="47"/>
                  </a:lnTo>
                  <a:lnTo>
                    <a:pt x="14" y="38"/>
                  </a:lnTo>
                  <a:lnTo>
                    <a:pt x="14" y="20"/>
                  </a:lnTo>
                  <a:lnTo>
                    <a:pt x="11" y="14"/>
                  </a:lnTo>
                  <a:lnTo>
                    <a:pt x="8" y="6"/>
                  </a:lnTo>
                  <a:lnTo>
                    <a:pt x="9" y="1"/>
                  </a:lnTo>
                  <a:lnTo>
                    <a:pt x="46" y="0"/>
                  </a:lnTo>
                  <a:lnTo>
                    <a:pt x="51" y="8"/>
                  </a:lnTo>
                  <a:lnTo>
                    <a:pt x="56" y="19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80" y="8"/>
                  </a:lnTo>
                  <a:lnTo>
                    <a:pt x="86" y="12"/>
                  </a:lnTo>
                  <a:lnTo>
                    <a:pt x="94" y="14"/>
                  </a:lnTo>
                  <a:lnTo>
                    <a:pt x="96" y="41"/>
                  </a:lnTo>
                  <a:lnTo>
                    <a:pt x="100" y="51"/>
                  </a:lnTo>
                  <a:lnTo>
                    <a:pt x="114" y="51"/>
                  </a:lnTo>
                  <a:lnTo>
                    <a:pt x="115" y="54"/>
                  </a:lnTo>
                  <a:lnTo>
                    <a:pt x="114" y="68"/>
                  </a:lnTo>
                  <a:lnTo>
                    <a:pt x="96" y="69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96" y="120"/>
                  </a:lnTo>
                  <a:lnTo>
                    <a:pt x="86" y="120"/>
                  </a:lnTo>
                  <a:lnTo>
                    <a:pt x="75" y="122"/>
                  </a:lnTo>
                  <a:lnTo>
                    <a:pt x="67" y="120"/>
                  </a:lnTo>
                  <a:lnTo>
                    <a:pt x="59" y="114"/>
                  </a:lnTo>
                  <a:lnTo>
                    <a:pt x="31" y="113"/>
                  </a:lnTo>
                  <a:lnTo>
                    <a:pt x="22" y="117"/>
                  </a:lnTo>
                  <a:lnTo>
                    <a:pt x="18" y="113"/>
                  </a:lnTo>
                  <a:lnTo>
                    <a:pt x="8" y="113"/>
                  </a:lnTo>
                  <a:lnTo>
                    <a:pt x="1" y="1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1" name="Freeform 436"/>
            <p:cNvSpPr>
              <a:spLocks/>
            </p:cNvSpPr>
            <p:nvPr/>
          </p:nvSpPr>
          <p:spPr bwMode="gray">
            <a:xfrm>
              <a:off x="2877" y="2811"/>
              <a:ext cx="223" cy="249"/>
            </a:xfrm>
            <a:custGeom>
              <a:avLst/>
              <a:gdLst>
                <a:gd name="T0" fmla="*/ 2147483647 w 171"/>
                <a:gd name="T1" fmla="*/ 2147483647 h 191"/>
                <a:gd name="T2" fmla="*/ 2147483647 w 171"/>
                <a:gd name="T3" fmla="*/ 2147483647 h 191"/>
                <a:gd name="T4" fmla="*/ 2147483647 w 171"/>
                <a:gd name="T5" fmla="*/ 2147483647 h 191"/>
                <a:gd name="T6" fmla="*/ 2147483647 w 171"/>
                <a:gd name="T7" fmla="*/ 2147483647 h 191"/>
                <a:gd name="T8" fmla="*/ 2147483647 w 171"/>
                <a:gd name="T9" fmla="*/ 2147483647 h 191"/>
                <a:gd name="T10" fmla="*/ 2147483647 w 171"/>
                <a:gd name="T11" fmla="*/ 2147483647 h 191"/>
                <a:gd name="T12" fmla="*/ 2147483647 w 171"/>
                <a:gd name="T13" fmla="*/ 2147483647 h 191"/>
                <a:gd name="T14" fmla="*/ 2147483647 w 171"/>
                <a:gd name="T15" fmla="*/ 2147483647 h 191"/>
                <a:gd name="T16" fmla="*/ 2147483647 w 171"/>
                <a:gd name="T17" fmla="*/ 2147483647 h 191"/>
                <a:gd name="T18" fmla="*/ 2147483647 w 171"/>
                <a:gd name="T19" fmla="*/ 2147483647 h 191"/>
                <a:gd name="T20" fmla="*/ 2147483647 w 171"/>
                <a:gd name="T21" fmla="*/ 2147483647 h 191"/>
                <a:gd name="T22" fmla="*/ 2147483647 w 171"/>
                <a:gd name="T23" fmla="*/ 2147483647 h 191"/>
                <a:gd name="T24" fmla="*/ 2147483647 w 171"/>
                <a:gd name="T25" fmla="*/ 2147483647 h 191"/>
                <a:gd name="T26" fmla="*/ 2147483647 w 171"/>
                <a:gd name="T27" fmla="*/ 2147483647 h 191"/>
                <a:gd name="T28" fmla="*/ 2147483647 w 171"/>
                <a:gd name="T29" fmla="*/ 2147483647 h 191"/>
                <a:gd name="T30" fmla="*/ 2147483647 w 171"/>
                <a:gd name="T31" fmla="*/ 2147483647 h 191"/>
                <a:gd name="T32" fmla="*/ 2147483647 w 171"/>
                <a:gd name="T33" fmla="*/ 2147483647 h 191"/>
                <a:gd name="T34" fmla="*/ 2147483647 w 171"/>
                <a:gd name="T35" fmla="*/ 2147483647 h 191"/>
                <a:gd name="T36" fmla="*/ 2147483647 w 171"/>
                <a:gd name="T37" fmla="*/ 2147483647 h 191"/>
                <a:gd name="T38" fmla="*/ 2147483647 w 171"/>
                <a:gd name="T39" fmla="*/ 2147483647 h 191"/>
                <a:gd name="T40" fmla="*/ 2147483647 w 171"/>
                <a:gd name="T41" fmla="*/ 2147483647 h 191"/>
                <a:gd name="T42" fmla="*/ 2147483647 w 171"/>
                <a:gd name="T43" fmla="*/ 2147483647 h 191"/>
                <a:gd name="T44" fmla="*/ 2147483647 w 171"/>
                <a:gd name="T45" fmla="*/ 2147483647 h 191"/>
                <a:gd name="T46" fmla="*/ 2147483647 w 171"/>
                <a:gd name="T47" fmla="*/ 2147483647 h 191"/>
                <a:gd name="T48" fmla="*/ 2147483647 w 171"/>
                <a:gd name="T49" fmla="*/ 2147483647 h 191"/>
                <a:gd name="T50" fmla="*/ 2147483647 w 171"/>
                <a:gd name="T51" fmla="*/ 2147483647 h 191"/>
                <a:gd name="T52" fmla="*/ 2147483647 w 171"/>
                <a:gd name="T53" fmla="*/ 2147483647 h 191"/>
                <a:gd name="T54" fmla="*/ 2147483647 w 171"/>
                <a:gd name="T55" fmla="*/ 2147483647 h 191"/>
                <a:gd name="T56" fmla="*/ 2147483647 w 171"/>
                <a:gd name="T57" fmla="*/ 2147483647 h 191"/>
                <a:gd name="T58" fmla="*/ 2147483647 w 171"/>
                <a:gd name="T59" fmla="*/ 2147483647 h 191"/>
                <a:gd name="T60" fmla="*/ 2147483647 w 171"/>
                <a:gd name="T61" fmla="*/ 2147483647 h 191"/>
                <a:gd name="T62" fmla="*/ 2147483647 w 171"/>
                <a:gd name="T63" fmla="*/ 2147483647 h 191"/>
                <a:gd name="T64" fmla="*/ 2147483647 w 171"/>
                <a:gd name="T65" fmla="*/ 2147483647 h 191"/>
                <a:gd name="T66" fmla="*/ 2147483647 w 171"/>
                <a:gd name="T67" fmla="*/ 2147483647 h 191"/>
                <a:gd name="T68" fmla="*/ 2147483647 w 171"/>
                <a:gd name="T69" fmla="*/ 2147483647 h 1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191"/>
                <a:gd name="T107" fmla="*/ 171 w 171"/>
                <a:gd name="T108" fmla="*/ 191 h 19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191">
                  <a:moveTo>
                    <a:pt x="170" y="135"/>
                  </a:moveTo>
                  <a:lnTo>
                    <a:pt x="160" y="139"/>
                  </a:lnTo>
                  <a:lnTo>
                    <a:pt x="155" y="141"/>
                  </a:lnTo>
                  <a:lnTo>
                    <a:pt x="151" y="146"/>
                  </a:lnTo>
                  <a:lnTo>
                    <a:pt x="147" y="170"/>
                  </a:lnTo>
                  <a:lnTo>
                    <a:pt x="152" y="176"/>
                  </a:lnTo>
                  <a:lnTo>
                    <a:pt x="156" y="176"/>
                  </a:lnTo>
                  <a:lnTo>
                    <a:pt x="159" y="172"/>
                  </a:lnTo>
                  <a:lnTo>
                    <a:pt x="162" y="174"/>
                  </a:lnTo>
                  <a:lnTo>
                    <a:pt x="161" y="188"/>
                  </a:lnTo>
                  <a:lnTo>
                    <a:pt x="157" y="191"/>
                  </a:lnTo>
                  <a:lnTo>
                    <a:pt x="135" y="169"/>
                  </a:lnTo>
                  <a:lnTo>
                    <a:pt x="132" y="168"/>
                  </a:lnTo>
                  <a:lnTo>
                    <a:pt x="130" y="173"/>
                  </a:lnTo>
                  <a:lnTo>
                    <a:pt x="126" y="173"/>
                  </a:lnTo>
                  <a:lnTo>
                    <a:pt x="124" y="169"/>
                  </a:lnTo>
                  <a:lnTo>
                    <a:pt x="120" y="166"/>
                  </a:lnTo>
                  <a:lnTo>
                    <a:pt x="118" y="168"/>
                  </a:lnTo>
                  <a:lnTo>
                    <a:pt x="114" y="167"/>
                  </a:lnTo>
                  <a:lnTo>
                    <a:pt x="111" y="169"/>
                  </a:lnTo>
                  <a:lnTo>
                    <a:pt x="110" y="166"/>
                  </a:lnTo>
                  <a:lnTo>
                    <a:pt x="96" y="166"/>
                  </a:lnTo>
                  <a:lnTo>
                    <a:pt x="92" y="156"/>
                  </a:lnTo>
                  <a:lnTo>
                    <a:pt x="90" y="129"/>
                  </a:lnTo>
                  <a:lnTo>
                    <a:pt x="82" y="127"/>
                  </a:lnTo>
                  <a:lnTo>
                    <a:pt x="76" y="123"/>
                  </a:lnTo>
                  <a:lnTo>
                    <a:pt x="67" y="124"/>
                  </a:lnTo>
                  <a:lnTo>
                    <a:pt x="67" y="133"/>
                  </a:lnTo>
                  <a:lnTo>
                    <a:pt x="52" y="134"/>
                  </a:lnTo>
                  <a:lnTo>
                    <a:pt x="47" y="123"/>
                  </a:lnTo>
                  <a:lnTo>
                    <a:pt x="42" y="115"/>
                  </a:lnTo>
                  <a:lnTo>
                    <a:pt x="5" y="116"/>
                  </a:lnTo>
                  <a:lnTo>
                    <a:pt x="0" y="111"/>
                  </a:lnTo>
                  <a:lnTo>
                    <a:pt x="8" y="109"/>
                  </a:lnTo>
                  <a:lnTo>
                    <a:pt x="9" y="105"/>
                  </a:lnTo>
                  <a:lnTo>
                    <a:pt x="13" y="100"/>
                  </a:lnTo>
                  <a:lnTo>
                    <a:pt x="16" y="100"/>
                  </a:lnTo>
                  <a:lnTo>
                    <a:pt x="16" y="105"/>
                  </a:lnTo>
                  <a:lnTo>
                    <a:pt x="33" y="96"/>
                  </a:lnTo>
                  <a:lnTo>
                    <a:pt x="39" y="70"/>
                  </a:lnTo>
                  <a:lnTo>
                    <a:pt x="46" y="66"/>
                  </a:lnTo>
                  <a:lnTo>
                    <a:pt x="50" y="52"/>
                  </a:lnTo>
                  <a:lnTo>
                    <a:pt x="51" y="35"/>
                  </a:lnTo>
                  <a:lnTo>
                    <a:pt x="57" y="27"/>
                  </a:lnTo>
                  <a:lnTo>
                    <a:pt x="57" y="16"/>
                  </a:lnTo>
                  <a:lnTo>
                    <a:pt x="58" y="6"/>
                  </a:lnTo>
                  <a:lnTo>
                    <a:pt x="72" y="3"/>
                  </a:lnTo>
                  <a:lnTo>
                    <a:pt x="80" y="9"/>
                  </a:lnTo>
                  <a:lnTo>
                    <a:pt x="92" y="12"/>
                  </a:lnTo>
                  <a:lnTo>
                    <a:pt x="101" y="9"/>
                  </a:lnTo>
                  <a:lnTo>
                    <a:pt x="124" y="0"/>
                  </a:lnTo>
                  <a:lnTo>
                    <a:pt x="141" y="1"/>
                  </a:lnTo>
                  <a:lnTo>
                    <a:pt x="144" y="7"/>
                  </a:lnTo>
                  <a:lnTo>
                    <a:pt x="149" y="7"/>
                  </a:lnTo>
                  <a:lnTo>
                    <a:pt x="151" y="5"/>
                  </a:lnTo>
                  <a:lnTo>
                    <a:pt x="156" y="7"/>
                  </a:lnTo>
                  <a:lnTo>
                    <a:pt x="161" y="6"/>
                  </a:lnTo>
                  <a:lnTo>
                    <a:pt x="168" y="16"/>
                  </a:lnTo>
                  <a:lnTo>
                    <a:pt x="171" y="26"/>
                  </a:lnTo>
                  <a:lnTo>
                    <a:pt x="169" y="35"/>
                  </a:lnTo>
                  <a:lnTo>
                    <a:pt x="159" y="52"/>
                  </a:lnTo>
                  <a:lnTo>
                    <a:pt x="156" y="65"/>
                  </a:lnTo>
                  <a:lnTo>
                    <a:pt x="156" y="75"/>
                  </a:lnTo>
                  <a:lnTo>
                    <a:pt x="157" y="84"/>
                  </a:lnTo>
                  <a:lnTo>
                    <a:pt x="160" y="88"/>
                  </a:lnTo>
                  <a:lnTo>
                    <a:pt x="160" y="96"/>
                  </a:lnTo>
                  <a:lnTo>
                    <a:pt x="159" y="101"/>
                  </a:lnTo>
                  <a:lnTo>
                    <a:pt x="159" y="103"/>
                  </a:lnTo>
                  <a:lnTo>
                    <a:pt x="160" y="115"/>
                  </a:lnTo>
                  <a:lnTo>
                    <a:pt x="168" y="127"/>
                  </a:lnTo>
                  <a:lnTo>
                    <a:pt x="170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2" name="Freeform 437"/>
            <p:cNvSpPr>
              <a:spLocks/>
            </p:cNvSpPr>
            <p:nvPr/>
          </p:nvSpPr>
          <p:spPr bwMode="gray">
            <a:xfrm>
              <a:off x="2873" y="3109"/>
              <a:ext cx="167" cy="168"/>
            </a:xfrm>
            <a:custGeom>
              <a:avLst/>
              <a:gdLst>
                <a:gd name="T0" fmla="*/ 2147483647 w 128"/>
                <a:gd name="T1" fmla="*/ 2147483647 h 129"/>
                <a:gd name="T2" fmla="*/ 2147483647 w 128"/>
                <a:gd name="T3" fmla="*/ 2147483647 h 129"/>
                <a:gd name="T4" fmla="*/ 2147483647 w 128"/>
                <a:gd name="T5" fmla="*/ 2147483647 h 129"/>
                <a:gd name="T6" fmla="*/ 2147483647 w 128"/>
                <a:gd name="T7" fmla="*/ 2147483647 h 129"/>
                <a:gd name="T8" fmla="*/ 2147483647 w 128"/>
                <a:gd name="T9" fmla="*/ 2147483647 h 129"/>
                <a:gd name="T10" fmla="*/ 2147483647 w 128"/>
                <a:gd name="T11" fmla="*/ 2147483647 h 129"/>
                <a:gd name="T12" fmla="*/ 2147483647 w 128"/>
                <a:gd name="T13" fmla="*/ 2147483647 h 129"/>
                <a:gd name="T14" fmla="*/ 2147483647 w 128"/>
                <a:gd name="T15" fmla="*/ 2147483647 h 129"/>
                <a:gd name="T16" fmla="*/ 2147483647 w 128"/>
                <a:gd name="T17" fmla="*/ 2147483647 h 129"/>
                <a:gd name="T18" fmla="*/ 2147483647 w 128"/>
                <a:gd name="T19" fmla="*/ 2147483647 h 129"/>
                <a:gd name="T20" fmla="*/ 0 w 128"/>
                <a:gd name="T21" fmla="*/ 2147483647 h 129"/>
                <a:gd name="T22" fmla="*/ 2147483647 w 128"/>
                <a:gd name="T23" fmla="*/ 0 h 129"/>
                <a:gd name="T24" fmla="*/ 2147483647 w 128"/>
                <a:gd name="T25" fmla="*/ 0 h 129"/>
                <a:gd name="T26" fmla="*/ 2147483647 w 128"/>
                <a:gd name="T27" fmla="*/ 2147483647 h 129"/>
                <a:gd name="T28" fmla="*/ 2147483647 w 128"/>
                <a:gd name="T29" fmla="*/ 0 h 129"/>
                <a:gd name="T30" fmla="*/ 2147483647 w 128"/>
                <a:gd name="T31" fmla="*/ 2147483647 h 129"/>
                <a:gd name="T32" fmla="*/ 2147483647 w 128"/>
                <a:gd name="T33" fmla="*/ 2147483647 h 129"/>
                <a:gd name="T34" fmla="*/ 2147483647 w 128"/>
                <a:gd name="T35" fmla="*/ 2147483647 h 129"/>
                <a:gd name="T36" fmla="*/ 2147483647 w 128"/>
                <a:gd name="T37" fmla="*/ 2147483647 h 129"/>
                <a:gd name="T38" fmla="*/ 2147483647 w 128"/>
                <a:gd name="T39" fmla="*/ 2147483647 h 129"/>
                <a:gd name="T40" fmla="*/ 2147483647 w 128"/>
                <a:gd name="T41" fmla="*/ 2147483647 h 129"/>
                <a:gd name="T42" fmla="*/ 2147483647 w 128"/>
                <a:gd name="T43" fmla="*/ 2147483647 h 129"/>
                <a:gd name="T44" fmla="*/ 2147483647 w 128"/>
                <a:gd name="T45" fmla="*/ 2147483647 h 129"/>
                <a:gd name="T46" fmla="*/ 2147483647 w 128"/>
                <a:gd name="T47" fmla="*/ 2147483647 h 129"/>
                <a:gd name="T48" fmla="*/ 2147483647 w 128"/>
                <a:gd name="T49" fmla="*/ 2147483647 h 129"/>
                <a:gd name="T50" fmla="*/ 2147483647 w 128"/>
                <a:gd name="T51" fmla="*/ 2147483647 h 129"/>
                <a:gd name="T52" fmla="*/ 2147483647 w 128"/>
                <a:gd name="T53" fmla="*/ 2147483647 h 129"/>
                <a:gd name="T54" fmla="*/ 2147483647 w 128"/>
                <a:gd name="T55" fmla="*/ 2147483647 h 129"/>
                <a:gd name="T56" fmla="*/ 2147483647 w 128"/>
                <a:gd name="T57" fmla="*/ 2147483647 h 129"/>
                <a:gd name="T58" fmla="*/ 2147483647 w 128"/>
                <a:gd name="T59" fmla="*/ 2147483647 h 129"/>
                <a:gd name="T60" fmla="*/ 2147483647 w 128"/>
                <a:gd name="T61" fmla="*/ 2147483647 h 129"/>
                <a:gd name="T62" fmla="*/ 2147483647 w 128"/>
                <a:gd name="T63" fmla="*/ 2147483647 h 129"/>
                <a:gd name="T64" fmla="*/ 2147483647 w 128"/>
                <a:gd name="T65" fmla="*/ 2147483647 h 129"/>
                <a:gd name="T66" fmla="*/ 2147483647 w 128"/>
                <a:gd name="T67" fmla="*/ 2147483647 h 129"/>
                <a:gd name="T68" fmla="*/ 2147483647 w 128"/>
                <a:gd name="T69" fmla="*/ 2147483647 h 129"/>
                <a:gd name="T70" fmla="*/ 2147483647 w 128"/>
                <a:gd name="T71" fmla="*/ 2147483647 h 129"/>
                <a:gd name="T72" fmla="*/ 2147483647 w 128"/>
                <a:gd name="T73" fmla="*/ 2147483647 h 129"/>
                <a:gd name="T74" fmla="*/ 2147483647 w 128"/>
                <a:gd name="T75" fmla="*/ 2147483647 h 1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8"/>
                <a:gd name="T115" fmla="*/ 0 h 129"/>
                <a:gd name="T116" fmla="*/ 128 w 128"/>
                <a:gd name="T117" fmla="*/ 129 h 1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8" h="129">
                  <a:moveTo>
                    <a:pt x="41" y="126"/>
                  </a:moveTo>
                  <a:lnTo>
                    <a:pt x="36" y="119"/>
                  </a:lnTo>
                  <a:lnTo>
                    <a:pt x="32" y="110"/>
                  </a:lnTo>
                  <a:lnTo>
                    <a:pt x="28" y="94"/>
                  </a:lnTo>
                  <a:lnTo>
                    <a:pt x="25" y="81"/>
                  </a:lnTo>
                  <a:lnTo>
                    <a:pt x="21" y="61"/>
                  </a:lnTo>
                  <a:lnTo>
                    <a:pt x="20" y="54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2" y="16"/>
                  </a:lnTo>
                  <a:lnTo>
                    <a:pt x="0" y="3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30" y="0"/>
                  </a:lnTo>
                  <a:lnTo>
                    <a:pt x="58" y="1"/>
                  </a:lnTo>
                  <a:lnTo>
                    <a:pt x="66" y="7"/>
                  </a:lnTo>
                  <a:lnTo>
                    <a:pt x="74" y="9"/>
                  </a:lnTo>
                  <a:lnTo>
                    <a:pt x="85" y="7"/>
                  </a:lnTo>
                  <a:lnTo>
                    <a:pt x="95" y="7"/>
                  </a:lnTo>
                  <a:lnTo>
                    <a:pt x="102" y="1"/>
                  </a:lnTo>
                  <a:lnTo>
                    <a:pt x="108" y="3"/>
                  </a:lnTo>
                  <a:lnTo>
                    <a:pt x="119" y="4"/>
                  </a:lnTo>
                  <a:lnTo>
                    <a:pt x="125" y="6"/>
                  </a:lnTo>
                  <a:lnTo>
                    <a:pt x="128" y="9"/>
                  </a:lnTo>
                  <a:lnTo>
                    <a:pt x="121" y="8"/>
                  </a:lnTo>
                  <a:lnTo>
                    <a:pt x="111" y="13"/>
                  </a:lnTo>
                  <a:lnTo>
                    <a:pt x="103" y="10"/>
                  </a:lnTo>
                  <a:lnTo>
                    <a:pt x="86" y="16"/>
                  </a:lnTo>
                  <a:lnTo>
                    <a:pt x="85" y="49"/>
                  </a:lnTo>
                  <a:lnTo>
                    <a:pt x="76" y="51"/>
                  </a:lnTo>
                  <a:lnTo>
                    <a:pt x="74" y="126"/>
                  </a:lnTo>
                  <a:lnTo>
                    <a:pt x="63" y="129"/>
                  </a:lnTo>
                  <a:lnTo>
                    <a:pt x="57" y="127"/>
                  </a:lnTo>
                  <a:lnTo>
                    <a:pt x="52" y="124"/>
                  </a:lnTo>
                  <a:lnTo>
                    <a:pt x="50" y="121"/>
                  </a:lnTo>
                  <a:lnTo>
                    <a:pt x="46" y="121"/>
                  </a:lnTo>
                  <a:lnTo>
                    <a:pt x="41" y="12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3" name="Freeform 438"/>
            <p:cNvSpPr>
              <a:spLocks/>
            </p:cNvSpPr>
            <p:nvPr/>
          </p:nvSpPr>
          <p:spPr bwMode="gray">
            <a:xfrm>
              <a:off x="3247" y="3038"/>
              <a:ext cx="86" cy="193"/>
            </a:xfrm>
            <a:custGeom>
              <a:avLst/>
              <a:gdLst>
                <a:gd name="T0" fmla="*/ 2147483647 w 66"/>
                <a:gd name="T1" fmla="*/ 2147483647 h 148"/>
                <a:gd name="T2" fmla="*/ 2147483647 w 66"/>
                <a:gd name="T3" fmla="*/ 0 h 148"/>
                <a:gd name="T4" fmla="*/ 2147483647 w 66"/>
                <a:gd name="T5" fmla="*/ 2147483647 h 148"/>
                <a:gd name="T6" fmla="*/ 2147483647 w 66"/>
                <a:gd name="T7" fmla="*/ 2147483647 h 148"/>
                <a:gd name="T8" fmla="*/ 2147483647 w 66"/>
                <a:gd name="T9" fmla="*/ 2147483647 h 148"/>
                <a:gd name="T10" fmla="*/ 2147483647 w 66"/>
                <a:gd name="T11" fmla="*/ 2147483647 h 148"/>
                <a:gd name="T12" fmla="*/ 2147483647 w 66"/>
                <a:gd name="T13" fmla="*/ 2147483647 h 148"/>
                <a:gd name="T14" fmla="*/ 2147483647 w 66"/>
                <a:gd name="T15" fmla="*/ 2147483647 h 148"/>
                <a:gd name="T16" fmla="*/ 2147483647 w 66"/>
                <a:gd name="T17" fmla="*/ 2147483647 h 148"/>
                <a:gd name="T18" fmla="*/ 2147483647 w 66"/>
                <a:gd name="T19" fmla="*/ 2147483647 h 148"/>
                <a:gd name="T20" fmla="*/ 2147483647 w 66"/>
                <a:gd name="T21" fmla="*/ 2147483647 h 148"/>
                <a:gd name="T22" fmla="*/ 2147483647 w 66"/>
                <a:gd name="T23" fmla="*/ 2147483647 h 148"/>
                <a:gd name="T24" fmla="*/ 2147483647 w 66"/>
                <a:gd name="T25" fmla="*/ 2147483647 h 148"/>
                <a:gd name="T26" fmla="*/ 2147483647 w 66"/>
                <a:gd name="T27" fmla="*/ 2147483647 h 148"/>
                <a:gd name="T28" fmla="*/ 2147483647 w 66"/>
                <a:gd name="T29" fmla="*/ 2147483647 h 148"/>
                <a:gd name="T30" fmla="*/ 2147483647 w 66"/>
                <a:gd name="T31" fmla="*/ 2147483647 h 148"/>
                <a:gd name="T32" fmla="*/ 2147483647 w 66"/>
                <a:gd name="T33" fmla="*/ 2147483647 h 148"/>
                <a:gd name="T34" fmla="*/ 2147483647 w 66"/>
                <a:gd name="T35" fmla="*/ 2147483647 h 148"/>
                <a:gd name="T36" fmla="*/ 2147483647 w 66"/>
                <a:gd name="T37" fmla="*/ 2147483647 h 148"/>
                <a:gd name="T38" fmla="*/ 0 w 66"/>
                <a:gd name="T39" fmla="*/ 2147483647 h 148"/>
                <a:gd name="T40" fmla="*/ 0 w 66"/>
                <a:gd name="T41" fmla="*/ 2147483647 h 148"/>
                <a:gd name="T42" fmla="*/ 2147483647 w 66"/>
                <a:gd name="T43" fmla="*/ 2147483647 h 148"/>
                <a:gd name="T44" fmla="*/ 2147483647 w 66"/>
                <a:gd name="T45" fmla="*/ 2147483647 h 148"/>
                <a:gd name="T46" fmla="*/ 2147483647 w 66"/>
                <a:gd name="T47" fmla="*/ 2147483647 h 148"/>
                <a:gd name="T48" fmla="*/ 2147483647 w 66"/>
                <a:gd name="T49" fmla="*/ 2147483647 h 148"/>
                <a:gd name="T50" fmla="*/ 2147483647 w 66"/>
                <a:gd name="T51" fmla="*/ 2147483647 h 148"/>
                <a:gd name="T52" fmla="*/ 2147483647 w 66"/>
                <a:gd name="T53" fmla="*/ 2147483647 h 148"/>
                <a:gd name="T54" fmla="*/ 2147483647 w 66"/>
                <a:gd name="T55" fmla="*/ 2147483647 h 148"/>
                <a:gd name="T56" fmla="*/ 2147483647 w 66"/>
                <a:gd name="T57" fmla="*/ 2147483647 h 148"/>
                <a:gd name="T58" fmla="*/ 2147483647 w 66"/>
                <a:gd name="T59" fmla="*/ 2147483647 h 148"/>
                <a:gd name="T60" fmla="*/ 2147483647 w 66"/>
                <a:gd name="T61" fmla="*/ 2147483647 h 148"/>
                <a:gd name="T62" fmla="*/ 2147483647 w 66"/>
                <a:gd name="T63" fmla="*/ 2147483647 h 148"/>
                <a:gd name="T64" fmla="*/ 2147483647 w 66"/>
                <a:gd name="T65" fmla="*/ 2147483647 h 148"/>
                <a:gd name="T66" fmla="*/ 2147483647 w 66"/>
                <a:gd name="T67" fmla="*/ 2147483647 h 148"/>
                <a:gd name="T68" fmla="*/ 2147483647 w 66"/>
                <a:gd name="T69" fmla="*/ 2147483647 h 148"/>
                <a:gd name="T70" fmla="*/ 2147483647 w 66"/>
                <a:gd name="T71" fmla="*/ 2147483647 h 148"/>
                <a:gd name="T72" fmla="*/ 2147483647 w 66"/>
                <a:gd name="T73" fmla="*/ 2147483647 h 14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148"/>
                <a:gd name="T113" fmla="*/ 66 w 66"/>
                <a:gd name="T114" fmla="*/ 148 h 14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148">
                  <a:moveTo>
                    <a:pt x="55" y="1"/>
                  </a:moveTo>
                  <a:lnTo>
                    <a:pt x="58" y="0"/>
                  </a:lnTo>
                  <a:lnTo>
                    <a:pt x="60" y="4"/>
                  </a:lnTo>
                  <a:lnTo>
                    <a:pt x="61" y="15"/>
                  </a:lnTo>
                  <a:lnTo>
                    <a:pt x="66" y="34"/>
                  </a:lnTo>
                  <a:lnTo>
                    <a:pt x="65" y="41"/>
                  </a:lnTo>
                  <a:lnTo>
                    <a:pt x="60" y="42"/>
                  </a:lnTo>
                  <a:lnTo>
                    <a:pt x="60" y="56"/>
                  </a:lnTo>
                  <a:lnTo>
                    <a:pt x="58" y="59"/>
                  </a:lnTo>
                  <a:lnTo>
                    <a:pt x="51" y="85"/>
                  </a:lnTo>
                  <a:lnTo>
                    <a:pt x="47" y="100"/>
                  </a:lnTo>
                  <a:lnTo>
                    <a:pt x="43" y="112"/>
                  </a:lnTo>
                  <a:lnTo>
                    <a:pt x="39" y="133"/>
                  </a:lnTo>
                  <a:lnTo>
                    <a:pt x="33" y="142"/>
                  </a:lnTo>
                  <a:lnTo>
                    <a:pt x="26" y="143"/>
                  </a:lnTo>
                  <a:lnTo>
                    <a:pt x="19" y="148"/>
                  </a:lnTo>
                  <a:lnTo>
                    <a:pt x="12" y="145"/>
                  </a:lnTo>
                  <a:lnTo>
                    <a:pt x="7" y="138"/>
                  </a:lnTo>
                  <a:lnTo>
                    <a:pt x="5" y="123"/>
                  </a:lnTo>
                  <a:lnTo>
                    <a:pt x="0" y="117"/>
                  </a:lnTo>
                  <a:lnTo>
                    <a:pt x="0" y="106"/>
                  </a:lnTo>
                  <a:lnTo>
                    <a:pt x="8" y="94"/>
                  </a:lnTo>
                  <a:lnTo>
                    <a:pt x="10" y="75"/>
                  </a:lnTo>
                  <a:lnTo>
                    <a:pt x="7" y="69"/>
                  </a:lnTo>
                  <a:lnTo>
                    <a:pt x="9" y="52"/>
                  </a:lnTo>
                  <a:lnTo>
                    <a:pt x="12" y="47"/>
                  </a:lnTo>
                  <a:lnTo>
                    <a:pt x="17" y="45"/>
                  </a:lnTo>
                  <a:lnTo>
                    <a:pt x="19" y="42"/>
                  </a:lnTo>
                  <a:lnTo>
                    <a:pt x="24" y="42"/>
                  </a:lnTo>
                  <a:lnTo>
                    <a:pt x="30" y="37"/>
                  </a:lnTo>
                  <a:lnTo>
                    <a:pt x="36" y="35"/>
                  </a:lnTo>
                  <a:lnTo>
                    <a:pt x="39" y="30"/>
                  </a:lnTo>
                  <a:lnTo>
                    <a:pt x="44" y="26"/>
                  </a:lnTo>
                  <a:lnTo>
                    <a:pt x="44" y="20"/>
                  </a:lnTo>
                  <a:lnTo>
                    <a:pt x="48" y="18"/>
                  </a:lnTo>
                  <a:lnTo>
                    <a:pt x="53" y="8"/>
                  </a:lnTo>
                  <a:lnTo>
                    <a:pt x="5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4" name="Freeform 439"/>
            <p:cNvSpPr>
              <a:spLocks/>
            </p:cNvSpPr>
            <p:nvPr/>
          </p:nvSpPr>
          <p:spPr bwMode="gray">
            <a:xfrm>
              <a:off x="3393" y="3162"/>
              <a:ext cx="9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0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2"/>
                  </a:moveTo>
                  <a:lnTo>
                    <a:pt x="1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5" name="Freeform 440"/>
            <p:cNvSpPr>
              <a:spLocks/>
            </p:cNvSpPr>
            <p:nvPr/>
          </p:nvSpPr>
          <p:spPr bwMode="gray">
            <a:xfrm>
              <a:off x="3390" y="2939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6" name="Freeform 441"/>
            <p:cNvSpPr>
              <a:spLocks/>
            </p:cNvSpPr>
            <p:nvPr/>
          </p:nvSpPr>
          <p:spPr bwMode="gray">
            <a:xfrm>
              <a:off x="3135" y="2818"/>
              <a:ext cx="95" cy="121"/>
            </a:xfrm>
            <a:custGeom>
              <a:avLst/>
              <a:gdLst>
                <a:gd name="T0" fmla="*/ 2147483647 w 73"/>
                <a:gd name="T1" fmla="*/ 2147483647 h 93"/>
                <a:gd name="T2" fmla="*/ 2147483647 w 73"/>
                <a:gd name="T3" fmla="*/ 2147483647 h 93"/>
                <a:gd name="T4" fmla="*/ 2147483647 w 73"/>
                <a:gd name="T5" fmla="*/ 2147483647 h 93"/>
                <a:gd name="T6" fmla="*/ 2147483647 w 73"/>
                <a:gd name="T7" fmla="*/ 2147483647 h 93"/>
                <a:gd name="T8" fmla="*/ 2147483647 w 73"/>
                <a:gd name="T9" fmla="*/ 2147483647 h 93"/>
                <a:gd name="T10" fmla="*/ 0 w 73"/>
                <a:gd name="T11" fmla="*/ 2147483647 h 93"/>
                <a:gd name="T12" fmla="*/ 2147483647 w 73"/>
                <a:gd name="T13" fmla="*/ 2147483647 h 93"/>
                <a:gd name="T14" fmla="*/ 2147483647 w 73"/>
                <a:gd name="T15" fmla="*/ 2147483647 h 93"/>
                <a:gd name="T16" fmla="*/ 2147483647 w 73"/>
                <a:gd name="T17" fmla="*/ 2147483647 h 93"/>
                <a:gd name="T18" fmla="*/ 2147483647 w 73"/>
                <a:gd name="T19" fmla="*/ 2147483647 h 93"/>
                <a:gd name="T20" fmla="*/ 0 w 73"/>
                <a:gd name="T21" fmla="*/ 2147483647 h 93"/>
                <a:gd name="T22" fmla="*/ 2147483647 w 73"/>
                <a:gd name="T23" fmla="*/ 0 h 93"/>
                <a:gd name="T24" fmla="*/ 2147483647 w 73"/>
                <a:gd name="T25" fmla="*/ 2147483647 h 93"/>
                <a:gd name="T26" fmla="*/ 2147483647 w 73"/>
                <a:gd name="T27" fmla="*/ 2147483647 h 93"/>
                <a:gd name="T28" fmla="*/ 2147483647 w 73"/>
                <a:gd name="T29" fmla="*/ 2147483647 h 93"/>
                <a:gd name="T30" fmla="*/ 2147483647 w 73"/>
                <a:gd name="T31" fmla="*/ 2147483647 h 93"/>
                <a:gd name="T32" fmla="*/ 2147483647 w 73"/>
                <a:gd name="T33" fmla="*/ 2147483647 h 93"/>
                <a:gd name="T34" fmla="*/ 2147483647 w 73"/>
                <a:gd name="T35" fmla="*/ 2147483647 h 93"/>
                <a:gd name="T36" fmla="*/ 2147483647 w 73"/>
                <a:gd name="T37" fmla="*/ 2147483647 h 93"/>
                <a:gd name="T38" fmla="*/ 2147483647 w 73"/>
                <a:gd name="T39" fmla="*/ 2147483647 h 93"/>
                <a:gd name="T40" fmla="*/ 2147483647 w 73"/>
                <a:gd name="T41" fmla="*/ 2147483647 h 93"/>
                <a:gd name="T42" fmla="*/ 2147483647 w 73"/>
                <a:gd name="T43" fmla="*/ 2147483647 h 93"/>
                <a:gd name="T44" fmla="*/ 2147483647 w 73"/>
                <a:gd name="T45" fmla="*/ 2147483647 h 93"/>
                <a:gd name="T46" fmla="*/ 2147483647 w 73"/>
                <a:gd name="T47" fmla="*/ 2147483647 h 93"/>
                <a:gd name="T48" fmla="*/ 2147483647 w 73"/>
                <a:gd name="T49" fmla="*/ 2147483647 h 93"/>
                <a:gd name="T50" fmla="*/ 2147483647 w 73"/>
                <a:gd name="T51" fmla="*/ 2147483647 h 9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3"/>
                <a:gd name="T79" fmla="*/ 0 h 93"/>
                <a:gd name="T80" fmla="*/ 73 w 73"/>
                <a:gd name="T81" fmla="*/ 93 h 9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3" h="93">
                  <a:moveTo>
                    <a:pt x="50" y="93"/>
                  </a:moveTo>
                  <a:lnTo>
                    <a:pt x="33" y="84"/>
                  </a:lnTo>
                  <a:lnTo>
                    <a:pt x="34" y="78"/>
                  </a:lnTo>
                  <a:lnTo>
                    <a:pt x="33" y="73"/>
                  </a:lnTo>
                  <a:lnTo>
                    <a:pt x="14" y="65"/>
                  </a:lnTo>
                  <a:lnTo>
                    <a:pt x="0" y="55"/>
                  </a:lnTo>
                  <a:lnTo>
                    <a:pt x="1" y="39"/>
                  </a:lnTo>
                  <a:lnTo>
                    <a:pt x="10" y="32"/>
                  </a:lnTo>
                  <a:lnTo>
                    <a:pt x="10" y="23"/>
                  </a:lnTo>
                  <a:lnTo>
                    <a:pt x="2" y="9"/>
                  </a:lnTo>
                  <a:lnTo>
                    <a:pt x="0" y="2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38" y="9"/>
                  </a:lnTo>
                  <a:lnTo>
                    <a:pt x="48" y="11"/>
                  </a:lnTo>
                  <a:lnTo>
                    <a:pt x="57" y="5"/>
                  </a:lnTo>
                  <a:lnTo>
                    <a:pt x="73" y="6"/>
                  </a:lnTo>
                  <a:lnTo>
                    <a:pt x="67" y="12"/>
                  </a:lnTo>
                  <a:lnTo>
                    <a:pt x="67" y="55"/>
                  </a:lnTo>
                  <a:lnTo>
                    <a:pt x="72" y="59"/>
                  </a:lnTo>
                  <a:lnTo>
                    <a:pt x="67" y="66"/>
                  </a:lnTo>
                  <a:lnTo>
                    <a:pt x="63" y="68"/>
                  </a:lnTo>
                  <a:lnTo>
                    <a:pt x="63" y="72"/>
                  </a:lnTo>
                  <a:lnTo>
                    <a:pt x="56" y="74"/>
                  </a:lnTo>
                  <a:lnTo>
                    <a:pt x="54" y="8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7" name="Freeform 442"/>
            <p:cNvSpPr>
              <a:spLocks/>
            </p:cNvSpPr>
            <p:nvPr/>
          </p:nvSpPr>
          <p:spPr bwMode="gray">
            <a:xfrm>
              <a:off x="3227" y="2710"/>
              <a:ext cx="23" cy="26"/>
            </a:xfrm>
            <a:custGeom>
              <a:avLst/>
              <a:gdLst>
                <a:gd name="T0" fmla="*/ 2147483647 w 17"/>
                <a:gd name="T1" fmla="*/ 2147483647 h 20"/>
                <a:gd name="T2" fmla="*/ 2147483647 w 17"/>
                <a:gd name="T3" fmla="*/ 2147483647 h 20"/>
                <a:gd name="T4" fmla="*/ 2147483647 w 17"/>
                <a:gd name="T5" fmla="*/ 0 h 20"/>
                <a:gd name="T6" fmla="*/ 2147483647 w 17"/>
                <a:gd name="T7" fmla="*/ 0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2147483647 w 17"/>
                <a:gd name="T13" fmla="*/ 2147483647 h 20"/>
                <a:gd name="T14" fmla="*/ 2147483647 w 17"/>
                <a:gd name="T15" fmla="*/ 2147483647 h 20"/>
                <a:gd name="T16" fmla="*/ 2147483647 w 17"/>
                <a:gd name="T17" fmla="*/ 2147483647 h 20"/>
                <a:gd name="T18" fmla="*/ 2147483647 w 17"/>
                <a:gd name="T19" fmla="*/ 2147483647 h 20"/>
                <a:gd name="T20" fmla="*/ 0 w 17"/>
                <a:gd name="T21" fmla="*/ 2147483647 h 20"/>
                <a:gd name="T22" fmla="*/ 2147483647 w 17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20"/>
                <a:gd name="T38" fmla="*/ 17 w 17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20">
                  <a:moveTo>
                    <a:pt x="2" y="7"/>
                  </a:moveTo>
                  <a:lnTo>
                    <a:pt x="6" y="5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7"/>
                  </a:lnTo>
                  <a:lnTo>
                    <a:pt x="9" y="11"/>
                  </a:lnTo>
                  <a:lnTo>
                    <a:pt x="15" y="16"/>
                  </a:lnTo>
                  <a:lnTo>
                    <a:pt x="9" y="20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8" name="Freeform 443"/>
            <p:cNvSpPr>
              <a:spLocks/>
            </p:cNvSpPr>
            <p:nvPr/>
          </p:nvSpPr>
          <p:spPr bwMode="gray">
            <a:xfrm>
              <a:off x="3222" y="2719"/>
              <a:ext cx="119" cy="176"/>
            </a:xfrm>
            <a:custGeom>
              <a:avLst/>
              <a:gdLst>
                <a:gd name="T0" fmla="*/ 2147483647 w 91"/>
                <a:gd name="T1" fmla="*/ 2147483647 h 135"/>
                <a:gd name="T2" fmla="*/ 0 w 91"/>
                <a:gd name="T3" fmla="*/ 2147483647 h 135"/>
                <a:gd name="T4" fmla="*/ 0 w 91"/>
                <a:gd name="T5" fmla="*/ 2147483647 h 135"/>
                <a:gd name="T6" fmla="*/ 2147483647 w 91"/>
                <a:gd name="T7" fmla="*/ 2147483647 h 135"/>
                <a:gd name="T8" fmla="*/ 2147483647 w 91"/>
                <a:gd name="T9" fmla="*/ 2147483647 h 135"/>
                <a:gd name="T10" fmla="*/ 2147483647 w 91"/>
                <a:gd name="T11" fmla="*/ 2147483647 h 135"/>
                <a:gd name="T12" fmla="*/ 2147483647 w 91"/>
                <a:gd name="T13" fmla="*/ 2147483647 h 135"/>
                <a:gd name="T14" fmla="*/ 2147483647 w 91"/>
                <a:gd name="T15" fmla="*/ 2147483647 h 135"/>
                <a:gd name="T16" fmla="*/ 2147483647 w 91"/>
                <a:gd name="T17" fmla="*/ 2147483647 h 135"/>
                <a:gd name="T18" fmla="*/ 2147483647 w 91"/>
                <a:gd name="T19" fmla="*/ 2147483647 h 135"/>
                <a:gd name="T20" fmla="*/ 2147483647 w 91"/>
                <a:gd name="T21" fmla="*/ 2147483647 h 135"/>
                <a:gd name="T22" fmla="*/ 2147483647 w 91"/>
                <a:gd name="T23" fmla="*/ 2147483647 h 135"/>
                <a:gd name="T24" fmla="*/ 2147483647 w 91"/>
                <a:gd name="T25" fmla="*/ 2147483647 h 135"/>
                <a:gd name="T26" fmla="*/ 2147483647 w 91"/>
                <a:gd name="T27" fmla="*/ 2147483647 h 135"/>
                <a:gd name="T28" fmla="*/ 2147483647 w 91"/>
                <a:gd name="T29" fmla="*/ 2147483647 h 135"/>
                <a:gd name="T30" fmla="*/ 2147483647 w 91"/>
                <a:gd name="T31" fmla="*/ 2147483647 h 135"/>
                <a:gd name="T32" fmla="*/ 2147483647 w 91"/>
                <a:gd name="T33" fmla="*/ 2147483647 h 135"/>
                <a:gd name="T34" fmla="*/ 2147483647 w 91"/>
                <a:gd name="T35" fmla="*/ 2147483647 h 135"/>
                <a:gd name="T36" fmla="*/ 2147483647 w 91"/>
                <a:gd name="T37" fmla="*/ 2147483647 h 135"/>
                <a:gd name="T38" fmla="*/ 2147483647 w 91"/>
                <a:gd name="T39" fmla="*/ 2147483647 h 135"/>
                <a:gd name="T40" fmla="*/ 2147483647 w 91"/>
                <a:gd name="T41" fmla="*/ 2147483647 h 135"/>
                <a:gd name="T42" fmla="*/ 2147483647 w 91"/>
                <a:gd name="T43" fmla="*/ 2147483647 h 135"/>
                <a:gd name="T44" fmla="*/ 2147483647 w 91"/>
                <a:gd name="T45" fmla="*/ 2147483647 h 135"/>
                <a:gd name="T46" fmla="*/ 2147483647 w 91"/>
                <a:gd name="T47" fmla="*/ 0 h 135"/>
                <a:gd name="T48" fmla="*/ 2147483647 w 91"/>
                <a:gd name="T49" fmla="*/ 0 h 135"/>
                <a:gd name="T50" fmla="*/ 2147483647 w 91"/>
                <a:gd name="T51" fmla="*/ 2147483647 h 135"/>
                <a:gd name="T52" fmla="*/ 2147483647 w 91"/>
                <a:gd name="T53" fmla="*/ 2147483647 h 135"/>
                <a:gd name="T54" fmla="*/ 2147483647 w 91"/>
                <a:gd name="T55" fmla="*/ 2147483647 h 135"/>
                <a:gd name="T56" fmla="*/ 2147483647 w 91"/>
                <a:gd name="T57" fmla="*/ 2147483647 h 135"/>
                <a:gd name="T58" fmla="*/ 2147483647 w 91"/>
                <a:gd name="T59" fmla="*/ 2147483647 h 135"/>
                <a:gd name="T60" fmla="*/ 2147483647 w 91"/>
                <a:gd name="T61" fmla="*/ 2147483647 h 135"/>
                <a:gd name="T62" fmla="*/ 2147483647 w 91"/>
                <a:gd name="T63" fmla="*/ 2147483647 h 135"/>
                <a:gd name="T64" fmla="*/ 2147483647 w 91"/>
                <a:gd name="T65" fmla="*/ 2147483647 h 135"/>
                <a:gd name="T66" fmla="*/ 2147483647 w 91"/>
                <a:gd name="T67" fmla="*/ 2147483647 h 135"/>
                <a:gd name="T68" fmla="*/ 2147483647 w 91"/>
                <a:gd name="T69" fmla="*/ 2147483647 h 135"/>
                <a:gd name="T70" fmla="*/ 2147483647 w 91"/>
                <a:gd name="T71" fmla="*/ 2147483647 h 135"/>
                <a:gd name="T72" fmla="*/ 2147483647 w 91"/>
                <a:gd name="T73" fmla="*/ 2147483647 h 135"/>
                <a:gd name="T74" fmla="*/ 2147483647 w 91"/>
                <a:gd name="T75" fmla="*/ 2147483647 h 135"/>
                <a:gd name="T76" fmla="*/ 2147483647 w 91"/>
                <a:gd name="T77" fmla="*/ 2147483647 h 1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1"/>
                <a:gd name="T118" fmla="*/ 0 h 135"/>
                <a:gd name="T119" fmla="*/ 91 w 91"/>
                <a:gd name="T120" fmla="*/ 135 h 1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1" h="135">
                  <a:moveTo>
                    <a:pt x="5" y="135"/>
                  </a:moveTo>
                  <a:lnTo>
                    <a:pt x="0" y="131"/>
                  </a:lnTo>
                  <a:lnTo>
                    <a:pt x="0" y="88"/>
                  </a:lnTo>
                  <a:lnTo>
                    <a:pt x="6" y="82"/>
                  </a:lnTo>
                  <a:lnTo>
                    <a:pt x="13" y="77"/>
                  </a:lnTo>
                  <a:lnTo>
                    <a:pt x="32" y="72"/>
                  </a:lnTo>
                  <a:lnTo>
                    <a:pt x="63" y="47"/>
                  </a:lnTo>
                  <a:lnTo>
                    <a:pt x="66" y="39"/>
                  </a:lnTo>
                  <a:lnTo>
                    <a:pt x="57" y="40"/>
                  </a:lnTo>
                  <a:lnTo>
                    <a:pt x="35" y="36"/>
                  </a:lnTo>
                  <a:lnTo>
                    <a:pt x="25" y="31"/>
                  </a:lnTo>
                  <a:lnTo>
                    <a:pt x="20" y="30"/>
                  </a:lnTo>
                  <a:lnTo>
                    <a:pt x="14" y="22"/>
                  </a:lnTo>
                  <a:lnTo>
                    <a:pt x="13" y="13"/>
                  </a:lnTo>
                  <a:lnTo>
                    <a:pt x="19" y="9"/>
                  </a:lnTo>
                  <a:lnTo>
                    <a:pt x="27" y="17"/>
                  </a:lnTo>
                  <a:lnTo>
                    <a:pt x="32" y="18"/>
                  </a:lnTo>
                  <a:lnTo>
                    <a:pt x="37" y="16"/>
                  </a:lnTo>
                  <a:lnTo>
                    <a:pt x="50" y="13"/>
                  </a:lnTo>
                  <a:lnTo>
                    <a:pt x="57" y="10"/>
                  </a:lnTo>
                  <a:lnTo>
                    <a:pt x="66" y="10"/>
                  </a:lnTo>
                  <a:lnTo>
                    <a:pt x="68" y="8"/>
                  </a:lnTo>
                  <a:lnTo>
                    <a:pt x="81" y="4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1" y="4"/>
                  </a:lnTo>
                  <a:lnTo>
                    <a:pt x="90" y="21"/>
                  </a:lnTo>
                  <a:lnTo>
                    <a:pt x="87" y="34"/>
                  </a:lnTo>
                  <a:lnTo>
                    <a:pt x="75" y="51"/>
                  </a:lnTo>
                  <a:lnTo>
                    <a:pt x="73" y="56"/>
                  </a:lnTo>
                  <a:lnTo>
                    <a:pt x="70" y="64"/>
                  </a:lnTo>
                  <a:lnTo>
                    <a:pt x="66" y="71"/>
                  </a:lnTo>
                  <a:lnTo>
                    <a:pt x="56" y="85"/>
                  </a:lnTo>
                  <a:lnTo>
                    <a:pt x="49" y="94"/>
                  </a:lnTo>
                  <a:lnTo>
                    <a:pt x="40" y="99"/>
                  </a:lnTo>
                  <a:lnTo>
                    <a:pt x="29" y="108"/>
                  </a:lnTo>
                  <a:lnTo>
                    <a:pt x="19" y="117"/>
                  </a:lnTo>
                  <a:lnTo>
                    <a:pt x="14" y="124"/>
                  </a:lnTo>
                  <a:lnTo>
                    <a:pt x="5" y="13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49" name="Freeform 444"/>
            <p:cNvSpPr>
              <a:spLocks/>
            </p:cNvSpPr>
            <p:nvPr/>
          </p:nvSpPr>
          <p:spPr bwMode="gray">
            <a:xfrm>
              <a:off x="3418" y="3150"/>
              <a:ext cx="6" cy="8"/>
            </a:xfrm>
            <a:custGeom>
              <a:avLst/>
              <a:gdLst>
                <a:gd name="T0" fmla="*/ 0 w 5"/>
                <a:gd name="T1" fmla="*/ 2147483647 h 6"/>
                <a:gd name="T2" fmla="*/ 0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w 5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4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4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0" name="Freeform 446"/>
            <p:cNvSpPr>
              <a:spLocks/>
            </p:cNvSpPr>
            <p:nvPr/>
          </p:nvSpPr>
          <p:spPr bwMode="gray">
            <a:xfrm>
              <a:off x="4430" y="2908"/>
              <a:ext cx="121" cy="107"/>
            </a:xfrm>
            <a:custGeom>
              <a:avLst/>
              <a:gdLst>
                <a:gd name="T0" fmla="*/ 2147483647 w 93"/>
                <a:gd name="T1" fmla="*/ 0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2147483647 h 82"/>
                <a:gd name="T24" fmla="*/ 2147483647 w 93"/>
                <a:gd name="T25" fmla="*/ 2147483647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2147483647 w 93"/>
                <a:gd name="T81" fmla="*/ 0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3"/>
                <a:gd name="T124" fmla="*/ 0 h 82"/>
                <a:gd name="T125" fmla="*/ 93 w 93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3" h="82">
                  <a:moveTo>
                    <a:pt x="3" y="0"/>
                  </a:moveTo>
                  <a:lnTo>
                    <a:pt x="12" y="4"/>
                  </a:lnTo>
                  <a:lnTo>
                    <a:pt x="26" y="10"/>
                  </a:lnTo>
                  <a:lnTo>
                    <a:pt x="32" y="12"/>
                  </a:lnTo>
                  <a:lnTo>
                    <a:pt x="40" y="19"/>
                  </a:lnTo>
                  <a:lnTo>
                    <a:pt x="46" y="22"/>
                  </a:lnTo>
                  <a:lnTo>
                    <a:pt x="47" y="30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4" y="43"/>
                  </a:lnTo>
                  <a:lnTo>
                    <a:pt x="59" y="44"/>
                  </a:lnTo>
                  <a:lnTo>
                    <a:pt x="59" y="47"/>
                  </a:lnTo>
                  <a:lnTo>
                    <a:pt x="63" y="54"/>
                  </a:lnTo>
                  <a:lnTo>
                    <a:pt x="69" y="54"/>
                  </a:lnTo>
                  <a:lnTo>
                    <a:pt x="69" y="59"/>
                  </a:lnTo>
                  <a:lnTo>
                    <a:pt x="73" y="67"/>
                  </a:lnTo>
                  <a:lnTo>
                    <a:pt x="80" y="69"/>
                  </a:lnTo>
                  <a:lnTo>
                    <a:pt x="91" y="77"/>
                  </a:lnTo>
                  <a:lnTo>
                    <a:pt x="93" y="81"/>
                  </a:lnTo>
                  <a:lnTo>
                    <a:pt x="90" y="82"/>
                  </a:lnTo>
                  <a:lnTo>
                    <a:pt x="83" y="79"/>
                  </a:lnTo>
                  <a:lnTo>
                    <a:pt x="75" y="77"/>
                  </a:lnTo>
                  <a:lnTo>
                    <a:pt x="66" y="77"/>
                  </a:lnTo>
                  <a:lnTo>
                    <a:pt x="61" y="73"/>
                  </a:lnTo>
                  <a:lnTo>
                    <a:pt x="59" y="67"/>
                  </a:lnTo>
                  <a:lnTo>
                    <a:pt x="54" y="64"/>
                  </a:lnTo>
                  <a:lnTo>
                    <a:pt x="51" y="57"/>
                  </a:lnTo>
                  <a:lnTo>
                    <a:pt x="46" y="56"/>
                  </a:lnTo>
                  <a:lnTo>
                    <a:pt x="36" y="51"/>
                  </a:lnTo>
                  <a:lnTo>
                    <a:pt x="30" y="52"/>
                  </a:lnTo>
                  <a:lnTo>
                    <a:pt x="31" y="58"/>
                  </a:lnTo>
                  <a:lnTo>
                    <a:pt x="23" y="58"/>
                  </a:lnTo>
                  <a:lnTo>
                    <a:pt x="22" y="60"/>
                  </a:lnTo>
                  <a:lnTo>
                    <a:pt x="27" y="65"/>
                  </a:lnTo>
                  <a:lnTo>
                    <a:pt x="23" y="68"/>
                  </a:lnTo>
                  <a:lnTo>
                    <a:pt x="6" y="68"/>
                  </a:lnTo>
                  <a:lnTo>
                    <a:pt x="4" y="47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1" name="Freeform 447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2147483647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0 w 37"/>
                <a:gd name="T17" fmla="*/ 2147483647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0 h 22"/>
                <a:gd name="T34" fmla="*/ 2147483647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31" y="2"/>
                  </a:move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2" name="Freeform 448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0 h 24"/>
                <a:gd name="T2" fmla="*/ 2147483647 w 28"/>
                <a:gd name="T3" fmla="*/ 2147483647 h 24"/>
                <a:gd name="T4" fmla="*/ 2147483647 w 28"/>
                <a:gd name="T5" fmla="*/ 2147483647 h 24"/>
                <a:gd name="T6" fmla="*/ 2147483647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0 w 28"/>
                <a:gd name="T25" fmla="*/ 2147483647 h 24"/>
                <a:gd name="T26" fmla="*/ 0 w 28"/>
                <a:gd name="T27" fmla="*/ 0 h 24"/>
                <a:gd name="T28" fmla="*/ 2147483647 w 28"/>
                <a:gd name="T29" fmla="*/ 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3" y="0"/>
                  </a:moveTo>
                  <a:lnTo>
                    <a:pt x="7" y="2"/>
                  </a:lnTo>
                  <a:lnTo>
                    <a:pt x="12" y="3"/>
                  </a:lnTo>
                  <a:lnTo>
                    <a:pt x="18" y="7"/>
                  </a:lnTo>
                  <a:lnTo>
                    <a:pt x="23" y="13"/>
                  </a:lnTo>
                  <a:lnTo>
                    <a:pt x="27" y="16"/>
                  </a:lnTo>
                  <a:lnTo>
                    <a:pt x="28" y="22"/>
                  </a:lnTo>
                  <a:lnTo>
                    <a:pt x="25" y="24"/>
                  </a:lnTo>
                  <a:lnTo>
                    <a:pt x="21" y="15"/>
                  </a:lnTo>
                  <a:lnTo>
                    <a:pt x="18" y="14"/>
                  </a:lnTo>
                  <a:lnTo>
                    <a:pt x="15" y="8"/>
                  </a:lnTo>
                  <a:lnTo>
                    <a:pt x="7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3" name="Freeform 449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0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2147483647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1" y="0"/>
                  </a:lnTo>
                  <a:lnTo>
                    <a:pt x="9" y="8"/>
                  </a:lnTo>
                  <a:lnTo>
                    <a:pt x="10" y="10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5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4" name="Freeform 450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0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4"/>
                  </a:moveTo>
                  <a:lnTo>
                    <a:pt x="1" y="0"/>
                  </a:lnTo>
                  <a:lnTo>
                    <a:pt x="5" y="2"/>
                  </a:lnTo>
                  <a:lnTo>
                    <a:pt x="9" y="7"/>
                  </a:lnTo>
                  <a:lnTo>
                    <a:pt x="6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5" name="Freeform 451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0 w 14"/>
                <a:gd name="T1" fmla="*/ 2147483647 h 10"/>
                <a:gd name="T2" fmla="*/ 0 w 14"/>
                <a:gd name="T3" fmla="*/ 2147483647 h 10"/>
                <a:gd name="T4" fmla="*/ 2147483647 w 14"/>
                <a:gd name="T5" fmla="*/ 0 h 10"/>
                <a:gd name="T6" fmla="*/ 2147483647 w 14"/>
                <a:gd name="T7" fmla="*/ 2147483647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0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1" y="5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6" name="Freeform 452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0 w 11"/>
                <a:gd name="T3" fmla="*/ 2147483647 h 13"/>
                <a:gd name="T4" fmla="*/ 2147483647 w 11"/>
                <a:gd name="T5" fmla="*/ 0 h 13"/>
                <a:gd name="T6" fmla="*/ 2147483647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" y="6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5" y="1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7" y="12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7" name="Freeform 453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2147483647 h 7"/>
                <a:gd name="T2" fmla="*/ 2147483647 w 8"/>
                <a:gd name="T3" fmla="*/ 2147483647 h 7"/>
                <a:gd name="T4" fmla="*/ 0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6" y="7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8" y="6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8" name="Freeform 454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2147483647 w 6"/>
                <a:gd name="T1" fmla="*/ 2147483647 h 4"/>
                <a:gd name="T2" fmla="*/ 0 w 6"/>
                <a:gd name="T3" fmla="*/ 2147483647 h 4"/>
                <a:gd name="T4" fmla="*/ 0 w 6"/>
                <a:gd name="T5" fmla="*/ 2147483647 h 4"/>
                <a:gd name="T6" fmla="*/ 2147483647 w 6"/>
                <a:gd name="T7" fmla="*/ 0 h 4"/>
                <a:gd name="T8" fmla="*/ 2147483647 w 6"/>
                <a:gd name="T9" fmla="*/ 2147483647 h 4"/>
                <a:gd name="T10" fmla="*/ 2147483647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2" y="4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59" name="Freeform 455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2147483647 w 8"/>
                <a:gd name="T1" fmla="*/ 2147483647 h 5"/>
                <a:gd name="T2" fmla="*/ 0 w 8"/>
                <a:gd name="T3" fmla="*/ 2147483647 h 5"/>
                <a:gd name="T4" fmla="*/ 0 w 8"/>
                <a:gd name="T5" fmla="*/ 0 h 5"/>
                <a:gd name="T6" fmla="*/ 2147483647 w 8"/>
                <a:gd name="T7" fmla="*/ 0 h 5"/>
                <a:gd name="T8" fmla="*/ 2147483647 w 8"/>
                <a:gd name="T9" fmla="*/ 2147483647 h 5"/>
                <a:gd name="T10" fmla="*/ 2147483647 w 8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4" y="5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0" name="Freeform 456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1" name="Freeform 457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0 w 5"/>
                <a:gd name="T3" fmla="*/ 2147483647 h 4"/>
                <a:gd name="T4" fmla="*/ 2147483647 w 5"/>
                <a:gd name="T5" fmla="*/ 0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5" y="3"/>
                  </a:lnTo>
                  <a:lnTo>
                    <a:pt x="3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2" name="Freeform 458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3" name="Freeform 459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4" name="Freeform 460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5" name="Freeform 461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6" name="Freeform 462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7" name="Freeform 463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8" name="Freeform 464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69" name="Freeform 465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0" name="Freeform 466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1" name="Freeform 467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2" name="Freeform 468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3" name="Freeform 469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4" name="Freeform 470"/>
            <p:cNvSpPr>
              <a:spLocks/>
            </p:cNvSpPr>
            <p:nvPr/>
          </p:nvSpPr>
          <p:spPr bwMode="gray">
            <a:xfrm>
              <a:off x="4951" y="3494"/>
              <a:ext cx="5" cy="6"/>
            </a:xfrm>
            <a:custGeom>
              <a:avLst/>
              <a:gdLst>
                <a:gd name="T0" fmla="*/ 2147483647 w 4"/>
                <a:gd name="T1" fmla="*/ 2147483647 h 4"/>
                <a:gd name="T2" fmla="*/ 0 w 4"/>
                <a:gd name="T3" fmla="*/ 2147483647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1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5" name="Freeform 471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0 h 5"/>
                <a:gd name="T4" fmla="*/ 2147483647 w 3"/>
                <a:gd name="T5" fmla="*/ 0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6" name="Freeform 472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7" name="Freeform 473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2147483647 h 39"/>
                <a:gd name="T8" fmla="*/ 2147483647 w 37"/>
                <a:gd name="T9" fmla="*/ 2147483647 h 39"/>
                <a:gd name="T10" fmla="*/ 2147483647 w 37"/>
                <a:gd name="T11" fmla="*/ 2147483647 h 39"/>
                <a:gd name="T12" fmla="*/ 2147483647 w 37"/>
                <a:gd name="T13" fmla="*/ 0 h 39"/>
                <a:gd name="T14" fmla="*/ 2147483647 w 37"/>
                <a:gd name="T15" fmla="*/ 0 h 39"/>
                <a:gd name="T16" fmla="*/ 0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37" y="2"/>
                  </a:move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8" name="Freeform 474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2147483647 w 4"/>
                <a:gd name="T5" fmla="*/ 2147483647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2147483647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2" y="10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79" name="Freeform 475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2"/>
                  </a:moveTo>
                  <a:lnTo>
                    <a:pt x="1" y="0"/>
                  </a:lnTo>
                  <a:lnTo>
                    <a:pt x="6" y="4"/>
                  </a:lnTo>
                  <a:lnTo>
                    <a:pt x="5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0" name="Freeform 476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1" name="Freeform 477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0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2" name="Freeform 478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3" name="Freeform 479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4" name="Freeform 480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w 26"/>
                <a:gd name="T23" fmla="*/ 2147483647 h 21"/>
                <a:gd name="T24" fmla="*/ 0 w 26"/>
                <a:gd name="T25" fmla="*/ 0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4" y="1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5" y="9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5" y="21"/>
                  </a:lnTo>
                  <a:lnTo>
                    <a:pt x="19" y="19"/>
                  </a:lnTo>
                  <a:lnTo>
                    <a:pt x="9" y="12"/>
                  </a:lnTo>
                  <a:lnTo>
                    <a:pt x="7" y="11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5" name="Freeform 481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0 h 8"/>
                <a:gd name="T8" fmla="*/ 0 w 10"/>
                <a:gd name="T9" fmla="*/ 2147483647 h 8"/>
                <a:gd name="T10" fmla="*/ 0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3" y="8"/>
                  </a:move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6" name="Freeform 482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2147483647 w 14"/>
                <a:gd name="T3" fmla="*/ 2147483647 h 8"/>
                <a:gd name="T4" fmla="*/ 2147483647 w 14"/>
                <a:gd name="T5" fmla="*/ 0 h 8"/>
                <a:gd name="T6" fmla="*/ 2147483647 w 14"/>
                <a:gd name="T7" fmla="*/ 2147483647 h 8"/>
                <a:gd name="T8" fmla="*/ 0 w 14"/>
                <a:gd name="T9" fmla="*/ 2147483647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4" y="8"/>
                  </a:move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lnTo>
                    <a:pt x="0" y="7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7" name="Freeform 483"/>
            <p:cNvSpPr>
              <a:spLocks/>
            </p:cNvSpPr>
            <p:nvPr/>
          </p:nvSpPr>
          <p:spPr bwMode="gray">
            <a:xfrm>
              <a:off x="4817" y="3351"/>
              <a:ext cx="69" cy="117"/>
            </a:xfrm>
            <a:custGeom>
              <a:avLst/>
              <a:gdLst>
                <a:gd name="T0" fmla="*/ 2147483647 w 53"/>
                <a:gd name="T1" fmla="*/ 2147483647 h 90"/>
                <a:gd name="T2" fmla="*/ 0 w 53"/>
                <a:gd name="T3" fmla="*/ 2147483647 h 90"/>
                <a:gd name="T4" fmla="*/ 0 w 53"/>
                <a:gd name="T5" fmla="*/ 0 h 90"/>
                <a:gd name="T6" fmla="*/ 2147483647 w 53"/>
                <a:gd name="T7" fmla="*/ 2147483647 h 90"/>
                <a:gd name="T8" fmla="*/ 2147483647 w 53"/>
                <a:gd name="T9" fmla="*/ 2147483647 h 90"/>
                <a:gd name="T10" fmla="*/ 2147483647 w 53"/>
                <a:gd name="T11" fmla="*/ 2147483647 h 90"/>
                <a:gd name="T12" fmla="*/ 2147483647 w 53"/>
                <a:gd name="T13" fmla="*/ 2147483647 h 90"/>
                <a:gd name="T14" fmla="*/ 2147483647 w 53"/>
                <a:gd name="T15" fmla="*/ 2147483647 h 90"/>
                <a:gd name="T16" fmla="*/ 2147483647 w 53"/>
                <a:gd name="T17" fmla="*/ 2147483647 h 90"/>
                <a:gd name="T18" fmla="*/ 2147483647 w 53"/>
                <a:gd name="T19" fmla="*/ 2147483647 h 90"/>
                <a:gd name="T20" fmla="*/ 2147483647 w 53"/>
                <a:gd name="T21" fmla="*/ 2147483647 h 90"/>
                <a:gd name="T22" fmla="*/ 2147483647 w 53"/>
                <a:gd name="T23" fmla="*/ 2147483647 h 90"/>
                <a:gd name="T24" fmla="*/ 2147483647 w 53"/>
                <a:gd name="T25" fmla="*/ 2147483647 h 90"/>
                <a:gd name="T26" fmla="*/ 2147483647 w 53"/>
                <a:gd name="T27" fmla="*/ 2147483647 h 90"/>
                <a:gd name="T28" fmla="*/ 2147483647 w 53"/>
                <a:gd name="T29" fmla="*/ 2147483647 h 90"/>
                <a:gd name="T30" fmla="*/ 2147483647 w 53"/>
                <a:gd name="T31" fmla="*/ 2147483647 h 90"/>
                <a:gd name="T32" fmla="*/ 2147483647 w 53"/>
                <a:gd name="T33" fmla="*/ 2147483647 h 90"/>
                <a:gd name="T34" fmla="*/ 2147483647 w 53"/>
                <a:gd name="T35" fmla="*/ 2147483647 h 90"/>
                <a:gd name="T36" fmla="*/ 2147483647 w 53"/>
                <a:gd name="T37" fmla="*/ 2147483647 h 90"/>
                <a:gd name="T38" fmla="*/ 2147483647 w 53"/>
                <a:gd name="T39" fmla="*/ 2147483647 h 90"/>
                <a:gd name="T40" fmla="*/ 2147483647 w 53"/>
                <a:gd name="T41" fmla="*/ 2147483647 h 90"/>
                <a:gd name="T42" fmla="*/ 2147483647 w 53"/>
                <a:gd name="T43" fmla="*/ 2147483647 h 90"/>
                <a:gd name="T44" fmla="*/ 2147483647 w 53"/>
                <a:gd name="T45" fmla="*/ 2147483647 h 90"/>
                <a:gd name="T46" fmla="*/ 2147483647 w 53"/>
                <a:gd name="T47" fmla="*/ 2147483647 h 90"/>
                <a:gd name="T48" fmla="*/ 2147483647 w 53"/>
                <a:gd name="T49" fmla="*/ 2147483647 h 90"/>
                <a:gd name="T50" fmla="*/ 2147483647 w 53"/>
                <a:gd name="T51" fmla="*/ 2147483647 h 90"/>
                <a:gd name="T52" fmla="*/ 2147483647 w 53"/>
                <a:gd name="T53" fmla="*/ 2147483647 h 90"/>
                <a:gd name="T54" fmla="*/ 2147483647 w 53"/>
                <a:gd name="T55" fmla="*/ 2147483647 h 90"/>
                <a:gd name="T56" fmla="*/ 2147483647 w 53"/>
                <a:gd name="T57" fmla="*/ 2147483647 h 90"/>
                <a:gd name="T58" fmla="*/ 2147483647 w 53"/>
                <a:gd name="T59" fmla="*/ 2147483647 h 90"/>
                <a:gd name="T60" fmla="*/ 2147483647 w 53"/>
                <a:gd name="T61" fmla="*/ 2147483647 h 90"/>
                <a:gd name="T62" fmla="*/ 2147483647 w 53"/>
                <a:gd name="T63" fmla="*/ 2147483647 h 90"/>
                <a:gd name="T64" fmla="*/ 2147483647 w 53"/>
                <a:gd name="T65" fmla="*/ 2147483647 h 90"/>
                <a:gd name="T66" fmla="*/ 2147483647 w 53"/>
                <a:gd name="T67" fmla="*/ 2147483647 h 90"/>
                <a:gd name="T68" fmla="*/ 2147483647 w 53"/>
                <a:gd name="T69" fmla="*/ 2147483647 h 90"/>
                <a:gd name="T70" fmla="*/ 2147483647 w 53"/>
                <a:gd name="T71" fmla="*/ 2147483647 h 90"/>
                <a:gd name="T72" fmla="*/ 2147483647 w 53"/>
                <a:gd name="T73" fmla="*/ 2147483647 h 90"/>
                <a:gd name="T74" fmla="*/ 2147483647 w 53"/>
                <a:gd name="T75" fmla="*/ 2147483647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90"/>
                <a:gd name="T116" fmla="*/ 53 w 53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90">
                  <a:moveTo>
                    <a:pt x="3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7" y="15"/>
                  </a:lnTo>
                  <a:lnTo>
                    <a:pt x="17" y="20"/>
                  </a:lnTo>
                  <a:lnTo>
                    <a:pt x="21" y="29"/>
                  </a:lnTo>
                  <a:lnTo>
                    <a:pt x="24" y="32"/>
                  </a:lnTo>
                  <a:lnTo>
                    <a:pt x="26" y="30"/>
                  </a:lnTo>
                  <a:lnTo>
                    <a:pt x="25" y="25"/>
                  </a:lnTo>
                  <a:lnTo>
                    <a:pt x="29" y="30"/>
                  </a:lnTo>
                  <a:lnTo>
                    <a:pt x="31" y="39"/>
                  </a:lnTo>
                  <a:lnTo>
                    <a:pt x="38" y="44"/>
                  </a:lnTo>
                  <a:lnTo>
                    <a:pt x="45" y="42"/>
                  </a:lnTo>
                  <a:lnTo>
                    <a:pt x="47" y="37"/>
                  </a:lnTo>
                  <a:lnTo>
                    <a:pt x="53" y="35"/>
                  </a:lnTo>
                  <a:lnTo>
                    <a:pt x="53" y="44"/>
                  </a:lnTo>
                  <a:lnTo>
                    <a:pt x="50" y="48"/>
                  </a:lnTo>
                  <a:lnTo>
                    <a:pt x="49" y="61"/>
                  </a:lnTo>
                  <a:lnTo>
                    <a:pt x="44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40" y="66"/>
                  </a:lnTo>
                  <a:lnTo>
                    <a:pt x="36" y="70"/>
                  </a:lnTo>
                  <a:lnTo>
                    <a:pt x="28" y="88"/>
                  </a:lnTo>
                  <a:lnTo>
                    <a:pt x="23" y="90"/>
                  </a:lnTo>
                  <a:lnTo>
                    <a:pt x="17" y="87"/>
                  </a:lnTo>
                  <a:lnTo>
                    <a:pt x="22" y="81"/>
                  </a:lnTo>
                  <a:lnTo>
                    <a:pt x="23" y="74"/>
                  </a:lnTo>
                  <a:lnTo>
                    <a:pt x="17" y="66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20" y="48"/>
                  </a:lnTo>
                  <a:lnTo>
                    <a:pt x="17" y="33"/>
                  </a:lnTo>
                  <a:lnTo>
                    <a:pt x="13" y="25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8" name="Freeform 484"/>
            <p:cNvSpPr>
              <a:spLocks/>
            </p:cNvSpPr>
            <p:nvPr/>
          </p:nvSpPr>
          <p:spPr bwMode="gray">
            <a:xfrm>
              <a:off x="4744" y="3454"/>
              <a:ext cx="88" cy="106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0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0 h 81"/>
                <a:gd name="T52" fmla="*/ 2147483647 w 68"/>
                <a:gd name="T53" fmla="*/ 2147483647 h 8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8"/>
                <a:gd name="T82" fmla="*/ 0 h 81"/>
                <a:gd name="T83" fmla="*/ 68 w 68"/>
                <a:gd name="T84" fmla="*/ 81 h 8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8" h="81">
                  <a:moveTo>
                    <a:pt x="58" y="3"/>
                  </a:moveTo>
                  <a:lnTo>
                    <a:pt x="58" y="9"/>
                  </a:lnTo>
                  <a:lnTo>
                    <a:pt x="61" y="9"/>
                  </a:lnTo>
                  <a:lnTo>
                    <a:pt x="63" y="5"/>
                  </a:lnTo>
                  <a:lnTo>
                    <a:pt x="68" y="6"/>
                  </a:lnTo>
                  <a:lnTo>
                    <a:pt x="67" y="21"/>
                  </a:lnTo>
                  <a:lnTo>
                    <a:pt x="61" y="30"/>
                  </a:lnTo>
                  <a:lnTo>
                    <a:pt x="58" y="35"/>
                  </a:lnTo>
                  <a:lnTo>
                    <a:pt x="56" y="42"/>
                  </a:lnTo>
                  <a:lnTo>
                    <a:pt x="48" y="45"/>
                  </a:lnTo>
                  <a:lnTo>
                    <a:pt x="43" y="51"/>
                  </a:lnTo>
                  <a:lnTo>
                    <a:pt x="36" y="68"/>
                  </a:lnTo>
                  <a:lnTo>
                    <a:pt x="23" y="81"/>
                  </a:lnTo>
                  <a:lnTo>
                    <a:pt x="8" y="75"/>
                  </a:lnTo>
                  <a:lnTo>
                    <a:pt x="1" y="75"/>
                  </a:lnTo>
                  <a:lnTo>
                    <a:pt x="0" y="70"/>
                  </a:lnTo>
                  <a:lnTo>
                    <a:pt x="5" y="58"/>
                  </a:lnTo>
                  <a:lnTo>
                    <a:pt x="11" y="50"/>
                  </a:lnTo>
                  <a:lnTo>
                    <a:pt x="21" y="44"/>
                  </a:lnTo>
                  <a:lnTo>
                    <a:pt x="29" y="35"/>
                  </a:lnTo>
                  <a:lnTo>
                    <a:pt x="40" y="28"/>
                  </a:lnTo>
                  <a:lnTo>
                    <a:pt x="44" y="22"/>
                  </a:lnTo>
                  <a:lnTo>
                    <a:pt x="44" y="17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6" y="0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89" name="Freeform 485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0 w 4"/>
                <a:gd name="T5" fmla="*/ 2147483647 h 7"/>
                <a:gd name="T6" fmla="*/ 2147483647 w 4"/>
                <a:gd name="T7" fmla="*/ 0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4" y="5"/>
                  </a:lnTo>
                  <a:lnTo>
                    <a:pt x="0" y="7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0" name="Freeform 486"/>
            <p:cNvSpPr>
              <a:spLocks/>
            </p:cNvSpPr>
            <p:nvPr/>
          </p:nvSpPr>
          <p:spPr bwMode="gray">
            <a:xfrm>
              <a:off x="4521" y="2927"/>
              <a:ext cx="48" cy="29"/>
            </a:xfrm>
            <a:custGeom>
              <a:avLst/>
              <a:gdLst>
                <a:gd name="T0" fmla="*/ 0 w 37"/>
                <a:gd name="T1" fmla="*/ 2147483647 h 22"/>
                <a:gd name="T2" fmla="*/ 2147483647 w 37"/>
                <a:gd name="T3" fmla="*/ 2147483647 h 22"/>
                <a:gd name="T4" fmla="*/ 2147483647 w 37"/>
                <a:gd name="T5" fmla="*/ 2147483647 h 22"/>
                <a:gd name="T6" fmla="*/ 2147483647 w 37"/>
                <a:gd name="T7" fmla="*/ 2147483647 h 22"/>
                <a:gd name="T8" fmla="*/ 2147483647 w 37"/>
                <a:gd name="T9" fmla="*/ 2147483647 h 22"/>
                <a:gd name="T10" fmla="*/ 2147483647 w 37"/>
                <a:gd name="T11" fmla="*/ 2147483647 h 22"/>
                <a:gd name="T12" fmla="*/ 2147483647 w 37"/>
                <a:gd name="T13" fmla="*/ 2147483647 h 22"/>
                <a:gd name="T14" fmla="*/ 2147483647 w 37"/>
                <a:gd name="T15" fmla="*/ 2147483647 h 22"/>
                <a:gd name="T16" fmla="*/ 2147483647 w 37"/>
                <a:gd name="T17" fmla="*/ 0 h 22"/>
                <a:gd name="T18" fmla="*/ 2147483647 w 37"/>
                <a:gd name="T19" fmla="*/ 2147483647 h 22"/>
                <a:gd name="T20" fmla="*/ 2147483647 w 37"/>
                <a:gd name="T21" fmla="*/ 2147483647 h 22"/>
                <a:gd name="T22" fmla="*/ 2147483647 w 37"/>
                <a:gd name="T23" fmla="*/ 2147483647 h 22"/>
                <a:gd name="T24" fmla="*/ 2147483647 w 37"/>
                <a:gd name="T25" fmla="*/ 2147483647 h 22"/>
                <a:gd name="T26" fmla="*/ 2147483647 w 37"/>
                <a:gd name="T27" fmla="*/ 2147483647 h 22"/>
                <a:gd name="T28" fmla="*/ 2147483647 w 37"/>
                <a:gd name="T29" fmla="*/ 2147483647 h 22"/>
                <a:gd name="T30" fmla="*/ 2147483647 w 37"/>
                <a:gd name="T31" fmla="*/ 2147483647 h 22"/>
                <a:gd name="T32" fmla="*/ 2147483647 w 37"/>
                <a:gd name="T33" fmla="*/ 2147483647 h 22"/>
                <a:gd name="T34" fmla="*/ 0 w 37"/>
                <a:gd name="T35" fmla="*/ 2147483647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"/>
                <a:gd name="T55" fmla="*/ 0 h 22"/>
                <a:gd name="T56" fmla="*/ 37 w 37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" h="22">
                  <a:moveTo>
                    <a:pt x="0" y="13"/>
                  </a:moveTo>
                  <a:lnTo>
                    <a:pt x="1" y="17"/>
                  </a:lnTo>
                  <a:lnTo>
                    <a:pt x="8" y="22"/>
                  </a:lnTo>
                  <a:lnTo>
                    <a:pt x="18" y="21"/>
                  </a:lnTo>
                  <a:lnTo>
                    <a:pt x="34" y="14"/>
                  </a:lnTo>
                  <a:lnTo>
                    <a:pt x="36" y="15"/>
                  </a:lnTo>
                  <a:lnTo>
                    <a:pt x="36" y="6"/>
                  </a:lnTo>
                  <a:lnTo>
                    <a:pt x="37" y="4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31" y="7"/>
                  </a:lnTo>
                  <a:lnTo>
                    <a:pt x="22" y="15"/>
                  </a:lnTo>
                  <a:lnTo>
                    <a:pt x="13" y="15"/>
                  </a:lnTo>
                  <a:lnTo>
                    <a:pt x="11" y="15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1" name="Freeform 487"/>
            <p:cNvSpPr>
              <a:spLocks/>
            </p:cNvSpPr>
            <p:nvPr/>
          </p:nvSpPr>
          <p:spPr bwMode="gray">
            <a:xfrm>
              <a:off x="4542" y="2904"/>
              <a:ext cx="36" cy="31"/>
            </a:xfrm>
            <a:custGeom>
              <a:avLst/>
              <a:gdLst>
                <a:gd name="T0" fmla="*/ 2147483647 w 28"/>
                <a:gd name="T1" fmla="*/ 2147483647 h 24"/>
                <a:gd name="T2" fmla="*/ 2147483647 w 28"/>
                <a:gd name="T3" fmla="*/ 0 h 24"/>
                <a:gd name="T4" fmla="*/ 0 w 28"/>
                <a:gd name="T5" fmla="*/ 0 h 24"/>
                <a:gd name="T6" fmla="*/ 0 w 28"/>
                <a:gd name="T7" fmla="*/ 2147483647 h 24"/>
                <a:gd name="T8" fmla="*/ 2147483647 w 28"/>
                <a:gd name="T9" fmla="*/ 2147483647 h 24"/>
                <a:gd name="T10" fmla="*/ 2147483647 w 28"/>
                <a:gd name="T11" fmla="*/ 2147483647 h 24"/>
                <a:gd name="T12" fmla="*/ 2147483647 w 28"/>
                <a:gd name="T13" fmla="*/ 2147483647 h 24"/>
                <a:gd name="T14" fmla="*/ 2147483647 w 28"/>
                <a:gd name="T15" fmla="*/ 2147483647 h 24"/>
                <a:gd name="T16" fmla="*/ 2147483647 w 28"/>
                <a:gd name="T17" fmla="*/ 2147483647 h 24"/>
                <a:gd name="T18" fmla="*/ 2147483647 w 28"/>
                <a:gd name="T19" fmla="*/ 2147483647 h 24"/>
                <a:gd name="T20" fmla="*/ 2147483647 w 28"/>
                <a:gd name="T21" fmla="*/ 2147483647 h 24"/>
                <a:gd name="T22" fmla="*/ 2147483647 w 28"/>
                <a:gd name="T23" fmla="*/ 2147483647 h 24"/>
                <a:gd name="T24" fmla="*/ 2147483647 w 28"/>
                <a:gd name="T25" fmla="*/ 2147483647 h 24"/>
                <a:gd name="T26" fmla="*/ 2147483647 w 28"/>
                <a:gd name="T27" fmla="*/ 2147483647 h 24"/>
                <a:gd name="T28" fmla="*/ 2147483647 w 28"/>
                <a:gd name="T29" fmla="*/ 2147483647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4"/>
                <a:gd name="T47" fmla="*/ 28 w 28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4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7" y="5"/>
                  </a:lnTo>
                  <a:lnTo>
                    <a:pt x="15" y="8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5" y="24"/>
                  </a:lnTo>
                  <a:lnTo>
                    <a:pt x="28" y="22"/>
                  </a:lnTo>
                  <a:lnTo>
                    <a:pt x="27" y="16"/>
                  </a:lnTo>
                  <a:lnTo>
                    <a:pt x="23" y="13"/>
                  </a:lnTo>
                  <a:lnTo>
                    <a:pt x="18" y="7"/>
                  </a:lnTo>
                  <a:lnTo>
                    <a:pt x="12" y="3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2" name="Freeform 488"/>
            <p:cNvSpPr>
              <a:spLocks/>
            </p:cNvSpPr>
            <p:nvPr/>
          </p:nvSpPr>
          <p:spPr bwMode="gray">
            <a:xfrm>
              <a:off x="4598" y="2946"/>
              <a:ext cx="13" cy="19"/>
            </a:xfrm>
            <a:custGeom>
              <a:avLst/>
              <a:gdLst>
                <a:gd name="T0" fmla="*/ 0 w 10"/>
                <a:gd name="T1" fmla="*/ 2147483647 h 15"/>
                <a:gd name="T2" fmla="*/ 2147483647 w 10"/>
                <a:gd name="T3" fmla="*/ 2147483647 h 15"/>
                <a:gd name="T4" fmla="*/ 2147483647 w 10"/>
                <a:gd name="T5" fmla="*/ 2147483647 h 15"/>
                <a:gd name="T6" fmla="*/ 2147483647 w 10"/>
                <a:gd name="T7" fmla="*/ 2147483647 h 15"/>
                <a:gd name="T8" fmla="*/ 2147483647 w 10"/>
                <a:gd name="T9" fmla="*/ 2147483647 h 15"/>
                <a:gd name="T10" fmla="*/ 2147483647 w 10"/>
                <a:gd name="T11" fmla="*/ 2147483647 h 15"/>
                <a:gd name="T12" fmla="*/ 2147483647 w 10"/>
                <a:gd name="T13" fmla="*/ 2147483647 h 15"/>
                <a:gd name="T14" fmla="*/ 2147483647 w 10"/>
                <a:gd name="T15" fmla="*/ 2147483647 h 15"/>
                <a:gd name="T16" fmla="*/ 2147483647 w 10"/>
                <a:gd name="T17" fmla="*/ 0 h 15"/>
                <a:gd name="T18" fmla="*/ 0 w 1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5"/>
                <a:gd name="T32" fmla="*/ 10 w 1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5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8" y="13"/>
                  </a:lnTo>
                  <a:lnTo>
                    <a:pt x="10" y="15"/>
                  </a:lnTo>
                  <a:lnTo>
                    <a:pt x="10" y="10"/>
                  </a:lnTo>
                  <a:lnTo>
                    <a:pt x="9" y="8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3" name="Freeform 489"/>
            <p:cNvSpPr>
              <a:spLocks/>
            </p:cNvSpPr>
            <p:nvPr/>
          </p:nvSpPr>
          <p:spPr bwMode="gray">
            <a:xfrm>
              <a:off x="4619" y="2959"/>
              <a:ext cx="11" cy="1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0 h 8"/>
                <a:gd name="T6" fmla="*/ 0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9" y="7"/>
                  </a:moveTo>
                  <a:lnTo>
                    <a:pt x="5" y="2"/>
                  </a:lnTo>
                  <a:lnTo>
                    <a:pt x="1" y="0"/>
                  </a:lnTo>
                  <a:lnTo>
                    <a:pt x="0" y="4"/>
                  </a:lnTo>
                  <a:lnTo>
                    <a:pt x="6" y="8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4" name="Freeform 490"/>
            <p:cNvSpPr>
              <a:spLocks/>
            </p:cNvSpPr>
            <p:nvPr/>
          </p:nvSpPr>
          <p:spPr bwMode="gray">
            <a:xfrm>
              <a:off x="4642" y="2970"/>
              <a:ext cx="18" cy="13"/>
            </a:xfrm>
            <a:custGeom>
              <a:avLst/>
              <a:gdLst>
                <a:gd name="T0" fmla="*/ 2147483647 w 14"/>
                <a:gd name="T1" fmla="*/ 2147483647 h 10"/>
                <a:gd name="T2" fmla="*/ 2147483647 w 14"/>
                <a:gd name="T3" fmla="*/ 2147483647 h 10"/>
                <a:gd name="T4" fmla="*/ 2147483647 w 14"/>
                <a:gd name="T5" fmla="*/ 0 h 10"/>
                <a:gd name="T6" fmla="*/ 0 w 14"/>
                <a:gd name="T7" fmla="*/ 2147483647 h 10"/>
                <a:gd name="T8" fmla="*/ 0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14" y="10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1" y="10"/>
                  </a:lnTo>
                  <a:lnTo>
                    <a:pt x="1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5" name="Freeform 491"/>
            <p:cNvSpPr>
              <a:spLocks/>
            </p:cNvSpPr>
            <p:nvPr/>
          </p:nvSpPr>
          <p:spPr bwMode="gray">
            <a:xfrm>
              <a:off x="4668" y="2985"/>
              <a:ext cx="14" cy="17"/>
            </a:xfrm>
            <a:custGeom>
              <a:avLst/>
              <a:gdLst>
                <a:gd name="T0" fmla="*/ 2147483647 w 11"/>
                <a:gd name="T1" fmla="*/ 2147483647 h 13"/>
                <a:gd name="T2" fmla="*/ 2147483647 w 11"/>
                <a:gd name="T3" fmla="*/ 2147483647 h 13"/>
                <a:gd name="T4" fmla="*/ 2147483647 w 11"/>
                <a:gd name="T5" fmla="*/ 0 h 13"/>
                <a:gd name="T6" fmla="*/ 0 w 11"/>
                <a:gd name="T7" fmla="*/ 2147483647 h 13"/>
                <a:gd name="T8" fmla="*/ 2147483647 w 11"/>
                <a:gd name="T9" fmla="*/ 2147483647 h 13"/>
                <a:gd name="T10" fmla="*/ 2147483647 w 11"/>
                <a:gd name="T11" fmla="*/ 2147483647 h 13"/>
                <a:gd name="T12" fmla="*/ 2147483647 w 11"/>
                <a:gd name="T13" fmla="*/ 2147483647 h 13"/>
                <a:gd name="T14" fmla="*/ 2147483647 w 11"/>
                <a:gd name="T15" fmla="*/ 2147483647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11" y="10"/>
                  </a:moveTo>
                  <a:lnTo>
                    <a:pt x="5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7" y="12"/>
                  </a:lnTo>
                  <a:lnTo>
                    <a:pt x="10" y="13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6" name="Freeform 492"/>
            <p:cNvSpPr>
              <a:spLocks/>
            </p:cNvSpPr>
            <p:nvPr/>
          </p:nvSpPr>
          <p:spPr bwMode="gray">
            <a:xfrm>
              <a:off x="4679" y="3008"/>
              <a:ext cx="10" cy="9"/>
            </a:xfrm>
            <a:custGeom>
              <a:avLst/>
              <a:gdLst>
                <a:gd name="T0" fmla="*/ 2147483647 w 8"/>
                <a:gd name="T1" fmla="*/ 0 h 7"/>
                <a:gd name="T2" fmla="*/ 0 w 8"/>
                <a:gd name="T3" fmla="*/ 0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4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6" y="7"/>
                  </a:lnTo>
                  <a:lnTo>
                    <a:pt x="8" y="6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7" name="Freeform 493"/>
            <p:cNvSpPr>
              <a:spLocks/>
            </p:cNvSpPr>
            <p:nvPr/>
          </p:nvSpPr>
          <p:spPr bwMode="gray">
            <a:xfrm>
              <a:off x="4660" y="3023"/>
              <a:ext cx="8" cy="5"/>
            </a:xfrm>
            <a:custGeom>
              <a:avLst/>
              <a:gdLst>
                <a:gd name="T0" fmla="*/ 0 w 6"/>
                <a:gd name="T1" fmla="*/ 2147483647 h 4"/>
                <a:gd name="T2" fmla="*/ 0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2147483647 w 6"/>
                <a:gd name="T9" fmla="*/ 0 h 4"/>
                <a:gd name="T10" fmla="*/ 0 w 6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0" y="1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8" name="Freeform 494"/>
            <p:cNvSpPr>
              <a:spLocks/>
            </p:cNvSpPr>
            <p:nvPr/>
          </p:nvSpPr>
          <p:spPr bwMode="gray">
            <a:xfrm>
              <a:off x="4659" y="2995"/>
              <a:ext cx="10" cy="7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0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8" y="3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299" name="Freeform 495"/>
            <p:cNvSpPr>
              <a:spLocks/>
            </p:cNvSpPr>
            <p:nvPr/>
          </p:nvSpPr>
          <p:spPr bwMode="gray">
            <a:xfrm>
              <a:off x="4551" y="3002"/>
              <a:ext cx="5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2147483647 h 7"/>
                <a:gd name="T8" fmla="*/ 2147483647 w 4"/>
                <a:gd name="T9" fmla="*/ 2147483647 h 7"/>
                <a:gd name="T10" fmla="*/ 2147483647 w 4"/>
                <a:gd name="T11" fmla="*/ 0 h 7"/>
                <a:gd name="T12" fmla="*/ 0 w 4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0" y="2"/>
                  </a:moveTo>
                  <a:lnTo>
                    <a:pt x="1" y="4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0" name="Freeform 496"/>
            <p:cNvSpPr>
              <a:spLocks/>
            </p:cNvSpPr>
            <p:nvPr/>
          </p:nvSpPr>
          <p:spPr bwMode="gray">
            <a:xfrm>
              <a:off x="4572" y="3012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0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lnTo>
                    <a:pt x="3" y="4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1" name="Freeform 497"/>
            <p:cNvSpPr>
              <a:spLocks/>
            </p:cNvSpPr>
            <p:nvPr/>
          </p:nvSpPr>
          <p:spPr bwMode="gray">
            <a:xfrm>
              <a:off x="4467" y="3444"/>
              <a:ext cx="4" cy="6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2"/>
                  </a:moveTo>
                  <a:lnTo>
                    <a:pt x="1" y="5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2" name="Freeform 498"/>
            <p:cNvSpPr>
              <a:spLocks/>
            </p:cNvSpPr>
            <p:nvPr/>
          </p:nvSpPr>
          <p:spPr bwMode="gray">
            <a:xfrm>
              <a:off x="4517" y="3444"/>
              <a:ext cx="5" cy="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0 h 6"/>
                <a:gd name="T6" fmla="*/ 0 w 4"/>
                <a:gd name="T7" fmla="*/ 2147483647 h 6"/>
                <a:gd name="T8" fmla="*/ 0 w 4"/>
                <a:gd name="T9" fmla="*/ 2147483647 h 6"/>
                <a:gd name="T10" fmla="*/ 2147483647 w 4"/>
                <a:gd name="T11" fmla="*/ 2147483647 h 6"/>
                <a:gd name="T12" fmla="*/ 2147483647 w 4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6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3" name="Freeform 499"/>
            <p:cNvSpPr>
              <a:spLocks/>
            </p:cNvSpPr>
            <p:nvPr/>
          </p:nvSpPr>
          <p:spPr bwMode="gray">
            <a:xfrm>
              <a:off x="4475" y="3460"/>
              <a:ext cx="48" cy="51"/>
            </a:xfrm>
            <a:custGeom>
              <a:avLst/>
              <a:gdLst>
                <a:gd name="T0" fmla="*/ 2147483647 w 37"/>
                <a:gd name="T1" fmla="*/ 2147483647 h 39"/>
                <a:gd name="T2" fmla="*/ 2147483647 w 37"/>
                <a:gd name="T3" fmla="*/ 2147483647 h 39"/>
                <a:gd name="T4" fmla="*/ 2147483647 w 37"/>
                <a:gd name="T5" fmla="*/ 2147483647 h 39"/>
                <a:gd name="T6" fmla="*/ 2147483647 w 37"/>
                <a:gd name="T7" fmla="*/ 0 h 39"/>
                <a:gd name="T8" fmla="*/ 2147483647 w 37"/>
                <a:gd name="T9" fmla="*/ 0 h 39"/>
                <a:gd name="T10" fmla="*/ 0 w 37"/>
                <a:gd name="T11" fmla="*/ 2147483647 h 39"/>
                <a:gd name="T12" fmla="*/ 2147483647 w 37"/>
                <a:gd name="T13" fmla="*/ 2147483647 h 39"/>
                <a:gd name="T14" fmla="*/ 2147483647 w 37"/>
                <a:gd name="T15" fmla="*/ 2147483647 h 39"/>
                <a:gd name="T16" fmla="*/ 2147483647 w 37"/>
                <a:gd name="T17" fmla="*/ 2147483647 h 39"/>
                <a:gd name="T18" fmla="*/ 2147483647 w 37"/>
                <a:gd name="T19" fmla="*/ 2147483647 h 39"/>
                <a:gd name="T20" fmla="*/ 2147483647 w 37"/>
                <a:gd name="T21" fmla="*/ 2147483647 h 39"/>
                <a:gd name="T22" fmla="*/ 2147483647 w 37"/>
                <a:gd name="T23" fmla="*/ 2147483647 h 39"/>
                <a:gd name="T24" fmla="*/ 2147483647 w 37"/>
                <a:gd name="T25" fmla="*/ 2147483647 h 39"/>
                <a:gd name="T26" fmla="*/ 2147483647 w 37"/>
                <a:gd name="T27" fmla="*/ 2147483647 h 39"/>
                <a:gd name="T28" fmla="*/ 2147483647 w 37"/>
                <a:gd name="T29" fmla="*/ 2147483647 h 39"/>
                <a:gd name="T30" fmla="*/ 2147483647 w 37"/>
                <a:gd name="T31" fmla="*/ 2147483647 h 39"/>
                <a:gd name="T32" fmla="*/ 2147483647 w 37"/>
                <a:gd name="T33" fmla="*/ 2147483647 h 39"/>
                <a:gd name="T34" fmla="*/ 2147483647 w 37"/>
                <a:gd name="T35" fmla="*/ 2147483647 h 39"/>
                <a:gd name="T36" fmla="*/ 2147483647 w 37"/>
                <a:gd name="T37" fmla="*/ 2147483647 h 39"/>
                <a:gd name="T38" fmla="*/ 2147483647 w 37"/>
                <a:gd name="T39" fmla="*/ 2147483647 h 39"/>
                <a:gd name="T40" fmla="*/ 2147483647 w 37"/>
                <a:gd name="T41" fmla="*/ 2147483647 h 39"/>
                <a:gd name="T42" fmla="*/ 2147483647 w 37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7"/>
                <a:gd name="T67" fmla="*/ 0 h 39"/>
                <a:gd name="T68" fmla="*/ 37 w 37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7" h="39">
                  <a:moveTo>
                    <a:pt x="25" y="6"/>
                  </a:moveTo>
                  <a:lnTo>
                    <a:pt x="20" y="7"/>
                  </a:lnTo>
                  <a:lnTo>
                    <a:pt x="12" y="4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3"/>
                  </a:lnTo>
                  <a:lnTo>
                    <a:pt x="7" y="24"/>
                  </a:lnTo>
                  <a:lnTo>
                    <a:pt x="11" y="30"/>
                  </a:lnTo>
                  <a:lnTo>
                    <a:pt x="14" y="36"/>
                  </a:lnTo>
                  <a:lnTo>
                    <a:pt x="16" y="39"/>
                  </a:lnTo>
                  <a:lnTo>
                    <a:pt x="24" y="38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26"/>
                  </a:lnTo>
                  <a:lnTo>
                    <a:pt x="35" y="22"/>
                  </a:lnTo>
                  <a:lnTo>
                    <a:pt x="37" y="11"/>
                  </a:lnTo>
                  <a:lnTo>
                    <a:pt x="37" y="2"/>
                  </a:lnTo>
                  <a:lnTo>
                    <a:pt x="33" y="1"/>
                  </a:lnTo>
                  <a:lnTo>
                    <a:pt x="30" y="1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4" name="Freeform 500"/>
            <p:cNvSpPr>
              <a:spLocks/>
            </p:cNvSpPr>
            <p:nvPr/>
          </p:nvSpPr>
          <p:spPr bwMode="gray">
            <a:xfrm>
              <a:off x="4744" y="3071"/>
              <a:ext cx="5" cy="13"/>
            </a:xfrm>
            <a:custGeom>
              <a:avLst/>
              <a:gdLst>
                <a:gd name="T0" fmla="*/ 0 w 4"/>
                <a:gd name="T1" fmla="*/ 2147483647 h 10"/>
                <a:gd name="T2" fmla="*/ 0 w 4"/>
                <a:gd name="T3" fmla="*/ 2147483647 h 10"/>
                <a:gd name="T4" fmla="*/ 2147483647 w 4"/>
                <a:gd name="T5" fmla="*/ 2147483647 h 10"/>
                <a:gd name="T6" fmla="*/ 2147483647 w 4"/>
                <a:gd name="T7" fmla="*/ 2147483647 h 10"/>
                <a:gd name="T8" fmla="*/ 2147483647 w 4"/>
                <a:gd name="T9" fmla="*/ 2147483647 h 10"/>
                <a:gd name="T10" fmla="*/ 0 w 4"/>
                <a:gd name="T11" fmla="*/ 0 h 10"/>
                <a:gd name="T12" fmla="*/ 0 w 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0"/>
                <a:gd name="T23" fmla="*/ 4 w 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0">
                  <a:moveTo>
                    <a:pt x="0" y="3"/>
                  </a:moveTo>
                  <a:lnTo>
                    <a:pt x="0" y="7"/>
                  </a:lnTo>
                  <a:lnTo>
                    <a:pt x="2" y="10"/>
                  </a:lnTo>
                  <a:lnTo>
                    <a:pt x="4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5" name="Freeform 501"/>
            <p:cNvSpPr>
              <a:spLocks/>
            </p:cNvSpPr>
            <p:nvPr/>
          </p:nvSpPr>
          <p:spPr bwMode="gray">
            <a:xfrm>
              <a:off x="4749" y="3085"/>
              <a:ext cx="8" cy="8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5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6" name="Freeform 502"/>
            <p:cNvSpPr>
              <a:spLocks/>
            </p:cNvSpPr>
            <p:nvPr/>
          </p:nvSpPr>
          <p:spPr bwMode="gray">
            <a:xfrm>
              <a:off x="4770" y="3120"/>
              <a:ext cx="5" cy="7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7" name="Freeform 503"/>
            <p:cNvSpPr>
              <a:spLocks/>
            </p:cNvSpPr>
            <p:nvPr/>
          </p:nvSpPr>
          <p:spPr bwMode="gray">
            <a:xfrm>
              <a:off x="4772" y="3132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8" name="Freeform 504"/>
            <p:cNvSpPr>
              <a:spLocks/>
            </p:cNvSpPr>
            <p:nvPr/>
          </p:nvSpPr>
          <p:spPr bwMode="gray">
            <a:xfrm>
              <a:off x="4749" y="3150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2147483647 w 3"/>
                <a:gd name="T7" fmla="*/ 0 h 4"/>
                <a:gd name="T8" fmla="*/ 0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2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09" name="Freeform 505"/>
            <p:cNvSpPr>
              <a:spLocks/>
            </p:cNvSpPr>
            <p:nvPr/>
          </p:nvSpPr>
          <p:spPr bwMode="gray">
            <a:xfrm>
              <a:off x="4740" y="3148"/>
              <a:ext cx="2" cy="2"/>
            </a:xfrm>
            <a:custGeom>
              <a:avLst/>
              <a:gdLst>
                <a:gd name="T0" fmla="*/ 2147483646 w 2"/>
                <a:gd name="T1" fmla="*/ 2147483646 h 2"/>
                <a:gd name="T2" fmla="*/ 2147483646 w 2"/>
                <a:gd name="T3" fmla="*/ 0 h 2"/>
                <a:gd name="T4" fmla="*/ 0 w 2"/>
                <a:gd name="T5" fmla="*/ 0 h 2"/>
                <a:gd name="T6" fmla="*/ 0 w 2"/>
                <a:gd name="T7" fmla="*/ 2147483646 h 2"/>
                <a:gd name="T8" fmla="*/ 2147483646 w 2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0" name="Freeform 506"/>
            <p:cNvSpPr>
              <a:spLocks/>
            </p:cNvSpPr>
            <p:nvPr/>
          </p:nvSpPr>
          <p:spPr bwMode="gray">
            <a:xfrm>
              <a:off x="4711" y="3145"/>
              <a:ext cx="34" cy="27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2147483647 w 26"/>
                <a:gd name="T9" fmla="*/ 2147483647 h 21"/>
                <a:gd name="T10" fmla="*/ 0 w 26"/>
                <a:gd name="T11" fmla="*/ 0 h 21"/>
                <a:gd name="T12" fmla="*/ 0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2147483647 w 26"/>
                <a:gd name="T23" fmla="*/ 2147483647 h 21"/>
                <a:gd name="T24" fmla="*/ 2147483647 w 26"/>
                <a:gd name="T25" fmla="*/ 2147483647 h 21"/>
                <a:gd name="T26" fmla="*/ 2147483647 w 26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"/>
                <a:gd name="T43" fmla="*/ 0 h 21"/>
                <a:gd name="T44" fmla="*/ 26 w 26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" h="21">
                  <a:moveTo>
                    <a:pt x="25" y="16"/>
                  </a:moveTo>
                  <a:lnTo>
                    <a:pt x="15" y="9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7" y="11"/>
                  </a:lnTo>
                  <a:lnTo>
                    <a:pt x="9" y="12"/>
                  </a:lnTo>
                  <a:lnTo>
                    <a:pt x="19" y="19"/>
                  </a:lnTo>
                  <a:lnTo>
                    <a:pt x="25" y="21"/>
                  </a:lnTo>
                  <a:lnTo>
                    <a:pt x="26" y="19"/>
                  </a:lnTo>
                  <a:lnTo>
                    <a:pt x="25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1" name="Freeform 507"/>
            <p:cNvSpPr>
              <a:spLocks/>
            </p:cNvSpPr>
            <p:nvPr/>
          </p:nvSpPr>
          <p:spPr bwMode="gray">
            <a:xfrm>
              <a:off x="4871" y="3106"/>
              <a:ext cx="13" cy="10"/>
            </a:xfrm>
            <a:custGeom>
              <a:avLst/>
              <a:gdLst>
                <a:gd name="T0" fmla="*/ 0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2147483647 w 10"/>
                <a:gd name="T7" fmla="*/ 2147483647 h 8"/>
                <a:gd name="T8" fmla="*/ 2147483647 w 10"/>
                <a:gd name="T9" fmla="*/ 0 h 8"/>
                <a:gd name="T10" fmla="*/ 0 w 10"/>
                <a:gd name="T11" fmla="*/ 2147483647 h 8"/>
                <a:gd name="T12" fmla="*/ 0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0" y="6"/>
                  </a:moveTo>
                  <a:lnTo>
                    <a:pt x="3" y="8"/>
                  </a:lnTo>
                  <a:lnTo>
                    <a:pt x="10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0" y="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2" name="Freeform 508"/>
            <p:cNvSpPr>
              <a:spLocks/>
            </p:cNvSpPr>
            <p:nvPr/>
          </p:nvSpPr>
          <p:spPr bwMode="gray">
            <a:xfrm>
              <a:off x="4883" y="3086"/>
              <a:ext cx="18" cy="11"/>
            </a:xfrm>
            <a:custGeom>
              <a:avLst/>
              <a:gdLst>
                <a:gd name="T0" fmla="*/ 2147483647 w 14"/>
                <a:gd name="T1" fmla="*/ 2147483647 h 8"/>
                <a:gd name="T2" fmla="*/ 0 w 14"/>
                <a:gd name="T3" fmla="*/ 2147483647 h 8"/>
                <a:gd name="T4" fmla="*/ 2147483647 w 14"/>
                <a:gd name="T5" fmla="*/ 2147483647 h 8"/>
                <a:gd name="T6" fmla="*/ 2147483647 w 14"/>
                <a:gd name="T7" fmla="*/ 2147483647 h 8"/>
                <a:gd name="T8" fmla="*/ 2147483647 w 14"/>
                <a:gd name="T9" fmla="*/ 0 h 8"/>
                <a:gd name="T10" fmla="*/ 2147483647 w 14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8" y="2"/>
                  </a:moveTo>
                  <a:lnTo>
                    <a:pt x="0" y="7"/>
                  </a:lnTo>
                  <a:lnTo>
                    <a:pt x="4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3" name="Freeform 509"/>
            <p:cNvSpPr>
              <a:spLocks noEditPoints="1"/>
            </p:cNvSpPr>
            <p:nvPr/>
          </p:nvSpPr>
          <p:spPr bwMode="gray">
            <a:xfrm>
              <a:off x="4744" y="3351"/>
              <a:ext cx="142" cy="209"/>
            </a:xfrm>
            <a:custGeom>
              <a:avLst/>
              <a:gdLst>
                <a:gd name="T0" fmla="*/ 2147483647 w 109"/>
                <a:gd name="T1" fmla="*/ 2147483647 h 160"/>
                <a:gd name="T2" fmla="*/ 2147483647 w 109"/>
                <a:gd name="T3" fmla="*/ 2147483647 h 160"/>
                <a:gd name="T4" fmla="*/ 2147483647 w 109"/>
                <a:gd name="T5" fmla="*/ 2147483647 h 160"/>
                <a:gd name="T6" fmla="*/ 2147483647 w 109"/>
                <a:gd name="T7" fmla="*/ 2147483647 h 160"/>
                <a:gd name="T8" fmla="*/ 2147483647 w 109"/>
                <a:gd name="T9" fmla="*/ 2147483647 h 160"/>
                <a:gd name="T10" fmla="*/ 2147483647 w 109"/>
                <a:gd name="T11" fmla="*/ 2147483647 h 160"/>
                <a:gd name="T12" fmla="*/ 2147483647 w 109"/>
                <a:gd name="T13" fmla="*/ 2147483647 h 160"/>
                <a:gd name="T14" fmla="*/ 2147483647 w 109"/>
                <a:gd name="T15" fmla="*/ 2147483647 h 160"/>
                <a:gd name="T16" fmla="*/ 2147483647 w 109"/>
                <a:gd name="T17" fmla="*/ 2147483647 h 160"/>
                <a:gd name="T18" fmla="*/ 2147483647 w 109"/>
                <a:gd name="T19" fmla="*/ 2147483647 h 160"/>
                <a:gd name="T20" fmla="*/ 2147483647 w 109"/>
                <a:gd name="T21" fmla="*/ 2147483647 h 160"/>
                <a:gd name="T22" fmla="*/ 2147483647 w 109"/>
                <a:gd name="T23" fmla="*/ 2147483647 h 160"/>
                <a:gd name="T24" fmla="*/ 2147483647 w 109"/>
                <a:gd name="T25" fmla="*/ 2147483647 h 160"/>
                <a:gd name="T26" fmla="*/ 2147483647 w 109"/>
                <a:gd name="T27" fmla="*/ 2147483647 h 160"/>
                <a:gd name="T28" fmla="*/ 2147483647 w 109"/>
                <a:gd name="T29" fmla="*/ 2147483647 h 160"/>
                <a:gd name="T30" fmla="*/ 2147483647 w 109"/>
                <a:gd name="T31" fmla="*/ 2147483647 h 160"/>
                <a:gd name="T32" fmla="*/ 2147483647 w 109"/>
                <a:gd name="T33" fmla="*/ 2147483647 h 160"/>
                <a:gd name="T34" fmla="*/ 2147483647 w 109"/>
                <a:gd name="T35" fmla="*/ 2147483647 h 160"/>
                <a:gd name="T36" fmla="*/ 2147483647 w 109"/>
                <a:gd name="T37" fmla="*/ 2147483647 h 160"/>
                <a:gd name="T38" fmla="*/ 2147483647 w 109"/>
                <a:gd name="T39" fmla="*/ 2147483647 h 160"/>
                <a:gd name="T40" fmla="*/ 2147483647 w 109"/>
                <a:gd name="T41" fmla="*/ 2147483647 h 160"/>
                <a:gd name="T42" fmla="*/ 2147483647 w 109"/>
                <a:gd name="T43" fmla="*/ 2147483647 h 160"/>
                <a:gd name="T44" fmla="*/ 2147483647 w 109"/>
                <a:gd name="T45" fmla="*/ 2147483647 h 160"/>
                <a:gd name="T46" fmla="*/ 2147483647 w 109"/>
                <a:gd name="T47" fmla="*/ 2147483647 h 160"/>
                <a:gd name="T48" fmla="*/ 2147483647 w 109"/>
                <a:gd name="T49" fmla="*/ 2147483647 h 160"/>
                <a:gd name="T50" fmla="*/ 0 w 109"/>
                <a:gd name="T51" fmla="*/ 2147483647 h 160"/>
                <a:gd name="T52" fmla="*/ 2147483647 w 109"/>
                <a:gd name="T53" fmla="*/ 2147483647 h 160"/>
                <a:gd name="T54" fmla="*/ 2147483647 w 109"/>
                <a:gd name="T55" fmla="*/ 2147483647 h 160"/>
                <a:gd name="T56" fmla="*/ 2147483647 w 109"/>
                <a:gd name="T57" fmla="*/ 2147483647 h 160"/>
                <a:gd name="T58" fmla="*/ 2147483647 w 109"/>
                <a:gd name="T59" fmla="*/ 2147483647 h 160"/>
                <a:gd name="T60" fmla="*/ 2147483647 w 109"/>
                <a:gd name="T61" fmla="*/ 2147483647 h 160"/>
                <a:gd name="T62" fmla="*/ 2147483647 w 109"/>
                <a:gd name="T63" fmla="*/ 2147483647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9"/>
                <a:gd name="T97" fmla="*/ 0 h 160"/>
                <a:gd name="T98" fmla="*/ 109 w 109"/>
                <a:gd name="T99" fmla="*/ 160 h 1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09" h="160">
                  <a:moveTo>
                    <a:pt x="101" y="42"/>
                  </a:moveTo>
                  <a:lnTo>
                    <a:pt x="94" y="44"/>
                  </a:lnTo>
                  <a:lnTo>
                    <a:pt x="87" y="39"/>
                  </a:lnTo>
                  <a:lnTo>
                    <a:pt x="85" y="30"/>
                  </a:lnTo>
                  <a:lnTo>
                    <a:pt x="81" y="25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7" y="29"/>
                  </a:lnTo>
                  <a:lnTo>
                    <a:pt x="73" y="20"/>
                  </a:lnTo>
                  <a:lnTo>
                    <a:pt x="73" y="15"/>
                  </a:lnTo>
                  <a:lnTo>
                    <a:pt x="69" y="10"/>
                  </a:lnTo>
                  <a:lnTo>
                    <a:pt x="66" y="10"/>
                  </a:lnTo>
                  <a:lnTo>
                    <a:pt x="56" y="0"/>
                  </a:lnTo>
                  <a:lnTo>
                    <a:pt x="56" y="5"/>
                  </a:lnTo>
                  <a:lnTo>
                    <a:pt x="59" y="10"/>
                  </a:lnTo>
                  <a:lnTo>
                    <a:pt x="69" y="25"/>
                  </a:lnTo>
                  <a:lnTo>
                    <a:pt x="73" y="33"/>
                  </a:lnTo>
                  <a:lnTo>
                    <a:pt x="76" y="48"/>
                  </a:lnTo>
                  <a:lnTo>
                    <a:pt x="74" y="57"/>
                  </a:lnTo>
                  <a:lnTo>
                    <a:pt x="66" y="59"/>
                  </a:lnTo>
                  <a:lnTo>
                    <a:pt x="66" y="64"/>
                  </a:lnTo>
                  <a:lnTo>
                    <a:pt x="73" y="66"/>
                  </a:lnTo>
                  <a:lnTo>
                    <a:pt x="79" y="74"/>
                  </a:lnTo>
                  <a:lnTo>
                    <a:pt x="78" y="81"/>
                  </a:lnTo>
                  <a:lnTo>
                    <a:pt x="73" y="87"/>
                  </a:lnTo>
                  <a:lnTo>
                    <a:pt x="79" y="90"/>
                  </a:lnTo>
                  <a:lnTo>
                    <a:pt x="84" y="88"/>
                  </a:lnTo>
                  <a:lnTo>
                    <a:pt x="92" y="70"/>
                  </a:lnTo>
                  <a:lnTo>
                    <a:pt x="96" y="66"/>
                  </a:lnTo>
                  <a:lnTo>
                    <a:pt x="94" y="61"/>
                  </a:lnTo>
                  <a:lnTo>
                    <a:pt x="94" y="59"/>
                  </a:lnTo>
                  <a:lnTo>
                    <a:pt x="100" y="59"/>
                  </a:lnTo>
                  <a:lnTo>
                    <a:pt x="105" y="61"/>
                  </a:lnTo>
                  <a:lnTo>
                    <a:pt x="106" y="48"/>
                  </a:lnTo>
                  <a:lnTo>
                    <a:pt x="109" y="44"/>
                  </a:lnTo>
                  <a:lnTo>
                    <a:pt x="109" y="35"/>
                  </a:lnTo>
                  <a:lnTo>
                    <a:pt x="103" y="37"/>
                  </a:lnTo>
                  <a:lnTo>
                    <a:pt x="101" y="42"/>
                  </a:lnTo>
                  <a:close/>
                  <a:moveTo>
                    <a:pt x="61" y="88"/>
                  </a:moveTo>
                  <a:lnTo>
                    <a:pt x="58" y="88"/>
                  </a:lnTo>
                  <a:lnTo>
                    <a:pt x="58" y="82"/>
                  </a:lnTo>
                  <a:lnTo>
                    <a:pt x="56" y="79"/>
                  </a:lnTo>
                  <a:lnTo>
                    <a:pt x="50" y="81"/>
                  </a:lnTo>
                  <a:lnTo>
                    <a:pt x="50" y="87"/>
                  </a:lnTo>
                  <a:lnTo>
                    <a:pt x="44" y="96"/>
                  </a:lnTo>
                  <a:lnTo>
                    <a:pt x="44" y="101"/>
                  </a:lnTo>
                  <a:lnTo>
                    <a:pt x="40" y="107"/>
                  </a:lnTo>
                  <a:lnTo>
                    <a:pt x="29" y="114"/>
                  </a:lnTo>
                  <a:lnTo>
                    <a:pt x="21" y="123"/>
                  </a:lnTo>
                  <a:lnTo>
                    <a:pt x="11" y="129"/>
                  </a:lnTo>
                  <a:lnTo>
                    <a:pt x="5" y="137"/>
                  </a:lnTo>
                  <a:lnTo>
                    <a:pt x="0" y="149"/>
                  </a:lnTo>
                  <a:lnTo>
                    <a:pt x="1" y="154"/>
                  </a:lnTo>
                  <a:lnTo>
                    <a:pt x="8" y="154"/>
                  </a:lnTo>
                  <a:lnTo>
                    <a:pt x="23" y="160"/>
                  </a:lnTo>
                  <a:lnTo>
                    <a:pt x="36" y="147"/>
                  </a:lnTo>
                  <a:lnTo>
                    <a:pt x="43" y="130"/>
                  </a:lnTo>
                  <a:lnTo>
                    <a:pt x="48" y="124"/>
                  </a:lnTo>
                  <a:lnTo>
                    <a:pt x="56" y="121"/>
                  </a:lnTo>
                  <a:lnTo>
                    <a:pt x="58" y="114"/>
                  </a:lnTo>
                  <a:lnTo>
                    <a:pt x="61" y="109"/>
                  </a:lnTo>
                  <a:lnTo>
                    <a:pt x="67" y="100"/>
                  </a:lnTo>
                  <a:lnTo>
                    <a:pt x="68" y="85"/>
                  </a:lnTo>
                  <a:lnTo>
                    <a:pt x="63" y="84"/>
                  </a:lnTo>
                  <a:lnTo>
                    <a:pt x="61" y="88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4" name="Freeform 510"/>
            <p:cNvSpPr>
              <a:spLocks/>
            </p:cNvSpPr>
            <p:nvPr/>
          </p:nvSpPr>
          <p:spPr bwMode="gray">
            <a:xfrm>
              <a:off x="4755" y="3562"/>
              <a:ext cx="6" cy="9"/>
            </a:xfrm>
            <a:custGeom>
              <a:avLst/>
              <a:gdLst>
                <a:gd name="T0" fmla="*/ 0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0 h 7"/>
                <a:gd name="T6" fmla="*/ 2147483647 w 4"/>
                <a:gd name="T7" fmla="*/ 0 h 7"/>
                <a:gd name="T8" fmla="*/ 0 w 4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0" y="7"/>
                  </a:moveTo>
                  <a:lnTo>
                    <a:pt x="4" y="5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5" name="Freeform 511"/>
            <p:cNvSpPr>
              <a:spLocks/>
            </p:cNvSpPr>
            <p:nvPr/>
          </p:nvSpPr>
          <p:spPr bwMode="gray">
            <a:xfrm>
              <a:off x="4985" y="3067"/>
              <a:ext cx="6" cy="6"/>
            </a:xfrm>
            <a:custGeom>
              <a:avLst/>
              <a:gdLst>
                <a:gd name="T0" fmla="*/ 2147483647 w 5"/>
                <a:gd name="T1" fmla="*/ 0 h 5"/>
                <a:gd name="T2" fmla="*/ 0 w 5"/>
                <a:gd name="T3" fmla="*/ 2147483647 h 5"/>
                <a:gd name="T4" fmla="*/ 0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2147483647 h 5"/>
                <a:gd name="T10" fmla="*/ 2147483647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6" name="Freeform 512"/>
            <p:cNvSpPr>
              <a:spLocks/>
            </p:cNvSpPr>
            <p:nvPr/>
          </p:nvSpPr>
          <p:spPr bwMode="gray">
            <a:xfrm>
              <a:off x="4987" y="3079"/>
              <a:ext cx="4" cy="5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0 h 4"/>
                <a:gd name="T6" fmla="*/ 0 w 3"/>
                <a:gd name="T7" fmla="*/ 0 h 4"/>
                <a:gd name="T8" fmla="*/ 0 w 3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7" name="Freeform 513"/>
            <p:cNvSpPr>
              <a:spLocks/>
            </p:cNvSpPr>
            <p:nvPr/>
          </p:nvSpPr>
          <p:spPr bwMode="gray">
            <a:xfrm>
              <a:off x="4993" y="3167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0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4"/>
                  </a:moveTo>
                  <a:lnTo>
                    <a:pt x="2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8" name="Freeform 514"/>
            <p:cNvSpPr>
              <a:spLocks/>
            </p:cNvSpPr>
            <p:nvPr/>
          </p:nvSpPr>
          <p:spPr bwMode="gray">
            <a:xfrm>
              <a:off x="4092" y="3015"/>
              <a:ext cx="494" cy="418"/>
            </a:xfrm>
            <a:custGeom>
              <a:avLst/>
              <a:gdLst>
                <a:gd name="T0" fmla="*/ 2147483647 w 379"/>
                <a:gd name="T1" fmla="*/ 2147483647 h 321"/>
                <a:gd name="T2" fmla="*/ 2147483647 w 379"/>
                <a:gd name="T3" fmla="*/ 2147483647 h 321"/>
                <a:gd name="T4" fmla="*/ 2147483647 w 379"/>
                <a:gd name="T5" fmla="*/ 2147483647 h 321"/>
                <a:gd name="T6" fmla="*/ 2147483647 w 379"/>
                <a:gd name="T7" fmla="*/ 2147483647 h 321"/>
                <a:gd name="T8" fmla="*/ 2147483647 w 379"/>
                <a:gd name="T9" fmla="*/ 2147483647 h 321"/>
                <a:gd name="T10" fmla="*/ 2147483647 w 379"/>
                <a:gd name="T11" fmla="*/ 2147483647 h 321"/>
                <a:gd name="T12" fmla="*/ 2147483647 w 379"/>
                <a:gd name="T13" fmla="*/ 2147483647 h 321"/>
                <a:gd name="T14" fmla="*/ 2147483647 w 379"/>
                <a:gd name="T15" fmla="*/ 2147483647 h 321"/>
                <a:gd name="T16" fmla="*/ 2147483647 w 379"/>
                <a:gd name="T17" fmla="*/ 2147483647 h 321"/>
                <a:gd name="T18" fmla="*/ 2147483647 w 379"/>
                <a:gd name="T19" fmla="*/ 2147483647 h 321"/>
                <a:gd name="T20" fmla="*/ 2147483647 w 379"/>
                <a:gd name="T21" fmla="*/ 2147483647 h 321"/>
                <a:gd name="T22" fmla="*/ 2147483647 w 379"/>
                <a:gd name="T23" fmla="*/ 2147483647 h 321"/>
                <a:gd name="T24" fmla="*/ 2147483647 w 379"/>
                <a:gd name="T25" fmla="*/ 2147483647 h 321"/>
                <a:gd name="T26" fmla="*/ 2147483647 w 379"/>
                <a:gd name="T27" fmla="*/ 2147483647 h 321"/>
                <a:gd name="T28" fmla="*/ 2147483647 w 379"/>
                <a:gd name="T29" fmla="*/ 2147483647 h 321"/>
                <a:gd name="T30" fmla="*/ 2147483647 w 379"/>
                <a:gd name="T31" fmla="*/ 2147483647 h 321"/>
                <a:gd name="T32" fmla="*/ 2147483647 w 379"/>
                <a:gd name="T33" fmla="*/ 2147483647 h 321"/>
                <a:gd name="T34" fmla="*/ 2147483647 w 379"/>
                <a:gd name="T35" fmla="*/ 2147483647 h 321"/>
                <a:gd name="T36" fmla="*/ 2147483647 w 379"/>
                <a:gd name="T37" fmla="*/ 2147483647 h 321"/>
                <a:gd name="T38" fmla="*/ 2147483647 w 379"/>
                <a:gd name="T39" fmla="*/ 2147483647 h 321"/>
                <a:gd name="T40" fmla="*/ 2147483647 w 379"/>
                <a:gd name="T41" fmla="*/ 2147483647 h 321"/>
                <a:gd name="T42" fmla="*/ 2147483647 w 379"/>
                <a:gd name="T43" fmla="*/ 2147483647 h 321"/>
                <a:gd name="T44" fmla="*/ 2147483647 w 379"/>
                <a:gd name="T45" fmla="*/ 2147483647 h 321"/>
                <a:gd name="T46" fmla="*/ 2147483647 w 379"/>
                <a:gd name="T47" fmla="*/ 2147483647 h 321"/>
                <a:gd name="T48" fmla="*/ 2147483647 w 379"/>
                <a:gd name="T49" fmla="*/ 2147483647 h 321"/>
                <a:gd name="T50" fmla="*/ 2147483647 w 379"/>
                <a:gd name="T51" fmla="*/ 2147483647 h 321"/>
                <a:gd name="T52" fmla="*/ 2147483647 w 379"/>
                <a:gd name="T53" fmla="*/ 2147483647 h 321"/>
                <a:gd name="T54" fmla="*/ 2147483647 w 379"/>
                <a:gd name="T55" fmla="*/ 2147483647 h 321"/>
                <a:gd name="T56" fmla="*/ 2147483647 w 379"/>
                <a:gd name="T57" fmla="*/ 2147483647 h 321"/>
                <a:gd name="T58" fmla="*/ 2147483647 w 379"/>
                <a:gd name="T59" fmla="*/ 2147483647 h 321"/>
                <a:gd name="T60" fmla="*/ 2147483647 w 379"/>
                <a:gd name="T61" fmla="*/ 2147483647 h 321"/>
                <a:gd name="T62" fmla="*/ 2147483647 w 379"/>
                <a:gd name="T63" fmla="*/ 2147483647 h 321"/>
                <a:gd name="T64" fmla="*/ 2147483647 w 379"/>
                <a:gd name="T65" fmla="*/ 2147483647 h 321"/>
                <a:gd name="T66" fmla="*/ 2147483647 w 379"/>
                <a:gd name="T67" fmla="*/ 2147483647 h 321"/>
                <a:gd name="T68" fmla="*/ 2147483647 w 379"/>
                <a:gd name="T69" fmla="*/ 2147483647 h 321"/>
                <a:gd name="T70" fmla="*/ 2147483647 w 379"/>
                <a:gd name="T71" fmla="*/ 2147483647 h 321"/>
                <a:gd name="T72" fmla="*/ 2147483647 w 379"/>
                <a:gd name="T73" fmla="*/ 2147483647 h 321"/>
                <a:gd name="T74" fmla="*/ 2147483647 w 379"/>
                <a:gd name="T75" fmla="*/ 2147483647 h 321"/>
                <a:gd name="T76" fmla="*/ 2147483647 w 379"/>
                <a:gd name="T77" fmla="*/ 2147483647 h 321"/>
                <a:gd name="T78" fmla="*/ 2147483647 w 379"/>
                <a:gd name="T79" fmla="*/ 2147483647 h 321"/>
                <a:gd name="T80" fmla="*/ 2147483647 w 379"/>
                <a:gd name="T81" fmla="*/ 2147483647 h 321"/>
                <a:gd name="T82" fmla="*/ 2147483647 w 379"/>
                <a:gd name="T83" fmla="*/ 2147483647 h 321"/>
                <a:gd name="T84" fmla="*/ 2147483647 w 379"/>
                <a:gd name="T85" fmla="*/ 2147483647 h 321"/>
                <a:gd name="T86" fmla="*/ 2147483647 w 379"/>
                <a:gd name="T87" fmla="*/ 2147483647 h 321"/>
                <a:gd name="T88" fmla="*/ 2147483647 w 379"/>
                <a:gd name="T89" fmla="*/ 2147483647 h 321"/>
                <a:gd name="T90" fmla="*/ 2147483647 w 379"/>
                <a:gd name="T91" fmla="*/ 2147483647 h 321"/>
                <a:gd name="T92" fmla="*/ 2147483647 w 379"/>
                <a:gd name="T93" fmla="*/ 2147483647 h 321"/>
                <a:gd name="T94" fmla="*/ 2147483647 w 379"/>
                <a:gd name="T95" fmla="*/ 2147483647 h 321"/>
                <a:gd name="T96" fmla="*/ 2147483647 w 379"/>
                <a:gd name="T97" fmla="*/ 2147483647 h 321"/>
                <a:gd name="T98" fmla="*/ 2147483647 w 379"/>
                <a:gd name="T99" fmla="*/ 2147483647 h 321"/>
                <a:gd name="T100" fmla="*/ 2147483647 w 379"/>
                <a:gd name="T101" fmla="*/ 2147483647 h 321"/>
                <a:gd name="T102" fmla="*/ 2147483647 w 379"/>
                <a:gd name="T103" fmla="*/ 2147483647 h 321"/>
                <a:gd name="T104" fmla="*/ 2147483647 w 379"/>
                <a:gd name="T105" fmla="*/ 2147483647 h 321"/>
                <a:gd name="T106" fmla="*/ 2147483647 w 379"/>
                <a:gd name="T107" fmla="*/ 2147483647 h 321"/>
                <a:gd name="T108" fmla="*/ 2147483647 w 379"/>
                <a:gd name="T109" fmla="*/ 2147483647 h 321"/>
                <a:gd name="T110" fmla="*/ 2147483647 w 379"/>
                <a:gd name="T111" fmla="*/ 2147483647 h 321"/>
                <a:gd name="T112" fmla="*/ 2147483647 w 379"/>
                <a:gd name="T113" fmla="*/ 2147483647 h 321"/>
                <a:gd name="T114" fmla="*/ 2147483647 w 379"/>
                <a:gd name="T115" fmla="*/ 2147483647 h 321"/>
                <a:gd name="T116" fmla="*/ 2147483647 w 379"/>
                <a:gd name="T117" fmla="*/ 2147483647 h 321"/>
                <a:gd name="T118" fmla="*/ 2147483647 w 379"/>
                <a:gd name="T119" fmla="*/ 2147483647 h 321"/>
                <a:gd name="T120" fmla="*/ 2147483647 w 379"/>
                <a:gd name="T121" fmla="*/ 2147483647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321"/>
                <a:gd name="T185" fmla="*/ 379 w 379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321">
                  <a:moveTo>
                    <a:pt x="321" y="310"/>
                  </a:moveTo>
                  <a:lnTo>
                    <a:pt x="325" y="305"/>
                  </a:lnTo>
                  <a:lnTo>
                    <a:pt x="330" y="304"/>
                  </a:lnTo>
                  <a:lnTo>
                    <a:pt x="345" y="299"/>
                  </a:lnTo>
                  <a:lnTo>
                    <a:pt x="346" y="293"/>
                  </a:lnTo>
                  <a:lnTo>
                    <a:pt x="345" y="284"/>
                  </a:lnTo>
                  <a:lnTo>
                    <a:pt x="353" y="268"/>
                  </a:lnTo>
                  <a:lnTo>
                    <a:pt x="352" y="264"/>
                  </a:lnTo>
                  <a:lnTo>
                    <a:pt x="358" y="253"/>
                  </a:lnTo>
                  <a:lnTo>
                    <a:pt x="358" y="249"/>
                  </a:lnTo>
                  <a:lnTo>
                    <a:pt x="368" y="236"/>
                  </a:lnTo>
                  <a:lnTo>
                    <a:pt x="371" y="231"/>
                  </a:lnTo>
                  <a:lnTo>
                    <a:pt x="371" y="228"/>
                  </a:lnTo>
                  <a:lnTo>
                    <a:pt x="375" y="222"/>
                  </a:lnTo>
                  <a:lnTo>
                    <a:pt x="375" y="219"/>
                  </a:lnTo>
                  <a:lnTo>
                    <a:pt x="374" y="212"/>
                  </a:lnTo>
                  <a:lnTo>
                    <a:pt x="377" y="203"/>
                  </a:lnTo>
                  <a:lnTo>
                    <a:pt x="377" y="190"/>
                  </a:lnTo>
                  <a:lnTo>
                    <a:pt x="379" y="184"/>
                  </a:lnTo>
                  <a:lnTo>
                    <a:pt x="374" y="178"/>
                  </a:lnTo>
                  <a:lnTo>
                    <a:pt x="373" y="171"/>
                  </a:lnTo>
                  <a:lnTo>
                    <a:pt x="375" y="156"/>
                  </a:lnTo>
                  <a:lnTo>
                    <a:pt x="374" y="154"/>
                  </a:lnTo>
                  <a:lnTo>
                    <a:pt x="371" y="157"/>
                  </a:lnTo>
                  <a:lnTo>
                    <a:pt x="367" y="150"/>
                  </a:lnTo>
                  <a:lnTo>
                    <a:pt x="362" y="141"/>
                  </a:lnTo>
                  <a:lnTo>
                    <a:pt x="358" y="138"/>
                  </a:lnTo>
                  <a:lnTo>
                    <a:pt x="352" y="132"/>
                  </a:lnTo>
                  <a:lnTo>
                    <a:pt x="351" y="125"/>
                  </a:lnTo>
                  <a:lnTo>
                    <a:pt x="348" y="125"/>
                  </a:lnTo>
                  <a:lnTo>
                    <a:pt x="344" y="126"/>
                  </a:lnTo>
                  <a:lnTo>
                    <a:pt x="338" y="121"/>
                  </a:lnTo>
                  <a:lnTo>
                    <a:pt x="339" y="111"/>
                  </a:lnTo>
                  <a:lnTo>
                    <a:pt x="334" y="105"/>
                  </a:lnTo>
                  <a:lnTo>
                    <a:pt x="333" y="100"/>
                  </a:lnTo>
                  <a:lnTo>
                    <a:pt x="332" y="97"/>
                  </a:lnTo>
                  <a:lnTo>
                    <a:pt x="325" y="96"/>
                  </a:lnTo>
                  <a:lnTo>
                    <a:pt x="321" y="90"/>
                  </a:lnTo>
                  <a:lnTo>
                    <a:pt x="314" y="89"/>
                  </a:lnTo>
                  <a:lnTo>
                    <a:pt x="312" y="82"/>
                  </a:lnTo>
                  <a:lnTo>
                    <a:pt x="310" y="77"/>
                  </a:lnTo>
                  <a:lnTo>
                    <a:pt x="308" y="65"/>
                  </a:lnTo>
                  <a:lnTo>
                    <a:pt x="303" y="59"/>
                  </a:lnTo>
                  <a:lnTo>
                    <a:pt x="302" y="41"/>
                  </a:lnTo>
                  <a:lnTo>
                    <a:pt x="299" y="39"/>
                  </a:lnTo>
                  <a:lnTo>
                    <a:pt x="294" y="36"/>
                  </a:lnTo>
                  <a:lnTo>
                    <a:pt x="292" y="35"/>
                  </a:lnTo>
                  <a:lnTo>
                    <a:pt x="290" y="39"/>
                  </a:lnTo>
                  <a:lnTo>
                    <a:pt x="288" y="30"/>
                  </a:lnTo>
                  <a:lnTo>
                    <a:pt x="284" y="20"/>
                  </a:lnTo>
                  <a:lnTo>
                    <a:pt x="283" y="13"/>
                  </a:lnTo>
                  <a:lnTo>
                    <a:pt x="280" y="10"/>
                  </a:lnTo>
                  <a:lnTo>
                    <a:pt x="280" y="3"/>
                  </a:lnTo>
                  <a:lnTo>
                    <a:pt x="277" y="0"/>
                  </a:lnTo>
                  <a:lnTo>
                    <a:pt x="275" y="1"/>
                  </a:lnTo>
                  <a:lnTo>
                    <a:pt x="273" y="8"/>
                  </a:lnTo>
                  <a:lnTo>
                    <a:pt x="272" y="12"/>
                  </a:lnTo>
                  <a:lnTo>
                    <a:pt x="269" y="14"/>
                  </a:lnTo>
                  <a:lnTo>
                    <a:pt x="268" y="18"/>
                  </a:lnTo>
                  <a:lnTo>
                    <a:pt x="271" y="22"/>
                  </a:lnTo>
                  <a:lnTo>
                    <a:pt x="269" y="24"/>
                  </a:lnTo>
                  <a:lnTo>
                    <a:pt x="267" y="27"/>
                  </a:lnTo>
                  <a:lnTo>
                    <a:pt x="267" y="32"/>
                  </a:lnTo>
                  <a:lnTo>
                    <a:pt x="270" y="36"/>
                  </a:lnTo>
                  <a:lnTo>
                    <a:pt x="269" y="41"/>
                  </a:lnTo>
                  <a:lnTo>
                    <a:pt x="266" y="52"/>
                  </a:lnTo>
                  <a:lnTo>
                    <a:pt x="263" y="68"/>
                  </a:lnTo>
                  <a:lnTo>
                    <a:pt x="257" y="73"/>
                  </a:lnTo>
                  <a:lnTo>
                    <a:pt x="249" y="73"/>
                  </a:lnTo>
                  <a:lnTo>
                    <a:pt x="244" y="68"/>
                  </a:lnTo>
                  <a:lnTo>
                    <a:pt x="241" y="65"/>
                  </a:lnTo>
                  <a:lnTo>
                    <a:pt x="234" y="62"/>
                  </a:lnTo>
                  <a:lnTo>
                    <a:pt x="227" y="56"/>
                  </a:lnTo>
                  <a:lnTo>
                    <a:pt x="226" y="53"/>
                  </a:lnTo>
                  <a:lnTo>
                    <a:pt x="220" y="53"/>
                  </a:lnTo>
                  <a:lnTo>
                    <a:pt x="219" y="50"/>
                  </a:lnTo>
                  <a:lnTo>
                    <a:pt x="214" y="47"/>
                  </a:lnTo>
                  <a:lnTo>
                    <a:pt x="211" y="45"/>
                  </a:lnTo>
                  <a:lnTo>
                    <a:pt x="212" y="41"/>
                  </a:lnTo>
                  <a:lnTo>
                    <a:pt x="215" y="38"/>
                  </a:lnTo>
                  <a:lnTo>
                    <a:pt x="215" y="30"/>
                  </a:lnTo>
                  <a:lnTo>
                    <a:pt x="220" y="27"/>
                  </a:lnTo>
                  <a:lnTo>
                    <a:pt x="222" y="25"/>
                  </a:lnTo>
                  <a:lnTo>
                    <a:pt x="223" y="20"/>
                  </a:lnTo>
                  <a:lnTo>
                    <a:pt x="223" y="15"/>
                  </a:lnTo>
                  <a:lnTo>
                    <a:pt x="220" y="15"/>
                  </a:lnTo>
                  <a:lnTo>
                    <a:pt x="216" y="16"/>
                  </a:lnTo>
                  <a:lnTo>
                    <a:pt x="214" y="14"/>
                  </a:lnTo>
                  <a:lnTo>
                    <a:pt x="206" y="14"/>
                  </a:lnTo>
                  <a:lnTo>
                    <a:pt x="201" y="11"/>
                  </a:lnTo>
                  <a:lnTo>
                    <a:pt x="191" y="11"/>
                  </a:lnTo>
                  <a:lnTo>
                    <a:pt x="186" y="7"/>
                  </a:lnTo>
                  <a:lnTo>
                    <a:pt x="178" y="7"/>
                  </a:lnTo>
                  <a:lnTo>
                    <a:pt x="178" y="9"/>
                  </a:lnTo>
                  <a:lnTo>
                    <a:pt x="185" y="13"/>
                  </a:lnTo>
                  <a:lnTo>
                    <a:pt x="183" y="18"/>
                  </a:lnTo>
                  <a:lnTo>
                    <a:pt x="171" y="17"/>
                  </a:lnTo>
                  <a:lnTo>
                    <a:pt x="166" y="18"/>
                  </a:lnTo>
                  <a:lnTo>
                    <a:pt x="161" y="23"/>
                  </a:lnTo>
                  <a:lnTo>
                    <a:pt x="161" y="27"/>
                  </a:lnTo>
                  <a:lnTo>
                    <a:pt x="159" y="29"/>
                  </a:lnTo>
                  <a:lnTo>
                    <a:pt x="155" y="39"/>
                  </a:lnTo>
                  <a:lnTo>
                    <a:pt x="160" y="44"/>
                  </a:lnTo>
                  <a:lnTo>
                    <a:pt x="160" y="49"/>
                  </a:lnTo>
                  <a:lnTo>
                    <a:pt x="159" y="52"/>
                  </a:lnTo>
                  <a:lnTo>
                    <a:pt x="157" y="47"/>
                  </a:lnTo>
                  <a:lnTo>
                    <a:pt x="153" y="47"/>
                  </a:lnTo>
                  <a:lnTo>
                    <a:pt x="150" y="47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5" y="47"/>
                  </a:lnTo>
                  <a:lnTo>
                    <a:pt x="138" y="32"/>
                  </a:lnTo>
                  <a:lnTo>
                    <a:pt x="134" y="33"/>
                  </a:lnTo>
                  <a:lnTo>
                    <a:pt x="131" y="35"/>
                  </a:lnTo>
                  <a:lnTo>
                    <a:pt x="128" y="35"/>
                  </a:lnTo>
                  <a:lnTo>
                    <a:pt x="124" y="40"/>
                  </a:lnTo>
                  <a:lnTo>
                    <a:pt x="121" y="39"/>
                  </a:lnTo>
                  <a:lnTo>
                    <a:pt x="116" y="43"/>
                  </a:lnTo>
                  <a:lnTo>
                    <a:pt x="116" y="48"/>
                  </a:lnTo>
                  <a:lnTo>
                    <a:pt x="110" y="49"/>
                  </a:lnTo>
                  <a:lnTo>
                    <a:pt x="108" y="61"/>
                  </a:lnTo>
                  <a:lnTo>
                    <a:pt x="105" y="61"/>
                  </a:lnTo>
                  <a:lnTo>
                    <a:pt x="102" y="62"/>
                  </a:lnTo>
                  <a:lnTo>
                    <a:pt x="101" y="63"/>
                  </a:lnTo>
                  <a:lnTo>
                    <a:pt x="103" y="66"/>
                  </a:lnTo>
                  <a:lnTo>
                    <a:pt x="98" y="67"/>
                  </a:lnTo>
                  <a:lnTo>
                    <a:pt x="93" y="61"/>
                  </a:lnTo>
                  <a:lnTo>
                    <a:pt x="90" y="65"/>
                  </a:lnTo>
                  <a:lnTo>
                    <a:pt x="88" y="72"/>
                  </a:lnTo>
                  <a:lnTo>
                    <a:pt x="87" y="77"/>
                  </a:lnTo>
                  <a:lnTo>
                    <a:pt x="90" y="79"/>
                  </a:lnTo>
                  <a:lnTo>
                    <a:pt x="84" y="87"/>
                  </a:lnTo>
                  <a:lnTo>
                    <a:pt x="82" y="90"/>
                  </a:lnTo>
                  <a:lnTo>
                    <a:pt x="73" y="96"/>
                  </a:lnTo>
                  <a:lnTo>
                    <a:pt x="70" y="98"/>
                  </a:lnTo>
                  <a:lnTo>
                    <a:pt x="61" y="98"/>
                  </a:lnTo>
                  <a:lnTo>
                    <a:pt x="58" y="102"/>
                  </a:lnTo>
                  <a:lnTo>
                    <a:pt x="52" y="103"/>
                  </a:lnTo>
                  <a:lnTo>
                    <a:pt x="47" y="108"/>
                  </a:lnTo>
                  <a:lnTo>
                    <a:pt x="42" y="108"/>
                  </a:lnTo>
                  <a:lnTo>
                    <a:pt x="39" y="106"/>
                  </a:lnTo>
                  <a:lnTo>
                    <a:pt x="35" y="107"/>
                  </a:lnTo>
                  <a:lnTo>
                    <a:pt x="27" y="115"/>
                  </a:lnTo>
                  <a:lnTo>
                    <a:pt x="26" y="115"/>
                  </a:lnTo>
                  <a:lnTo>
                    <a:pt x="20" y="118"/>
                  </a:lnTo>
                  <a:lnTo>
                    <a:pt x="16" y="124"/>
                  </a:lnTo>
                  <a:lnTo>
                    <a:pt x="14" y="121"/>
                  </a:lnTo>
                  <a:lnTo>
                    <a:pt x="13" y="119"/>
                  </a:lnTo>
                  <a:lnTo>
                    <a:pt x="11" y="122"/>
                  </a:lnTo>
                  <a:lnTo>
                    <a:pt x="7" y="145"/>
                  </a:lnTo>
                  <a:lnTo>
                    <a:pt x="9" y="152"/>
                  </a:lnTo>
                  <a:lnTo>
                    <a:pt x="13" y="164"/>
                  </a:lnTo>
                  <a:lnTo>
                    <a:pt x="13" y="168"/>
                  </a:lnTo>
                  <a:lnTo>
                    <a:pt x="12" y="168"/>
                  </a:lnTo>
                  <a:lnTo>
                    <a:pt x="9" y="163"/>
                  </a:lnTo>
                  <a:lnTo>
                    <a:pt x="7" y="163"/>
                  </a:lnTo>
                  <a:lnTo>
                    <a:pt x="8" y="166"/>
                  </a:lnTo>
                  <a:lnTo>
                    <a:pt x="10" y="171"/>
                  </a:lnTo>
                  <a:lnTo>
                    <a:pt x="9" y="173"/>
                  </a:lnTo>
                  <a:lnTo>
                    <a:pt x="2" y="161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9" y="178"/>
                  </a:lnTo>
                  <a:lnTo>
                    <a:pt x="10" y="182"/>
                  </a:lnTo>
                  <a:lnTo>
                    <a:pt x="13" y="188"/>
                  </a:lnTo>
                  <a:lnTo>
                    <a:pt x="13" y="191"/>
                  </a:lnTo>
                  <a:lnTo>
                    <a:pt x="19" y="199"/>
                  </a:lnTo>
                  <a:lnTo>
                    <a:pt x="19" y="202"/>
                  </a:lnTo>
                  <a:lnTo>
                    <a:pt x="20" y="219"/>
                  </a:lnTo>
                  <a:lnTo>
                    <a:pt x="24" y="225"/>
                  </a:lnTo>
                  <a:lnTo>
                    <a:pt x="25" y="230"/>
                  </a:lnTo>
                  <a:lnTo>
                    <a:pt x="27" y="239"/>
                  </a:lnTo>
                  <a:lnTo>
                    <a:pt x="26" y="242"/>
                  </a:lnTo>
                  <a:lnTo>
                    <a:pt x="24" y="254"/>
                  </a:lnTo>
                  <a:lnTo>
                    <a:pt x="21" y="255"/>
                  </a:lnTo>
                  <a:lnTo>
                    <a:pt x="20" y="260"/>
                  </a:lnTo>
                  <a:lnTo>
                    <a:pt x="21" y="265"/>
                  </a:lnTo>
                  <a:lnTo>
                    <a:pt x="30" y="267"/>
                  </a:lnTo>
                  <a:lnTo>
                    <a:pt x="33" y="272"/>
                  </a:lnTo>
                  <a:lnTo>
                    <a:pt x="42" y="273"/>
                  </a:lnTo>
                  <a:lnTo>
                    <a:pt x="53" y="273"/>
                  </a:lnTo>
                  <a:lnTo>
                    <a:pt x="55" y="272"/>
                  </a:lnTo>
                  <a:lnTo>
                    <a:pt x="55" y="267"/>
                  </a:lnTo>
                  <a:lnTo>
                    <a:pt x="61" y="265"/>
                  </a:lnTo>
                  <a:lnTo>
                    <a:pt x="64" y="262"/>
                  </a:lnTo>
                  <a:lnTo>
                    <a:pt x="73" y="259"/>
                  </a:lnTo>
                  <a:lnTo>
                    <a:pt x="7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9" y="259"/>
                  </a:lnTo>
                  <a:lnTo>
                    <a:pt x="104" y="255"/>
                  </a:lnTo>
                  <a:lnTo>
                    <a:pt x="104" y="251"/>
                  </a:lnTo>
                  <a:lnTo>
                    <a:pt x="112" y="246"/>
                  </a:lnTo>
                  <a:lnTo>
                    <a:pt x="117" y="246"/>
                  </a:lnTo>
                  <a:lnTo>
                    <a:pt x="125" y="239"/>
                  </a:lnTo>
                  <a:lnTo>
                    <a:pt x="137" y="238"/>
                  </a:lnTo>
                  <a:lnTo>
                    <a:pt x="150" y="232"/>
                  </a:lnTo>
                  <a:lnTo>
                    <a:pt x="171" y="230"/>
                  </a:lnTo>
                  <a:lnTo>
                    <a:pt x="181" y="239"/>
                  </a:lnTo>
                  <a:lnTo>
                    <a:pt x="186" y="237"/>
                  </a:lnTo>
                  <a:lnTo>
                    <a:pt x="195" y="240"/>
                  </a:lnTo>
                  <a:lnTo>
                    <a:pt x="200" y="250"/>
                  </a:lnTo>
                  <a:lnTo>
                    <a:pt x="206" y="255"/>
                  </a:lnTo>
                  <a:lnTo>
                    <a:pt x="206" y="262"/>
                  </a:lnTo>
                  <a:lnTo>
                    <a:pt x="204" y="265"/>
                  </a:lnTo>
                  <a:lnTo>
                    <a:pt x="206" y="268"/>
                  </a:lnTo>
                  <a:lnTo>
                    <a:pt x="213" y="271"/>
                  </a:lnTo>
                  <a:lnTo>
                    <a:pt x="218" y="267"/>
                  </a:lnTo>
                  <a:lnTo>
                    <a:pt x="217" y="262"/>
                  </a:lnTo>
                  <a:lnTo>
                    <a:pt x="225" y="252"/>
                  </a:lnTo>
                  <a:lnTo>
                    <a:pt x="228" y="250"/>
                  </a:lnTo>
                  <a:lnTo>
                    <a:pt x="229" y="246"/>
                  </a:lnTo>
                  <a:lnTo>
                    <a:pt x="234" y="247"/>
                  </a:lnTo>
                  <a:lnTo>
                    <a:pt x="233" y="254"/>
                  </a:lnTo>
                  <a:lnTo>
                    <a:pt x="229" y="260"/>
                  </a:lnTo>
                  <a:lnTo>
                    <a:pt x="228" y="267"/>
                  </a:lnTo>
                  <a:lnTo>
                    <a:pt x="225" y="270"/>
                  </a:lnTo>
                  <a:lnTo>
                    <a:pt x="223" y="272"/>
                  </a:lnTo>
                  <a:lnTo>
                    <a:pt x="223" y="276"/>
                  </a:lnTo>
                  <a:lnTo>
                    <a:pt x="228" y="276"/>
                  </a:lnTo>
                  <a:lnTo>
                    <a:pt x="233" y="271"/>
                  </a:lnTo>
                  <a:lnTo>
                    <a:pt x="233" y="267"/>
                  </a:lnTo>
                  <a:lnTo>
                    <a:pt x="237" y="267"/>
                  </a:lnTo>
                  <a:lnTo>
                    <a:pt x="240" y="272"/>
                  </a:lnTo>
                  <a:lnTo>
                    <a:pt x="234" y="275"/>
                  </a:lnTo>
                  <a:lnTo>
                    <a:pt x="236" y="279"/>
                  </a:lnTo>
                  <a:lnTo>
                    <a:pt x="244" y="282"/>
                  </a:lnTo>
                  <a:lnTo>
                    <a:pt x="246" y="286"/>
                  </a:lnTo>
                  <a:lnTo>
                    <a:pt x="250" y="290"/>
                  </a:lnTo>
                  <a:lnTo>
                    <a:pt x="248" y="297"/>
                  </a:lnTo>
                  <a:lnTo>
                    <a:pt x="252" y="302"/>
                  </a:lnTo>
                  <a:lnTo>
                    <a:pt x="254" y="307"/>
                  </a:lnTo>
                  <a:lnTo>
                    <a:pt x="258" y="310"/>
                  </a:lnTo>
                  <a:lnTo>
                    <a:pt x="265" y="312"/>
                  </a:lnTo>
                  <a:lnTo>
                    <a:pt x="267" y="314"/>
                  </a:lnTo>
                  <a:lnTo>
                    <a:pt x="269" y="314"/>
                  </a:lnTo>
                  <a:lnTo>
                    <a:pt x="271" y="314"/>
                  </a:lnTo>
                  <a:lnTo>
                    <a:pt x="288" y="321"/>
                  </a:lnTo>
                  <a:lnTo>
                    <a:pt x="287" y="315"/>
                  </a:lnTo>
                  <a:lnTo>
                    <a:pt x="292" y="313"/>
                  </a:lnTo>
                  <a:lnTo>
                    <a:pt x="295" y="306"/>
                  </a:lnTo>
                  <a:lnTo>
                    <a:pt x="303" y="307"/>
                  </a:lnTo>
                  <a:lnTo>
                    <a:pt x="302" y="314"/>
                  </a:lnTo>
                  <a:lnTo>
                    <a:pt x="307" y="318"/>
                  </a:lnTo>
                  <a:lnTo>
                    <a:pt x="314" y="317"/>
                  </a:lnTo>
                  <a:lnTo>
                    <a:pt x="320" y="314"/>
                  </a:lnTo>
                  <a:lnTo>
                    <a:pt x="321" y="31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19" name="Freeform 516"/>
            <p:cNvSpPr>
              <a:spLocks/>
            </p:cNvSpPr>
            <p:nvPr/>
          </p:nvSpPr>
          <p:spPr bwMode="gray">
            <a:xfrm>
              <a:off x="4327" y="2395"/>
              <a:ext cx="28" cy="24"/>
            </a:xfrm>
            <a:custGeom>
              <a:avLst/>
              <a:gdLst>
                <a:gd name="T0" fmla="*/ 2147483647 w 22"/>
                <a:gd name="T1" fmla="*/ 2147483647 h 18"/>
                <a:gd name="T2" fmla="*/ 2147483647 w 22"/>
                <a:gd name="T3" fmla="*/ 0 h 18"/>
                <a:gd name="T4" fmla="*/ 2147483647 w 22"/>
                <a:gd name="T5" fmla="*/ 2147483647 h 18"/>
                <a:gd name="T6" fmla="*/ 2147483647 w 22"/>
                <a:gd name="T7" fmla="*/ 2147483647 h 18"/>
                <a:gd name="T8" fmla="*/ 2147483647 w 22"/>
                <a:gd name="T9" fmla="*/ 2147483647 h 18"/>
                <a:gd name="T10" fmla="*/ 0 w 22"/>
                <a:gd name="T11" fmla="*/ 2147483647 h 18"/>
                <a:gd name="T12" fmla="*/ 2147483647 w 22"/>
                <a:gd name="T13" fmla="*/ 2147483647 h 18"/>
                <a:gd name="T14" fmla="*/ 2147483647 w 22"/>
                <a:gd name="T15" fmla="*/ 2147483647 h 18"/>
                <a:gd name="T16" fmla="*/ 2147483647 w 22"/>
                <a:gd name="T17" fmla="*/ 2147483647 h 18"/>
                <a:gd name="T18" fmla="*/ 2147483647 w 22"/>
                <a:gd name="T19" fmla="*/ 2147483647 h 18"/>
                <a:gd name="T20" fmla="*/ 2147483647 w 22"/>
                <a:gd name="T21" fmla="*/ 2147483647 h 18"/>
                <a:gd name="T22" fmla="*/ 2147483647 w 22"/>
                <a:gd name="T23" fmla="*/ 2147483647 h 18"/>
                <a:gd name="T24" fmla="*/ 2147483647 w 22"/>
                <a:gd name="T25" fmla="*/ 2147483647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18"/>
                <a:gd name="T41" fmla="*/ 22 w 22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18">
                  <a:moveTo>
                    <a:pt x="22" y="2"/>
                  </a:moveTo>
                  <a:lnTo>
                    <a:pt x="18" y="0"/>
                  </a:lnTo>
                  <a:lnTo>
                    <a:pt x="14" y="1"/>
                  </a:lnTo>
                  <a:lnTo>
                    <a:pt x="10" y="6"/>
                  </a:lnTo>
                  <a:lnTo>
                    <a:pt x="4" y="7"/>
                  </a:lnTo>
                  <a:lnTo>
                    <a:pt x="0" y="11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9" y="13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20" y="1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0" name="Freeform 517"/>
            <p:cNvSpPr>
              <a:spLocks/>
            </p:cNvSpPr>
            <p:nvPr/>
          </p:nvSpPr>
          <p:spPr bwMode="gray">
            <a:xfrm>
              <a:off x="4294" y="2403"/>
              <a:ext cx="29" cy="45"/>
            </a:xfrm>
            <a:custGeom>
              <a:avLst/>
              <a:gdLst>
                <a:gd name="T0" fmla="*/ 2147483647 w 23"/>
                <a:gd name="T1" fmla="*/ 0 h 34"/>
                <a:gd name="T2" fmla="*/ 2147483647 w 23"/>
                <a:gd name="T3" fmla="*/ 2147483647 h 34"/>
                <a:gd name="T4" fmla="*/ 2147483647 w 23"/>
                <a:gd name="T5" fmla="*/ 2147483647 h 34"/>
                <a:gd name="T6" fmla="*/ 2147483647 w 23"/>
                <a:gd name="T7" fmla="*/ 2147483647 h 34"/>
                <a:gd name="T8" fmla="*/ 2147483647 w 23"/>
                <a:gd name="T9" fmla="*/ 2147483647 h 34"/>
                <a:gd name="T10" fmla="*/ 2147483647 w 23"/>
                <a:gd name="T11" fmla="*/ 2147483647 h 34"/>
                <a:gd name="T12" fmla="*/ 2147483647 w 23"/>
                <a:gd name="T13" fmla="*/ 2147483647 h 34"/>
                <a:gd name="T14" fmla="*/ 2147483647 w 23"/>
                <a:gd name="T15" fmla="*/ 2147483647 h 34"/>
                <a:gd name="T16" fmla="*/ 2147483647 w 23"/>
                <a:gd name="T17" fmla="*/ 2147483647 h 34"/>
                <a:gd name="T18" fmla="*/ 2147483647 w 23"/>
                <a:gd name="T19" fmla="*/ 2147483647 h 34"/>
                <a:gd name="T20" fmla="*/ 2147483647 w 23"/>
                <a:gd name="T21" fmla="*/ 2147483647 h 34"/>
                <a:gd name="T22" fmla="*/ 2147483647 w 23"/>
                <a:gd name="T23" fmla="*/ 2147483647 h 34"/>
                <a:gd name="T24" fmla="*/ 2147483647 w 23"/>
                <a:gd name="T25" fmla="*/ 2147483647 h 34"/>
                <a:gd name="T26" fmla="*/ 2147483647 w 23"/>
                <a:gd name="T27" fmla="*/ 2147483647 h 34"/>
                <a:gd name="T28" fmla="*/ 2147483647 w 23"/>
                <a:gd name="T29" fmla="*/ 2147483647 h 34"/>
                <a:gd name="T30" fmla="*/ 2147483647 w 23"/>
                <a:gd name="T31" fmla="*/ 2147483647 h 34"/>
                <a:gd name="T32" fmla="*/ 2147483647 w 23"/>
                <a:gd name="T33" fmla="*/ 2147483647 h 34"/>
                <a:gd name="T34" fmla="*/ 2147483647 w 23"/>
                <a:gd name="T35" fmla="*/ 2147483647 h 34"/>
                <a:gd name="T36" fmla="*/ 2147483647 w 23"/>
                <a:gd name="T37" fmla="*/ 2147483647 h 34"/>
                <a:gd name="T38" fmla="*/ 2147483647 w 23"/>
                <a:gd name="T39" fmla="*/ 2147483647 h 34"/>
                <a:gd name="T40" fmla="*/ 2147483647 w 23"/>
                <a:gd name="T41" fmla="*/ 2147483647 h 34"/>
                <a:gd name="T42" fmla="*/ 0 w 23"/>
                <a:gd name="T43" fmla="*/ 2147483647 h 34"/>
                <a:gd name="T44" fmla="*/ 2147483647 w 23"/>
                <a:gd name="T45" fmla="*/ 2147483647 h 34"/>
                <a:gd name="T46" fmla="*/ 2147483647 w 23"/>
                <a:gd name="T47" fmla="*/ 0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34"/>
                <a:gd name="T74" fmla="*/ 23 w 23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34">
                  <a:moveTo>
                    <a:pt x="11" y="0"/>
                  </a:moveTo>
                  <a:lnTo>
                    <a:pt x="19" y="4"/>
                  </a:lnTo>
                  <a:lnTo>
                    <a:pt x="20" y="8"/>
                  </a:lnTo>
                  <a:lnTo>
                    <a:pt x="23" y="14"/>
                  </a:lnTo>
                  <a:lnTo>
                    <a:pt x="18" y="21"/>
                  </a:lnTo>
                  <a:lnTo>
                    <a:pt x="17" y="32"/>
                  </a:lnTo>
                  <a:lnTo>
                    <a:pt x="11" y="34"/>
                  </a:lnTo>
                  <a:lnTo>
                    <a:pt x="11" y="28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5" y="30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5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1" name="Freeform 518"/>
            <p:cNvSpPr>
              <a:spLocks/>
            </p:cNvSpPr>
            <p:nvPr/>
          </p:nvSpPr>
          <p:spPr bwMode="gray">
            <a:xfrm>
              <a:off x="4287" y="2391"/>
              <a:ext cx="5" cy="6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0 w 4"/>
                <a:gd name="T5" fmla="*/ 2147483647 h 4"/>
                <a:gd name="T6" fmla="*/ 0 w 4"/>
                <a:gd name="T7" fmla="*/ 2147483647 h 4"/>
                <a:gd name="T8" fmla="*/ 2147483647 w 4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2" name="Freeform 519"/>
            <p:cNvSpPr>
              <a:spLocks/>
            </p:cNvSpPr>
            <p:nvPr/>
          </p:nvSpPr>
          <p:spPr bwMode="gray">
            <a:xfrm>
              <a:off x="4254" y="2407"/>
              <a:ext cx="9" cy="5"/>
            </a:xfrm>
            <a:custGeom>
              <a:avLst/>
              <a:gdLst>
                <a:gd name="T0" fmla="*/ 2147483647 w 7"/>
                <a:gd name="T1" fmla="*/ 2147483647 h 4"/>
                <a:gd name="T2" fmla="*/ 0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1" y="4"/>
                  </a:moveTo>
                  <a:lnTo>
                    <a:pt x="0" y="2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3" name="Freeform 520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0 w 3"/>
                <a:gd name="T1" fmla="*/ 2147483646 h 2"/>
                <a:gd name="T2" fmla="*/ 2147483647 w 3"/>
                <a:gd name="T3" fmla="*/ 0 h 2"/>
                <a:gd name="T4" fmla="*/ 2147483647 w 3"/>
                <a:gd name="T5" fmla="*/ 2147483646 h 2"/>
                <a:gd name="T6" fmla="*/ 2147483647 w 3"/>
                <a:gd name="T7" fmla="*/ 2147483646 h 2"/>
                <a:gd name="T8" fmla="*/ 2147483647 w 3"/>
                <a:gd name="T9" fmla="*/ 2147483646 h 2"/>
                <a:gd name="T10" fmla="*/ 0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0" y="1"/>
                  </a:moveTo>
                  <a:lnTo>
                    <a:pt x="1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4" name="Freeform 521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0 w 2"/>
                <a:gd name="T1" fmla="*/ 2147483647 h 2"/>
                <a:gd name="T2" fmla="*/ 2147483646 w 2"/>
                <a:gd name="T3" fmla="*/ 0 h 2"/>
                <a:gd name="T4" fmla="*/ 2147483646 w 2"/>
                <a:gd name="T5" fmla="*/ 0 h 2"/>
                <a:gd name="T6" fmla="*/ 2147483646 w 2"/>
                <a:gd name="T7" fmla="*/ 2147483647 h 2"/>
                <a:gd name="T8" fmla="*/ 0 w 2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2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5" name="Freeform 522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6" name="Freeform 523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0 h 3"/>
                <a:gd name="T2" fmla="*/ 2147483646 w 3"/>
                <a:gd name="T3" fmla="*/ 2147483647 h 3"/>
                <a:gd name="T4" fmla="*/ 2147483646 w 3"/>
                <a:gd name="T5" fmla="*/ 2147483647 h 3"/>
                <a:gd name="T6" fmla="*/ 0 w 3"/>
                <a:gd name="T7" fmla="*/ 2147483647 h 3"/>
                <a:gd name="T8" fmla="*/ 0 w 3"/>
                <a:gd name="T9" fmla="*/ 2147483647 h 3"/>
                <a:gd name="T10" fmla="*/ 2147483646 w 3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1" y="0"/>
                  </a:moveTo>
                  <a:lnTo>
                    <a:pt x="3" y="1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7" name="Freeform 524"/>
            <p:cNvSpPr>
              <a:spLocks/>
            </p:cNvSpPr>
            <p:nvPr/>
          </p:nvSpPr>
          <p:spPr bwMode="gray">
            <a:xfrm>
              <a:off x="4181" y="2533"/>
              <a:ext cx="19" cy="44"/>
            </a:xfrm>
            <a:custGeom>
              <a:avLst/>
              <a:gdLst>
                <a:gd name="T0" fmla="*/ 2147483647 w 14"/>
                <a:gd name="T1" fmla="*/ 2147483647 h 33"/>
                <a:gd name="T2" fmla="*/ 2147483647 w 14"/>
                <a:gd name="T3" fmla="*/ 0 h 33"/>
                <a:gd name="T4" fmla="*/ 2147483647 w 14"/>
                <a:gd name="T5" fmla="*/ 2147483647 h 33"/>
                <a:gd name="T6" fmla="*/ 2147483647 w 14"/>
                <a:gd name="T7" fmla="*/ 2147483647 h 33"/>
                <a:gd name="T8" fmla="*/ 2147483647 w 14"/>
                <a:gd name="T9" fmla="*/ 2147483647 h 33"/>
                <a:gd name="T10" fmla="*/ 2147483647 w 14"/>
                <a:gd name="T11" fmla="*/ 2147483647 h 33"/>
                <a:gd name="T12" fmla="*/ 2147483647 w 14"/>
                <a:gd name="T13" fmla="*/ 2147483647 h 33"/>
                <a:gd name="T14" fmla="*/ 2147483647 w 14"/>
                <a:gd name="T15" fmla="*/ 2147483647 h 33"/>
                <a:gd name="T16" fmla="*/ 0 w 14"/>
                <a:gd name="T17" fmla="*/ 2147483647 h 33"/>
                <a:gd name="T18" fmla="*/ 2147483647 w 14"/>
                <a:gd name="T19" fmla="*/ 2147483647 h 33"/>
                <a:gd name="T20" fmla="*/ 2147483647 w 14"/>
                <a:gd name="T21" fmla="*/ 2147483647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33"/>
                <a:gd name="T35" fmla="*/ 14 w 14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33">
                  <a:moveTo>
                    <a:pt x="7" y="2"/>
                  </a:moveTo>
                  <a:lnTo>
                    <a:pt x="9" y="0"/>
                  </a:lnTo>
                  <a:lnTo>
                    <a:pt x="14" y="2"/>
                  </a:lnTo>
                  <a:lnTo>
                    <a:pt x="14" y="15"/>
                  </a:lnTo>
                  <a:lnTo>
                    <a:pt x="10" y="21"/>
                  </a:lnTo>
                  <a:lnTo>
                    <a:pt x="7" y="32"/>
                  </a:lnTo>
                  <a:lnTo>
                    <a:pt x="3" y="33"/>
                  </a:lnTo>
                  <a:lnTo>
                    <a:pt x="1" y="28"/>
                  </a:lnTo>
                  <a:lnTo>
                    <a:pt x="0" y="17"/>
                  </a:lnTo>
                  <a:lnTo>
                    <a:pt x="7" y="7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8" name="Freeform 525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2147483647 w 7"/>
                <a:gd name="T1" fmla="*/ 0 h 4"/>
                <a:gd name="T2" fmla="*/ 2147483647 w 7"/>
                <a:gd name="T3" fmla="*/ 0 h 4"/>
                <a:gd name="T4" fmla="*/ 0 w 7"/>
                <a:gd name="T5" fmla="*/ 2147483647 h 4"/>
                <a:gd name="T6" fmla="*/ 0 w 7"/>
                <a:gd name="T7" fmla="*/ 2147483647 h 4"/>
                <a:gd name="T8" fmla="*/ 2147483647 w 7"/>
                <a:gd name="T9" fmla="*/ 2147483647 h 4"/>
                <a:gd name="T10" fmla="*/ 2147483647 w 7"/>
                <a:gd name="T11" fmla="*/ 2147483647 h 4"/>
                <a:gd name="T12" fmla="*/ 2147483647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29" name="Freeform 526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2147483647 w 4"/>
                <a:gd name="T1" fmla="*/ 0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1" y="0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0" name="Freeform 527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4" y="0"/>
                  </a:lnTo>
                  <a:lnTo>
                    <a:pt x="7" y="1"/>
                  </a:lnTo>
                  <a:lnTo>
                    <a:pt x="5" y="4"/>
                  </a:lnTo>
                  <a:lnTo>
                    <a:pt x="1" y="7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1" name="Freeform 528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0 w 5"/>
                <a:gd name="T1" fmla="*/ 2147483646 h 3"/>
                <a:gd name="T2" fmla="*/ 2147483647 w 5"/>
                <a:gd name="T3" fmla="*/ 0 h 3"/>
                <a:gd name="T4" fmla="*/ 2147483647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0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2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2" name="Freeform 529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0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0" y="3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3" name="Freeform 530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0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4" name="Freeform 531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0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0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1"/>
                  </a:moveTo>
                  <a:lnTo>
                    <a:pt x="0" y="3"/>
                  </a:ln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5" name="Freeform 532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0 w 9"/>
                <a:gd name="T1" fmla="*/ 0 h 7"/>
                <a:gd name="T2" fmla="*/ 2147483647 w 9"/>
                <a:gd name="T3" fmla="*/ 2147483647 h 7"/>
                <a:gd name="T4" fmla="*/ 2147483647 w 9"/>
                <a:gd name="T5" fmla="*/ 2147483647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0 w 9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0" y="0"/>
                  </a:move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6" name="Freeform 533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0 w 2"/>
                <a:gd name="T1" fmla="*/ 2147483647 h 8"/>
                <a:gd name="T2" fmla="*/ 0 w 2"/>
                <a:gd name="T3" fmla="*/ 2147483647 h 8"/>
                <a:gd name="T4" fmla="*/ 2147483646 w 2"/>
                <a:gd name="T5" fmla="*/ 2147483647 h 8"/>
                <a:gd name="T6" fmla="*/ 2147483646 w 2"/>
                <a:gd name="T7" fmla="*/ 0 h 8"/>
                <a:gd name="T8" fmla="*/ 0 w 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4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7" name="Freeform 534"/>
            <p:cNvSpPr>
              <a:spLocks/>
            </p:cNvSpPr>
            <p:nvPr/>
          </p:nvSpPr>
          <p:spPr bwMode="gray">
            <a:xfrm>
              <a:off x="4129" y="2983"/>
              <a:ext cx="42" cy="12"/>
            </a:xfrm>
            <a:custGeom>
              <a:avLst/>
              <a:gdLst>
                <a:gd name="T0" fmla="*/ 0 w 32"/>
                <a:gd name="T1" fmla="*/ 2147483647 h 9"/>
                <a:gd name="T2" fmla="*/ 2147483647 w 32"/>
                <a:gd name="T3" fmla="*/ 0 h 9"/>
                <a:gd name="T4" fmla="*/ 2147483647 w 32"/>
                <a:gd name="T5" fmla="*/ 2147483647 h 9"/>
                <a:gd name="T6" fmla="*/ 2147483647 w 32"/>
                <a:gd name="T7" fmla="*/ 2147483647 h 9"/>
                <a:gd name="T8" fmla="*/ 2147483647 w 32"/>
                <a:gd name="T9" fmla="*/ 2147483647 h 9"/>
                <a:gd name="T10" fmla="*/ 2147483647 w 32"/>
                <a:gd name="T11" fmla="*/ 2147483647 h 9"/>
                <a:gd name="T12" fmla="*/ 2147483647 w 32"/>
                <a:gd name="T13" fmla="*/ 0 h 9"/>
                <a:gd name="T14" fmla="*/ 2147483647 w 32"/>
                <a:gd name="T15" fmla="*/ 2147483647 h 9"/>
                <a:gd name="T16" fmla="*/ 2147483647 w 32"/>
                <a:gd name="T17" fmla="*/ 2147483647 h 9"/>
                <a:gd name="T18" fmla="*/ 2147483647 w 32"/>
                <a:gd name="T19" fmla="*/ 2147483647 h 9"/>
                <a:gd name="T20" fmla="*/ 2147483647 w 32"/>
                <a:gd name="T21" fmla="*/ 2147483647 h 9"/>
                <a:gd name="T22" fmla="*/ 0 w 32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9"/>
                <a:gd name="T38" fmla="*/ 32 w 32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9">
                  <a:moveTo>
                    <a:pt x="0" y="3"/>
                  </a:moveTo>
                  <a:lnTo>
                    <a:pt x="3" y="0"/>
                  </a:lnTo>
                  <a:lnTo>
                    <a:pt x="7" y="3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3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1" y="9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8" name="Freeform 535"/>
            <p:cNvSpPr>
              <a:spLocks/>
            </p:cNvSpPr>
            <p:nvPr/>
          </p:nvSpPr>
          <p:spPr bwMode="gray">
            <a:xfrm>
              <a:off x="4175" y="2985"/>
              <a:ext cx="30" cy="7"/>
            </a:xfrm>
            <a:custGeom>
              <a:avLst/>
              <a:gdLst>
                <a:gd name="T0" fmla="*/ 0 w 23"/>
                <a:gd name="T1" fmla="*/ 2147483647 h 6"/>
                <a:gd name="T2" fmla="*/ 2147483647 w 23"/>
                <a:gd name="T3" fmla="*/ 0 h 6"/>
                <a:gd name="T4" fmla="*/ 2147483647 w 23"/>
                <a:gd name="T5" fmla="*/ 0 h 6"/>
                <a:gd name="T6" fmla="*/ 2147483647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0 w 2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6"/>
                <a:gd name="T23" fmla="*/ 23 w 2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6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39" name="Freeform 536"/>
            <p:cNvSpPr>
              <a:spLocks/>
            </p:cNvSpPr>
            <p:nvPr/>
          </p:nvSpPr>
          <p:spPr bwMode="gray">
            <a:xfrm>
              <a:off x="4167" y="2996"/>
              <a:ext cx="22" cy="15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0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0 w 17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1"/>
                <a:gd name="T23" fmla="*/ 17 w 1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1">
                  <a:moveTo>
                    <a:pt x="0" y="2"/>
                  </a:moveTo>
                  <a:lnTo>
                    <a:pt x="1" y="0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14" y="11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0" name="Freeform 537"/>
            <p:cNvSpPr>
              <a:spLocks/>
            </p:cNvSpPr>
            <p:nvPr/>
          </p:nvSpPr>
          <p:spPr bwMode="gray">
            <a:xfrm>
              <a:off x="4221" y="2985"/>
              <a:ext cx="44" cy="24"/>
            </a:xfrm>
            <a:custGeom>
              <a:avLst/>
              <a:gdLst>
                <a:gd name="T0" fmla="*/ 2147483647 w 33"/>
                <a:gd name="T1" fmla="*/ 0 h 19"/>
                <a:gd name="T2" fmla="*/ 2147483647 w 33"/>
                <a:gd name="T3" fmla="*/ 2147483647 h 19"/>
                <a:gd name="T4" fmla="*/ 2147483647 w 33"/>
                <a:gd name="T5" fmla="*/ 2147483647 h 19"/>
                <a:gd name="T6" fmla="*/ 2147483647 w 33"/>
                <a:gd name="T7" fmla="*/ 2147483647 h 19"/>
                <a:gd name="T8" fmla="*/ 2147483647 w 33"/>
                <a:gd name="T9" fmla="*/ 2147483647 h 19"/>
                <a:gd name="T10" fmla="*/ 2147483647 w 33"/>
                <a:gd name="T11" fmla="*/ 2147483647 h 19"/>
                <a:gd name="T12" fmla="*/ 2147483647 w 33"/>
                <a:gd name="T13" fmla="*/ 2147483647 h 19"/>
                <a:gd name="T14" fmla="*/ 0 w 33"/>
                <a:gd name="T15" fmla="*/ 2147483647 h 19"/>
                <a:gd name="T16" fmla="*/ 0 w 33"/>
                <a:gd name="T17" fmla="*/ 2147483647 h 19"/>
                <a:gd name="T18" fmla="*/ 2147483647 w 33"/>
                <a:gd name="T19" fmla="*/ 2147483647 h 19"/>
                <a:gd name="T20" fmla="*/ 2147483647 w 33"/>
                <a:gd name="T21" fmla="*/ 2147483647 h 19"/>
                <a:gd name="T22" fmla="*/ 2147483647 w 33"/>
                <a:gd name="T23" fmla="*/ 2147483647 h 19"/>
                <a:gd name="T24" fmla="*/ 2147483647 w 33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19"/>
                <a:gd name="T41" fmla="*/ 33 w 33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19">
                  <a:moveTo>
                    <a:pt x="32" y="0"/>
                  </a:moveTo>
                  <a:lnTo>
                    <a:pt x="33" y="3"/>
                  </a:lnTo>
                  <a:lnTo>
                    <a:pt x="31" y="6"/>
                  </a:lnTo>
                  <a:lnTo>
                    <a:pt x="22" y="9"/>
                  </a:lnTo>
                  <a:lnTo>
                    <a:pt x="17" y="10"/>
                  </a:lnTo>
                  <a:lnTo>
                    <a:pt x="13" y="15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4" y="10"/>
                  </a:lnTo>
                  <a:lnTo>
                    <a:pt x="8" y="9"/>
                  </a:lnTo>
                  <a:lnTo>
                    <a:pt x="15" y="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1" name="Freeform 538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1" y="2"/>
                  </a:lnTo>
                  <a:lnTo>
                    <a:pt x="5" y="1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5" y="4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2" name="Freeform 539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2" y="1"/>
                  </a:lnTo>
                  <a:lnTo>
                    <a:pt x="6" y="0"/>
                  </a:lnTo>
                  <a:lnTo>
                    <a:pt x="6" y="1"/>
                  </a:lnTo>
                  <a:lnTo>
                    <a:pt x="1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3" name="Freeform 540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2147483647 w 7"/>
                <a:gd name="T7" fmla="*/ 2147483647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4" y="0"/>
                  </a:lnTo>
                  <a:lnTo>
                    <a:pt x="7" y="2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4" name="Freeform 541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0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3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1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5" name="Freeform 542"/>
            <p:cNvSpPr>
              <a:spLocks/>
            </p:cNvSpPr>
            <p:nvPr/>
          </p:nvSpPr>
          <p:spPr bwMode="gray">
            <a:xfrm>
              <a:off x="4166" y="2853"/>
              <a:ext cx="74" cy="96"/>
            </a:xfrm>
            <a:custGeom>
              <a:avLst/>
              <a:gdLst>
                <a:gd name="T0" fmla="*/ 2147483647 w 57"/>
                <a:gd name="T1" fmla="*/ 0 h 74"/>
                <a:gd name="T2" fmla="*/ 2147483647 w 57"/>
                <a:gd name="T3" fmla="*/ 2147483647 h 74"/>
                <a:gd name="T4" fmla="*/ 2147483647 w 57"/>
                <a:gd name="T5" fmla="*/ 2147483647 h 74"/>
                <a:gd name="T6" fmla="*/ 2147483647 w 57"/>
                <a:gd name="T7" fmla="*/ 2147483647 h 74"/>
                <a:gd name="T8" fmla="*/ 2147483647 w 57"/>
                <a:gd name="T9" fmla="*/ 2147483647 h 74"/>
                <a:gd name="T10" fmla="*/ 2147483647 w 57"/>
                <a:gd name="T11" fmla="*/ 2147483647 h 74"/>
                <a:gd name="T12" fmla="*/ 2147483647 w 57"/>
                <a:gd name="T13" fmla="*/ 2147483647 h 74"/>
                <a:gd name="T14" fmla="*/ 2147483647 w 57"/>
                <a:gd name="T15" fmla="*/ 2147483647 h 74"/>
                <a:gd name="T16" fmla="*/ 2147483647 w 57"/>
                <a:gd name="T17" fmla="*/ 2147483647 h 74"/>
                <a:gd name="T18" fmla="*/ 2147483647 w 57"/>
                <a:gd name="T19" fmla="*/ 2147483647 h 74"/>
                <a:gd name="T20" fmla="*/ 2147483647 w 57"/>
                <a:gd name="T21" fmla="*/ 2147483647 h 74"/>
                <a:gd name="T22" fmla="*/ 2147483647 w 57"/>
                <a:gd name="T23" fmla="*/ 2147483647 h 74"/>
                <a:gd name="T24" fmla="*/ 2147483647 w 57"/>
                <a:gd name="T25" fmla="*/ 2147483647 h 74"/>
                <a:gd name="T26" fmla="*/ 2147483647 w 57"/>
                <a:gd name="T27" fmla="*/ 2147483647 h 74"/>
                <a:gd name="T28" fmla="*/ 2147483647 w 57"/>
                <a:gd name="T29" fmla="*/ 2147483647 h 74"/>
                <a:gd name="T30" fmla="*/ 0 w 57"/>
                <a:gd name="T31" fmla="*/ 2147483647 h 74"/>
                <a:gd name="T32" fmla="*/ 2147483647 w 57"/>
                <a:gd name="T33" fmla="*/ 2147483647 h 74"/>
                <a:gd name="T34" fmla="*/ 2147483647 w 57"/>
                <a:gd name="T35" fmla="*/ 2147483647 h 74"/>
                <a:gd name="T36" fmla="*/ 2147483647 w 57"/>
                <a:gd name="T37" fmla="*/ 2147483647 h 74"/>
                <a:gd name="T38" fmla="*/ 2147483647 w 57"/>
                <a:gd name="T39" fmla="*/ 2147483647 h 74"/>
                <a:gd name="T40" fmla="*/ 2147483647 w 57"/>
                <a:gd name="T41" fmla="*/ 2147483647 h 74"/>
                <a:gd name="T42" fmla="*/ 2147483647 w 57"/>
                <a:gd name="T43" fmla="*/ 2147483647 h 74"/>
                <a:gd name="T44" fmla="*/ 2147483647 w 57"/>
                <a:gd name="T45" fmla="*/ 2147483647 h 74"/>
                <a:gd name="T46" fmla="*/ 2147483647 w 57"/>
                <a:gd name="T47" fmla="*/ 2147483647 h 74"/>
                <a:gd name="T48" fmla="*/ 2147483647 w 57"/>
                <a:gd name="T49" fmla="*/ 2147483647 h 74"/>
                <a:gd name="T50" fmla="*/ 2147483647 w 57"/>
                <a:gd name="T51" fmla="*/ 2147483647 h 74"/>
                <a:gd name="T52" fmla="*/ 2147483647 w 57"/>
                <a:gd name="T53" fmla="*/ 2147483647 h 74"/>
                <a:gd name="T54" fmla="*/ 2147483647 w 57"/>
                <a:gd name="T55" fmla="*/ 2147483647 h 74"/>
                <a:gd name="T56" fmla="*/ 2147483647 w 57"/>
                <a:gd name="T57" fmla="*/ 2147483647 h 74"/>
                <a:gd name="T58" fmla="*/ 2147483647 w 57"/>
                <a:gd name="T59" fmla="*/ 2147483647 h 74"/>
                <a:gd name="T60" fmla="*/ 2147483647 w 57"/>
                <a:gd name="T61" fmla="*/ 2147483647 h 74"/>
                <a:gd name="T62" fmla="*/ 2147483647 w 57"/>
                <a:gd name="T63" fmla="*/ 2147483647 h 74"/>
                <a:gd name="T64" fmla="*/ 2147483647 w 57"/>
                <a:gd name="T65" fmla="*/ 2147483647 h 74"/>
                <a:gd name="T66" fmla="*/ 2147483647 w 57"/>
                <a:gd name="T67" fmla="*/ 2147483647 h 74"/>
                <a:gd name="T68" fmla="*/ 2147483647 w 57"/>
                <a:gd name="T69" fmla="*/ 2147483647 h 74"/>
                <a:gd name="T70" fmla="*/ 2147483647 w 57"/>
                <a:gd name="T71" fmla="*/ 2147483647 h 74"/>
                <a:gd name="T72" fmla="*/ 2147483647 w 57"/>
                <a:gd name="T73" fmla="*/ 2147483647 h 74"/>
                <a:gd name="T74" fmla="*/ 2147483647 w 57"/>
                <a:gd name="T75" fmla="*/ 2147483647 h 74"/>
                <a:gd name="T76" fmla="*/ 2147483647 w 57"/>
                <a:gd name="T77" fmla="*/ 2147483647 h 74"/>
                <a:gd name="T78" fmla="*/ 2147483647 w 57"/>
                <a:gd name="T79" fmla="*/ 2147483647 h 74"/>
                <a:gd name="T80" fmla="*/ 2147483647 w 57"/>
                <a:gd name="T81" fmla="*/ 2147483647 h 74"/>
                <a:gd name="T82" fmla="*/ 2147483647 w 57"/>
                <a:gd name="T83" fmla="*/ 2147483647 h 74"/>
                <a:gd name="T84" fmla="*/ 2147483647 w 57"/>
                <a:gd name="T85" fmla="*/ 2147483647 h 74"/>
                <a:gd name="T86" fmla="*/ 2147483647 w 57"/>
                <a:gd name="T87" fmla="*/ 2147483647 h 74"/>
                <a:gd name="T88" fmla="*/ 2147483647 w 57"/>
                <a:gd name="T89" fmla="*/ 2147483647 h 74"/>
                <a:gd name="T90" fmla="*/ 2147483647 w 57"/>
                <a:gd name="T91" fmla="*/ 2147483647 h 74"/>
                <a:gd name="T92" fmla="*/ 2147483647 w 57"/>
                <a:gd name="T93" fmla="*/ 2147483647 h 74"/>
                <a:gd name="T94" fmla="*/ 2147483647 w 57"/>
                <a:gd name="T95" fmla="*/ 2147483647 h 74"/>
                <a:gd name="T96" fmla="*/ 2147483647 w 57"/>
                <a:gd name="T97" fmla="*/ 2147483647 h 74"/>
                <a:gd name="T98" fmla="*/ 2147483647 w 57"/>
                <a:gd name="T99" fmla="*/ 2147483647 h 74"/>
                <a:gd name="T100" fmla="*/ 2147483647 w 57"/>
                <a:gd name="T101" fmla="*/ 2147483647 h 74"/>
                <a:gd name="T102" fmla="*/ 2147483647 w 57"/>
                <a:gd name="T103" fmla="*/ 2147483647 h 74"/>
                <a:gd name="T104" fmla="*/ 2147483647 w 57"/>
                <a:gd name="T105" fmla="*/ 2147483647 h 74"/>
                <a:gd name="T106" fmla="*/ 2147483647 w 57"/>
                <a:gd name="T107" fmla="*/ 2147483647 h 74"/>
                <a:gd name="T108" fmla="*/ 2147483647 w 57"/>
                <a:gd name="T109" fmla="*/ 2147483647 h 74"/>
                <a:gd name="T110" fmla="*/ 2147483647 w 57"/>
                <a:gd name="T111" fmla="*/ 0 h 74"/>
                <a:gd name="T112" fmla="*/ 2147483647 w 57"/>
                <a:gd name="T113" fmla="*/ 0 h 7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7"/>
                <a:gd name="T172" fmla="*/ 0 h 74"/>
                <a:gd name="T173" fmla="*/ 57 w 57"/>
                <a:gd name="T174" fmla="*/ 74 h 7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7" h="74">
                  <a:moveTo>
                    <a:pt x="52" y="0"/>
                  </a:moveTo>
                  <a:lnTo>
                    <a:pt x="50" y="5"/>
                  </a:lnTo>
                  <a:lnTo>
                    <a:pt x="43" y="7"/>
                  </a:lnTo>
                  <a:lnTo>
                    <a:pt x="32" y="8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0" y="9"/>
                  </a:lnTo>
                  <a:lnTo>
                    <a:pt x="8" y="18"/>
                  </a:lnTo>
                  <a:lnTo>
                    <a:pt x="5" y="23"/>
                  </a:lnTo>
                  <a:lnTo>
                    <a:pt x="4" y="28"/>
                  </a:lnTo>
                  <a:lnTo>
                    <a:pt x="5" y="36"/>
                  </a:lnTo>
                  <a:lnTo>
                    <a:pt x="3" y="42"/>
                  </a:lnTo>
                  <a:lnTo>
                    <a:pt x="1" y="42"/>
                  </a:lnTo>
                  <a:lnTo>
                    <a:pt x="0" y="52"/>
                  </a:lnTo>
                  <a:lnTo>
                    <a:pt x="5" y="52"/>
                  </a:lnTo>
                  <a:lnTo>
                    <a:pt x="7" y="56"/>
                  </a:lnTo>
                  <a:lnTo>
                    <a:pt x="8" y="65"/>
                  </a:lnTo>
                  <a:lnTo>
                    <a:pt x="5" y="71"/>
                  </a:lnTo>
                  <a:lnTo>
                    <a:pt x="5" y="74"/>
                  </a:lnTo>
                  <a:lnTo>
                    <a:pt x="9" y="74"/>
                  </a:lnTo>
                  <a:lnTo>
                    <a:pt x="12" y="66"/>
                  </a:lnTo>
                  <a:lnTo>
                    <a:pt x="13" y="49"/>
                  </a:lnTo>
                  <a:lnTo>
                    <a:pt x="11" y="46"/>
                  </a:lnTo>
                  <a:lnTo>
                    <a:pt x="12" y="44"/>
                  </a:lnTo>
                  <a:lnTo>
                    <a:pt x="15" y="45"/>
                  </a:lnTo>
                  <a:lnTo>
                    <a:pt x="16" y="41"/>
                  </a:lnTo>
                  <a:lnTo>
                    <a:pt x="20" y="44"/>
                  </a:lnTo>
                  <a:lnTo>
                    <a:pt x="20" y="54"/>
                  </a:lnTo>
                  <a:lnTo>
                    <a:pt x="25" y="60"/>
                  </a:lnTo>
                  <a:lnTo>
                    <a:pt x="24" y="67"/>
                  </a:lnTo>
                  <a:lnTo>
                    <a:pt x="28" y="68"/>
                  </a:lnTo>
                  <a:lnTo>
                    <a:pt x="30" y="60"/>
                  </a:lnTo>
                  <a:lnTo>
                    <a:pt x="33" y="60"/>
                  </a:lnTo>
                  <a:lnTo>
                    <a:pt x="33" y="57"/>
                  </a:lnTo>
                  <a:lnTo>
                    <a:pt x="30" y="51"/>
                  </a:lnTo>
                  <a:lnTo>
                    <a:pt x="30" y="41"/>
                  </a:lnTo>
                  <a:lnTo>
                    <a:pt x="23" y="38"/>
                  </a:lnTo>
                  <a:lnTo>
                    <a:pt x="22" y="35"/>
                  </a:lnTo>
                  <a:lnTo>
                    <a:pt x="23" y="34"/>
                  </a:lnTo>
                  <a:lnTo>
                    <a:pt x="29" y="35"/>
                  </a:lnTo>
                  <a:lnTo>
                    <a:pt x="35" y="27"/>
                  </a:lnTo>
                  <a:lnTo>
                    <a:pt x="41" y="27"/>
                  </a:lnTo>
                  <a:lnTo>
                    <a:pt x="43" y="25"/>
                  </a:lnTo>
                  <a:lnTo>
                    <a:pt x="39" y="22"/>
                  </a:lnTo>
                  <a:lnTo>
                    <a:pt x="30" y="23"/>
                  </a:lnTo>
                  <a:lnTo>
                    <a:pt x="22" y="26"/>
                  </a:lnTo>
                  <a:lnTo>
                    <a:pt x="19" y="31"/>
                  </a:lnTo>
                  <a:lnTo>
                    <a:pt x="10" y="23"/>
                  </a:lnTo>
                  <a:lnTo>
                    <a:pt x="11" y="17"/>
                  </a:lnTo>
                  <a:lnTo>
                    <a:pt x="15" y="13"/>
                  </a:lnTo>
                  <a:lnTo>
                    <a:pt x="39" y="13"/>
                  </a:lnTo>
                  <a:lnTo>
                    <a:pt x="44" y="15"/>
                  </a:lnTo>
                  <a:lnTo>
                    <a:pt x="53" y="11"/>
                  </a:lnTo>
                  <a:lnTo>
                    <a:pt x="57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6" name="Freeform 543"/>
            <p:cNvSpPr>
              <a:spLocks/>
            </p:cNvSpPr>
            <p:nvPr/>
          </p:nvSpPr>
          <p:spPr bwMode="gray">
            <a:xfrm>
              <a:off x="4176" y="2627"/>
              <a:ext cx="35" cy="68"/>
            </a:xfrm>
            <a:custGeom>
              <a:avLst/>
              <a:gdLst>
                <a:gd name="T0" fmla="*/ 2147483647 w 26"/>
                <a:gd name="T1" fmla="*/ 2147483647 h 52"/>
                <a:gd name="T2" fmla="*/ 2147483647 w 26"/>
                <a:gd name="T3" fmla="*/ 2147483647 h 52"/>
                <a:gd name="T4" fmla="*/ 2147483647 w 26"/>
                <a:gd name="T5" fmla="*/ 0 h 52"/>
                <a:gd name="T6" fmla="*/ 2147483647 w 26"/>
                <a:gd name="T7" fmla="*/ 2147483647 h 52"/>
                <a:gd name="T8" fmla="*/ 2147483647 w 26"/>
                <a:gd name="T9" fmla="*/ 2147483647 h 52"/>
                <a:gd name="T10" fmla="*/ 2147483647 w 26"/>
                <a:gd name="T11" fmla="*/ 2147483647 h 52"/>
                <a:gd name="T12" fmla="*/ 2147483647 w 26"/>
                <a:gd name="T13" fmla="*/ 2147483647 h 52"/>
                <a:gd name="T14" fmla="*/ 2147483647 w 26"/>
                <a:gd name="T15" fmla="*/ 2147483647 h 52"/>
                <a:gd name="T16" fmla="*/ 2147483647 w 26"/>
                <a:gd name="T17" fmla="*/ 2147483647 h 52"/>
                <a:gd name="T18" fmla="*/ 2147483647 w 26"/>
                <a:gd name="T19" fmla="*/ 2147483647 h 52"/>
                <a:gd name="T20" fmla="*/ 2147483647 w 26"/>
                <a:gd name="T21" fmla="*/ 2147483647 h 52"/>
                <a:gd name="T22" fmla="*/ 2147483647 w 26"/>
                <a:gd name="T23" fmla="*/ 2147483647 h 52"/>
                <a:gd name="T24" fmla="*/ 2147483647 w 26"/>
                <a:gd name="T25" fmla="*/ 2147483647 h 52"/>
                <a:gd name="T26" fmla="*/ 2147483647 w 26"/>
                <a:gd name="T27" fmla="*/ 2147483647 h 52"/>
                <a:gd name="T28" fmla="*/ 2147483647 w 26"/>
                <a:gd name="T29" fmla="*/ 2147483647 h 52"/>
                <a:gd name="T30" fmla="*/ 2147483647 w 26"/>
                <a:gd name="T31" fmla="*/ 2147483647 h 52"/>
                <a:gd name="T32" fmla="*/ 0 w 26"/>
                <a:gd name="T33" fmla="*/ 2147483647 h 52"/>
                <a:gd name="T34" fmla="*/ 2147483647 w 26"/>
                <a:gd name="T35" fmla="*/ 2147483647 h 52"/>
                <a:gd name="T36" fmla="*/ 2147483647 w 26"/>
                <a:gd name="T37" fmla="*/ 2147483647 h 52"/>
                <a:gd name="T38" fmla="*/ 2147483647 w 26"/>
                <a:gd name="T39" fmla="*/ 2147483647 h 52"/>
                <a:gd name="T40" fmla="*/ 2147483647 w 26"/>
                <a:gd name="T41" fmla="*/ 2147483647 h 52"/>
                <a:gd name="T42" fmla="*/ 2147483647 w 26"/>
                <a:gd name="T43" fmla="*/ 2147483647 h 52"/>
                <a:gd name="T44" fmla="*/ 2147483647 w 26"/>
                <a:gd name="T45" fmla="*/ 2147483647 h 5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6"/>
                <a:gd name="T70" fmla="*/ 0 h 52"/>
                <a:gd name="T71" fmla="*/ 26 w 26"/>
                <a:gd name="T72" fmla="*/ 52 h 5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6" h="52">
                  <a:moveTo>
                    <a:pt x="12" y="1"/>
                  </a:moveTo>
                  <a:lnTo>
                    <a:pt x="16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3" y="11"/>
                  </a:lnTo>
                  <a:lnTo>
                    <a:pt x="26" y="15"/>
                  </a:lnTo>
                  <a:lnTo>
                    <a:pt x="25" y="21"/>
                  </a:lnTo>
                  <a:lnTo>
                    <a:pt x="17" y="29"/>
                  </a:lnTo>
                  <a:lnTo>
                    <a:pt x="15" y="33"/>
                  </a:lnTo>
                  <a:lnTo>
                    <a:pt x="18" y="42"/>
                  </a:lnTo>
                  <a:lnTo>
                    <a:pt x="19" y="45"/>
                  </a:lnTo>
                  <a:lnTo>
                    <a:pt x="18" y="50"/>
                  </a:lnTo>
                  <a:lnTo>
                    <a:pt x="16" y="52"/>
                  </a:lnTo>
                  <a:lnTo>
                    <a:pt x="10" y="48"/>
                  </a:lnTo>
                  <a:lnTo>
                    <a:pt x="10" y="40"/>
                  </a:lnTo>
                  <a:lnTo>
                    <a:pt x="4" y="37"/>
                  </a:lnTo>
                  <a:lnTo>
                    <a:pt x="0" y="27"/>
                  </a:lnTo>
                  <a:lnTo>
                    <a:pt x="1" y="23"/>
                  </a:lnTo>
                  <a:lnTo>
                    <a:pt x="4" y="23"/>
                  </a:lnTo>
                  <a:lnTo>
                    <a:pt x="7" y="8"/>
                  </a:lnTo>
                  <a:lnTo>
                    <a:pt x="9" y="5"/>
                  </a:lnTo>
                  <a:lnTo>
                    <a:pt x="9" y="1"/>
                  </a:ln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7" name="Freeform 544"/>
            <p:cNvSpPr>
              <a:spLocks/>
            </p:cNvSpPr>
            <p:nvPr/>
          </p:nvSpPr>
          <p:spPr bwMode="gray">
            <a:xfrm>
              <a:off x="4183" y="2695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2147483647 w 11"/>
                <a:gd name="T7" fmla="*/ 2147483647 h 12"/>
                <a:gd name="T8" fmla="*/ 2147483647 w 11"/>
                <a:gd name="T9" fmla="*/ 2147483647 h 12"/>
                <a:gd name="T10" fmla="*/ 2147483647 w 11"/>
                <a:gd name="T11" fmla="*/ 2147483647 h 12"/>
                <a:gd name="T12" fmla="*/ 0 w 11"/>
                <a:gd name="T13" fmla="*/ 2147483647 h 12"/>
                <a:gd name="T14" fmla="*/ 2147483647 w 11"/>
                <a:gd name="T15" fmla="*/ 0 h 12"/>
                <a:gd name="T16" fmla="*/ 2147483647 w 11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2"/>
                <a:gd name="T29" fmla="*/ 11 w 1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2">
                  <a:moveTo>
                    <a:pt x="6" y="0"/>
                  </a:moveTo>
                  <a:lnTo>
                    <a:pt x="10" y="4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6" y="11"/>
                  </a:lnTo>
                  <a:lnTo>
                    <a:pt x="4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8" name="Freeform 545"/>
            <p:cNvSpPr>
              <a:spLocks/>
            </p:cNvSpPr>
            <p:nvPr/>
          </p:nvSpPr>
          <p:spPr bwMode="gray">
            <a:xfrm>
              <a:off x="4202" y="2686"/>
              <a:ext cx="28" cy="21"/>
            </a:xfrm>
            <a:custGeom>
              <a:avLst/>
              <a:gdLst>
                <a:gd name="T0" fmla="*/ 0 w 21"/>
                <a:gd name="T1" fmla="*/ 2147483647 h 16"/>
                <a:gd name="T2" fmla="*/ 2147483647 w 21"/>
                <a:gd name="T3" fmla="*/ 0 h 16"/>
                <a:gd name="T4" fmla="*/ 2147483647 w 21"/>
                <a:gd name="T5" fmla="*/ 0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0 w 21"/>
                <a:gd name="T25" fmla="*/ 2147483647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16"/>
                <a:gd name="T41" fmla="*/ 21 w 21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16">
                  <a:moveTo>
                    <a:pt x="0" y="3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4" y="1"/>
                  </a:lnTo>
                  <a:lnTo>
                    <a:pt x="17" y="6"/>
                  </a:lnTo>
                  <a:lnTo>
                    <a:pt x="18" y="12"/>
                  </a:lnTo>
                  <a:lnTo>
                    <a:pt x="21" y="13"/>
                  </a:lnTo>
                  <a:lnTo>
                    <a:pt x="20" y="16"/>
                  </a:lnTo>
                  <a:lnTo>
                    <a:pt x="12" y="11"/>
                  </a:lnTo>
                  <a:lnTo>
                    <a:pt x="7" y="7"/>
                  </a:lnTo>
                  <a:lnTo>
                    <a:pt x="5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49" name="Freeform 546"/>
            <p:cNvSpPr>
              <a:spLocks/>
            </p:cNvSpPr>
            <p:nvPr/>
          </p:nvSpPr>
          <p:spPr bwMode="gray">
            <a:xfrm>
              <a:off x="4232" y="2710"/>
              <a:ext cx="13" cy="17"/>
            </a:xfrm>
            <a:custGeom>
              <a:avLst/>
              <a:gdLst>
                <a:gd name="T0" fmla="*/ 0 w 10"/>
                <a:gd name="T1" fmla="*/ 2147483647 h 13"/>
                <a:gd name="T2" fmla="*/ 2147483647 w 10"/>
                <a:gd name="T3" fmla="*/ 0 h 13"/>
                <a:gd name="T4" fmla="*/ 2147483647 w 10"/>
                <a:gd name="T5" fmla="*/ 2147483647 h 13"/>
                <a:gd name="T6" fmla="*/ 2147483647 w 10"/>
                <a:gd name="T7" fmla="*/ 2147483647 h 13"/>
                <a:gd name="T8" fmla="*/ 2147483647 w 10"/>
                <a:gd name="T9" fmla="*/ 2147483647 h 13"/>
                <a:gd name="T10" fmla="*/ 2147483647 w 10"/>
                <a:gd name="T11" fmla="*/ 2147483647 h 13"/>
                <a:gd name="T12" fmla="*/ 2147483647 w 10"/>
                <a:gd name="T13" fmla="*/ 2147483647 h 13"/>
                <a:gd name="T14" fmla="*/ 0 w 10"/>
                <a:gd name="T15" fmla="*/ 2147483647 h 13"/>
                <a:gd name="T16" fmla="*/ 0 w 10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3"/>
                <a:gd name="T29" fmla="*/ 10 w 1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3">
                  <a:moveTo>
                    <a:pt x="0" y="1"/>
                  </a:moveTo>
                  <a:lnTo>
                    <a:pt x="3" y="0"/>
                  </a:lnTo>
                  <a:lnTo>
                    <a:pt x="8" y="1"/>
                  </a:lnTo>
                  <a:lnTo>
                    <a:pt x="10" y="6"/>
                  </a:lnTo>
                  <a:lnTo>
                    <a:pt x="10" y="13"/>
                  </a:lnTo>
                  <a:lnTo>
                    <a:pt x="6" y="11"/>
                  </a:lnTo>
                  <a:lnTo>
                    <a:pt x="4" y="6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0" name="Freeform 547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0 w 4"/>
                <a:gd name="T3" fmla="*/ 2147483647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4" y="1"/>
                  </a:lnTo>
                  <a:lnTo>
                    <a:pt x="4" y="4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1" name="Freeform 548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0 h 5"/>
                <a:gd name="T4" fmla="*/ 2147483647 w 6"/>
                <a:gd name="T5" fmla="*/ 0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6" y="5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2" name="Freeform 549"/>
            <p:cNvSpPr>
              <a:spLocks/>
            </p:cNvSpPr>
            <p:nvPr/>
          </p:nvSpPr>
          <p:spPr bwMode="gray">
            <a:xfrm>
              <a:off x="4205" y="2722"/>
              <a:ext cx="11" cy="15"/>
            </a:xfrm>
            <a:custGeom>
              <a:avLst/>
              <a:gdLst>
                <a:gd name="T0" fmla="*/ 2147483647 w 8"/>
                <a:gd name="T1" fmla="*/ 0 h 11"/>
                <a:gd name="T2" fmla="*/ 0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0 h 11"/>
                <a:gd name="T10" fmla="*/ 2147483647 w 8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3" name="Freeform 550"/>
            <p:cNvSpPr>
              <a:spLocks/>
            </p:cNvSpPr>
            <p:nvPr/>
          </p:nvSpPr>
          <p:spPr bwMode="gray">
            <a:xfrm>
              <a:off x="4207" y="2732"/>
              <a:ext cx="14" cy="21"/>
            </a:xfrm>
            <a:custGeom>
              <a:avLst/>
              <a:gdLst>
                <a:gd name="T0" fmla="*/ 2147483647 w 11"/>
                <a:gd name="T1" fmla="*/ 2147483647 h 16"/>
                <a:gd name="T2" fmla="*/ 2147483647 w 11"/>
                <a:gd name="T3" fmla="*/ 2147483647 h 16"/>
                <a:gd name="T4" fmla="*/ 2147483647 w 11"/>
                <a:gd name="T5" fmla="*/ 2147483647 h 16"/>
                <a:gd name="T6" fmla="*/ 2147483647 w 11"/>
                <a:gd name="T7" fmla="*/ 2147483647 h 16"/>
                <a:gd name="T8" fmla="*/ 0 w 11"/>
                <a:gd name="T9" fmla="*/ 2147483647 h 16"/>
                <a:gd name="T10" fmla="*/ 2147483647 w 11"/>
                <a:gd name="T11" fmla="*/ 2147483647 h 16"/>
                <a:gd name="T12" fmla="*/ 2147483647 w 11"/>
                <a:gd name="T13" fmla="*/ 2147483647 h 16"/>
                <a:gd name="T14" fmla="*/ 2147483647 w 11"/>
                <a:gd name="T15" fmla="*/ 2147483647 h 16"/>
                <a:gd name="T16" fmla="*/ 2147483647 w 11"/>
                <a:gd name="T17" fmla="*/ 0 h 16"/>
                <a:gd name="T18" fmla="*/ 2147483647 w 11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6"/>
                <a:gd name="T32" fmla="*/ 11 w 11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6">
                  <a:moveTo>
                    <a:pt x="11" y="1"/>
                  </a:moveTo>
                  <a:lnTo>
                    <a:pt x="11" y="9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0" y="13"/>
                  </a:lnTo>
                  <a:lnTo>
                    <a:pt x="1" y="9"/>
                  </a:lnTo>
                  <a:lnTo>
                    <a:pt x="8" y="7"/>
                  </a:lnTo>
                  <a:lnTo>
                    <a:pt x="5" y="4"/>
                  </a:lnTo>
                  <a:lnTo>
                    <a:pt x="7" y="0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4" name="Freeform 55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2147483647 w 4"/>
                <a:gd name="T1" fmla="*/ 0 h 14"/>
                <a:gd name="T2" fmla="*/ 0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2147483647 h 14"/>
                <a:gd name="T8" fmla="*/ 2147483647 w 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2" y="0"/>
                  </a:moveTo>
                  <a:lnTo>
                    <a:pt x="0" y="14"/>
                  </a:ln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5" name="Freeform 55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0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2147483647 h 10"/>
                <a:gd name="T10" fmla="*/ 2147483647 w 9"/>
                <a:gd name="T11" fmla="*/ 2147483647 h 10"/>
                <a:gd name="T12" fmla="*/ 0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0" y="0"/>
                  </a:moveTo>
                  <a:lnTo>
                    <a:pt x="5" y="0"/>
                  </a:lnTo>
                  <a:lnTo>
                    <a:pt x="8" y="5"/>
                  </a:lnTo>
                  <a:lnTo>
                    <a:pt x="9" y="9"/>
                  </a:lnTo>
                  <a:lnTo>
                    <a:pt x="5" y="10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6" name="Freeform 55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0 h 6"/>
                <a:gd name="T6" fmla="*/ 2147483647 w 7"/>
                <a:gd name="T7" fmla="*/ 2147483647 h 6"/>
                <a:gd name="T8" fmla="*/ 2147483647 w 7"/>
                <a:gd name="T9" fmla="*/ 2147483647 h 6"/>
                <a:gd name="T10" fmla="*/ 0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5"/>
                  </a:moveTo>
                  <a:lnTo>
                    <a:pt x="3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4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7" name="Freeform 55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2147483647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2147483647 w 42"/>
                <a:gd name="T27" fmla="*/ 2147483647 h 41"/>
                <a:gd name="T28" fmla="*/ 2147483647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0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0 w 42"/>
                <a:gd name="T67" fmla="*/ 2147483647 h 41"/>
                <a:gd name="T68" fmla="*/ 0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2147483647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18" y="21"/>
                  </a:move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8" name="Freeform 55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2147483647 w 4"/>
                <a:gd name="T1" fmla="*/ 2147483647 h 5"/>
                <a:gd name="T2" fmla="*/ 2147483647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4" y="4"/>
                  </a:moveTo>
                  <a:lnTo>
                    <a:pt x="2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59" name="Freeform 55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0" name="Freeform 55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1" name="Freeform 55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2" name="Freeform 55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3" y="0"/>
                  </a:lnTo>
                  <a:lnTo>
                    <a:pt x="4" y="2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3" name="Freeform 56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0"/>
                  </a:moveTo>
                  <a:lnTo>
                    <a:pt x="4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4" name="Freeform 56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0 w 10"/>
                <a:gd name="T1" fmla="*/ 2147483647 h 7"/>
                <a:gd name="T2" fmla="*/ 2147483647 w 10"/>
                <a:gd name="T3" fmla="*/ 0 h 7"/>
                <a:gd name="T4" fmla="*/ 2147483647 w 10"/>
                <a:gd name="T5" fmla="*/ 0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0 w 10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0" y="3"/>
                  </a:moveTo>
                  <a:lnTo>
                    <a:pt x="2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8" y="7"/>
                  </a:lnTo>
                  <a:lnTo>
                    <a:pt x="3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5" name="Freeform 56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0 w 29"/>
                <a:gd name="T1" fmla="*/ 2147483647 h 12"/>
                <a:gd name="T2" fmla="*/ 2147483647 w 29"/>
                <a:gd name="T3" fmla="*/ 0 h 12"/>
                <a:gd name="T4" fmla="*/ 2147483647 w 29"/>
                <a:gd name="T5" fmla="*/ 0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2147483647 h 12"/>
                <a:gd name="T12" fmla="*/ 2147483647 w 29"/>
                <a:gd name="T13" fmla="*/ 2147483647 h 12"/>
                <a:gd name="T14" fmla="*/ 2147483647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0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0" y="3"/>
                  </a:moveTo>
                  <a:lnTo>
                    <a:pt x="8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11"/>
                  </a:lnTo>
                  <a:lnTo>
                    <a:pt x="27" y="12"/>
                  </a:lnTo>
                  <a:lnTo>
                    <a:pt x="19" y="5"/>
                  </a:lnTo>
                  <a:lnTo>
                    <a:pt x="12" y="4"/>
                  </a:lnTo>
                  <a:lnTo>
                    <a:pt x="6" y="5"/>
                  </a:lnTo>
                  <a:lnTo>
                    <a:pt x="2" y="8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6" name="Freeform 56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0 w 15"/>
                <a:gd name="T3" fmla="*/ 2147483647 h 5"/>
                <a:gd name="T4" fmla="*/ 0 w 15"/>
                <a:gd name="T5" fmla="*/ 2147483647 h 5"/>
                <a:gd name="T6" fmla="*/ 2147483647 w 15"/>
                <a:gd name="T7" fmla="*/ 0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3" y="5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6" y="2"/>
                  </a:lnTo>
                  <a:lnTo>
                    <a:pt x="9" y="3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7" name="Freeform 56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7" y="2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8" name="Freeform 56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2147483647 h 4"/>
                <a:gd name="T2" fmla="*/ 2147483647 w 5"/>
                <a:gd name="T3" fmla="*/ 2147483647 h 4"/>
                <a:gd name="T4" fmla="*/ 2147483647 w 5"/>
                <a:gd name="T5" fmla="*/ 2147483647 h 4"/>
                <a:gd name="T6" fmla="*/ 0 w 5"/>
                <a:gd name="T7" fmla="*/ 2147483647 h 4"/>
                <a:gd name="T8" fmla="*/ 2147483647 w 5"/>
                <a:gd name="T9" fmla="*/ 0 h 4"/>
                <a:gd name="T10" fmla="*/ 2147483647 w 5"/>
                <a:gd name="T11" fmla="*/ 0 h 4"/>
                <a:gd name="T12" fmla="*/ 2147483647 w 5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5" y="2"/>
                  </a:moveTo>
                  <a:lnTo>
                    <a:pt x="3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69" name="Freeform 56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2147483647 w 7"/>
                <a:gd name="T1" fmla="*/ 2147483647 h 5"/>
                <a:gd name="T2" fmla="*/ 0 w 7"/>
                <a:gd name="T3" fmla="*/ 2147483647 h 5"/>
                <a:gd name="T4" fmla="*/ 2147483647 w 7"/>
                <a:gd name="T5" fmla="*/ 0 h 5"/>
                <a:gd name="T6" fmla="*/ 2147483647 w 7"/>
                <a:gd name="T7" fmla="*/ 2147483647 h 5"/>
                <a:gd name="T8" fmla="*/ 2147483647 w 7"/>
                <a:gd name="T9" fmla="*/ 2147483647 h 5"/>
                <a:gd name="T10" fmla="*/ 2147483647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2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6" y="1"/>
                  </a:lnTo>
                  <a:lnTo>
                    <a:pt x="7" y="3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0" name="Freeform 56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0 w 5"/>
                <a:gd name="T1" fmla="*/ 2147483647 h 9"/>
                <a:gd name="T2" fmla="*/ 0 w 5"/>
                <a:gd name="T3" fmla="*/ 2147483647 h 9"/>
                <a:gd name="T4" fmla="*/ 2147483647 w 5"/>
                <a:gd name="T5" fmla="*/ 0 h 9"/>
                <a:gd name="T6" fmla="*/ 2147483647 w 5"/>
                <a:gd name="T7" fmla="*/ 2147483647 h 9"/>
                <a:gd name="T8" fmla="*/ 2147483647 w 5"/>
                <a:gd name="T9" fmla="*/ 2147483647 h 9"/>
                <a:gd name="T10" fmla="*/ 0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9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5" y="3"/>
                  </a:lnTo>
                  <a:lnTo>
                    <a:pt x="4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1" name="Freeform 56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0 w 4"/>
                <a:gd name="T1" fmla="*/ 2147483647 h 4"/>
                <a:gd name="T2" fmla="*/ 0 w 4"/>
                <a:gd name="T3" fmla="*/ 0 h 4"/>
                <a:gd name="T4" fmla="*/ 2147483647 w 4"/>
                <a:gd name="T5" fmla="*/ 0 h 4"/>
                <a:gd name="T6" fmla="*/ 2147483647 w 4"/>
                <a:gd name="T7" fmla="*/ 2147483647 h 4"/>
                <a:gd name="T8" fmla="*/ 2147483647 w 4"/>
                <a:gd name="T9" fmla="*/ 2147483647 h 4"/>
                <a:gd name="T10" fmla="*/ 0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2" name="Freeform 56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0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3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3" name="Freeform 57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0 h 6"/>
                <a:gd name="T4" fmla="*/ 2147483647 w 4"/>
                <a:gd name="T5" fmla="*/ 0 h 6"/>
                <a:gd name="T6" fmla="*/ 2147483647 w 4"/>
                <a:gd name="T7" fmla="*/ 2147483647 h 6"/>
                <a:gd name="T8" fmla="*/ 0 w 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4" name="Freeform 571"/>
            <p:cNvSpPr>
              <a:spLocks/>
            </p:cNvSpPr>
            <p:nvPr/>
          </p:nvSpPr>
          <p:spPr bwMode="gray">
            <a:xfrm>
              <a:off x="4393" y="2969"/>
              <a:ext cx="14" cy="16"/>
            </a:xfrm>
            <a:custGeom>
              <a:avLst/>
              <a:gdLst>
                <a:gd name="T0" fmla="*/ 2147483647 w 11"/>
                <a:gd name="T1" fmla="*/ 0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0 w 11"/>
                <a:gd name="T7" fmla="*/ 2147483647 h 12"/>
                <a:gd name="T8" fmla="*/ 0 w 11"/>
                <a:gd name="T9" fmla="*/ 2147483647 h 12"/>
                <a:gd name="T10" fmla="*/ 2147483647 w 11"/>
                <a:gd name="T11" fmla="*/ 2147483647 h 12"/>
                <a:gd name="T12" fmla="*/ 2147483647 w 11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2"/>
                <a:gd name="T23" fmla="*/ 11 w 11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2">
                  <a:moveTo>
                    <a:pt x="9" y="0"/>
                  </a:moveTo>
                  <a:lnTo>
                    <a:pt x="10" y="4"/>
                  </a:lnTo>
                  <a:lnTo>
                    <a:pt x="11" y="11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5" name="Freeform 572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3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6" name="Freeform 573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7" name="Freeform 574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0 w 12"/>
                <a:gd name="T1" fmla="*/ 0 h 8"/>
                <a:gd name="T2" fmla="*/ 2147483647 w 12"/>
                <a:gd name="T3" fmla="*/ 2147483647 h 8"/>
                <a:gd name="T4" fmla="*/ 2147483647 w 12"/>
                <a:gd name="T5" fmla="*/ 2147483647 h 8"/>
                <a:gd name="T6" fmla="*/ 2147483647 w 12"/>
                <a:gd name="T7" fmla="*/ 2147483647 h 8"/>
                <a:gd name="T8" fmla="*/ 0 w 1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0" y="0"/>
                  </a:moveTo>
                  <a:lnTo>
                    <a:pt x="8" y="8"/>
                  </a:lnTo>
                  <a:lnTo>
                    <a:pt x="12" y="6"/>
                  </a:lnTo>
                  <a:lnTo>
                    <a:pt x="6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8" name="Freeform 575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79" name="Freeform 576"/>
            <p:cNvSpPr>
              <a:spLocks/>
            </p:cNvSpPr>
            <p:nvPr/>
          </p:nvSpPr>
          <p:spPr bwMode="gray">
            <a:xfrm>
              <a:off x="4111" y="2811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0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2147483647 w 10"/>
                <a:gd name="T15" fmla="*/ 2147483647 h 8"/>
                <a:gd name="T16" fmla="*/ 2147483647 w 10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10" y="1"/>
                  </a:moveTo>
                  <a:lnTo>
                    <a:pt x="4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4" y="5"/>
                  </a:lnTo>
                  <a:lnTo>
                    <a:pt x="8" y="8"/>
                  </a:lnTo>
                  <a:lnTo>
                    <a:pt x="9" y="5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0" name="Freeform 577"/>
            <p:cNvSpPr>
              <a:spLocks/>
            </p:cNvSpPr>
            <p:nvPr/>
          </p:nvSpPr>
          <p:spPr bwMode="gray">
            <a:xfrm>
              <a:off x="4315" y="2880"/>
              <a:ext cx="122" cy="116"/>
            </a:xfrm>
            <a:custGeom>
              <a:avLst/>
              <a:gdLst>
                <a:gd name="T0" fmla="*/ 2147483647 w 94"/>
                <a:gd name="T1" fmla="*/ 2147483647 h 89"/>
                <a:gd name="T2" fmla="*/ 2147483647 w 94"/>
                <a:gd name="T3" fmla="*/ 2147483647 h 89"/>
                <a:gd name="T4" fmla="*/ 2147483647 w 94"/>
                <a:gd name="T5" fmla="*/ 2147483647 h 89"/>
                <a:gd name="T6" fmla="*/ 2147483647 w 94"/>
                <a:gd name="T7" fmla="*/ 2147483647 h 89"/>
                <a:gd name="T8" fmla="*/ 2147483647 w 94"/>
                <a:gd name="T9" fmla="*/ 2147483647 h 89"/>
                <a:gd name="T10" fmla="*/ 2147483647 w 94"/>
                <a:gd name="T11" fmla="*/ 2147483647 h 89"/>
                <a:gd name="T12" fmla="*/ 2147483647 w 94"/>
                <a:gd name="T13" fmla="*/ 2147483647 h 89"/>
                <a:gd name="T14" fmla="*/ 2147483647 w 94"/>
                <a:gd name="T15" fmla="*/ 2147483647 h 89"/>
                <a:gd name="T16" fmla="*/ 2147483647 w 94"/>
                <a:gd name="T17" fmla="*/ 2147483647 h 89"/>
                <a:gd name="T18" fmla="*/ 2147483647 w 94"/>
                <a:gd name="T19" fmla="*/ 2147483647 h 89"/>
                <a:gd name="T20" fmla="*/ 2147483647 w 94"/>
                <a:gd name="T21" fmla="*/ 2147483647 h 89"/>
                <a:gd name="T22" fmla="*/ 2147483647 w 94"/>
                <a:gd name="T23" fmla="*/ 2147483647 h 89"/>
                <a:gd name="T24" fmla="*/ 2147483647 w 94"/>
                <a:gd name="T25" fmla="*/ 2147483647 h 89"/>
                <a:gd name="T26" fmla="*/ 2147483647 w 94"/>
                <a:gd name="T27" fmla="*/ 2147483647 h 89"/>
                <a:gd name="T28" fmla="*/ 2147483647 w 94"/>
                <a:gd name="T29" fmla="*/ 2147483647 h 89"/>
                <a:gd name="T30" fmla="*/ 2147483647 w 94"/>
                <a:gd name="T31" fmla="*/ 2147483647 h 89"/>
                <a:gd name="T32" fmla="*/ 2147483647 w 94"/>
                <a:gd name="T33" fmla="*/ 2147483647 h 89"/>
                <a:gd name="T34" fmla="*/ 2147483647 w 94"/>
                <a:gd name="T35" fmla="*/ 2147483647 h 89"/>
                <a:gd name="T36" fmla="*/ 2147483647 w 94"/>
                <a:gd name="T37" fmla="*/ 2147483647 h 89"/>
                <a:gd name="T38" fmla="*/ 2147483647 w 94"/>
                <a:gd name="T39" fmla="*/ 0 h 89"/>
                <a:gd name="T40" fmla="*/ 2147483647 w 94"/>
                <a:gd name="T41" fmla="*/ 0 h 89"/>
                <a:gd name="T42" fmla="*/ 2147483647 w 94"/>
                <a:gd name="T43" fmla="*/ 2147483647 h 89"/>
                <a:gd name="T44" fmla="*/ 2147483647 w 94"/>
                <a:gd name="T45" fmla="*/ 2147483647 h 89"/>
                <a:gd name="T46" fmla="*/ 0 w 94"/>
                <a:gd name="T47" fmla="*/ 2147483647 h 89"/>
                <a:gd name="T48" fmla="*/ 2147483647 w 94"/>
                <a:gd name="T49" fmla="*/ 2147483647 h 89"/>
                <a:gd name="T50" fmla="*/ 2147483647 w 94"/>
                <a:gd name="T51" fmla="*/ 2147483647 h 89"/>
                <a:gd name="T52" fmla="*/ 2147483647 w 94"/>
                <a:gd name="T53" fmla="*/ 2147483647 h 89"/>
                <a:gd name="T54" fmla="*/ 2147483647 w 94"/>
                <a:gd name="T55" fmla="*/ 2147483647 h 89"/>
                <a:gd name="T56" fmla="*/ 2147483647 w 94"/>
                <a:gd name="T57" fmla="*/ 2147483647 h 89"/>
                <a:gd name="T58" fmla="*/ 2147483647 w 94"/>
                <a:gd name="T59" fmla="*/ 2147483647 h 89"/>
                <a:gd name="T60" fmla="*/ 2147483647 w 94"/>
                <a:gd name="T61" fmla="*/ 2147483647 h 89"/>
                <a:gd name="T62" fmla="*/ 2147483647 w 94"/>
                <a:gd name="T63" fmla="*/ 2147483647 h 89"/>
                <a:gd name="T64" fmla="*/ 2147483647 w 94"/>
                <a:gd name="T65" fmla="*/ 2147483647 h 89"/>
                <a:gd name="T66" fmla="*/ 2147483647 w 94"/>
                <a:gd name="T67" fmla="*/ 2147483647 h 89"/>
                <a:gd name="T68" fmla="*/ 2147483647 w 94"/>
                <a:gd name="T69" fmla="*/ 2147483647 h 89"/>
                <a:gd name="T70" fmla="*/ 2147483647 w 94"/>
                <a:gd name="T71" fmla="*/ 2147483647 h 89"/>
                <a:gd name="T72" fmla="*/ 2147483647 w 94"/>
                <a:gd name="T73" fmla="*/ 2147483647 h 89"/>
                <a:gd name="T74" fmla="*/ 2147483647 w 94"/>
                <a:gd name="T75" fmla="*/ 2147483647 h 89"/>
                <a:gd name="T76" fmla="*/ 2147483647 w 94"/>
                <a:gd name="T77" fmla="*/ 2147483647 h 89"/>
                <a:gd name="T78" fmla="*/ 2147483647 w 94"/>
                <a:gd name="T79" fmla="*/ 2147483647 h 89"/>
                <a:gd name="T80" fmla="*/ 2147483647 w 94"/>
                <a:gd name="T81" fmla="*/ 2147483647 h 89"/>
                <a:gd name="T82" fmla="*/ 2147483647 w 94"/>
                <a:gd name="T83" fmla="*/ 2147483647 h 89"/>
                <a:gd name="T84" fmla="*/ 2147483647 w 94"/>
                <a:gd name="T85" fmla="*/ 2147483647 h 89"/>
                <a:gd name="T86" fmla="*/ 2147483647 w 94"/>
                <a:gd name="T87" fmla="*/ 2147483647 h 89"/>
                <a:gd name="T88" fmla="*/ 2147483647 w 94"/>
                <a:gd name="T89" fmla="*/ 2147483647 h 89"/>
                <a:gd name="T90" fmla="*/ 2147483647 w 94"/>
                <a:gd name="T91" fmla="*/ 2147483647 h 89"/>
                <a:gd name="T92" fmla="*/ 2147483647 w 94"/>
                <a:gd name="T93" fmla="*/ 2147483647 h 89"/>
                <a:gd name="T94" fmla="*/ 2147483647 w 94"/>
                <a:gd name="T95" fmla="*/ 2147483647 h 89"/>
                <a:gd name="T96" fmla="*/ 2147483647 w 94"/>
                <a:gd name="T97" fmla="*/ 2147483647 h 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4"/>
                <a:gd name="T148" fmla="*/ 0 h 89"/>
                <a:gd name="T149" fmla="*/ 94 w 94"/>
                <a:gd name="T150" fmla="*/ 89 h 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4" h="89">
                  <a:moveTo>
                    <a:pt x="94" y="89"/>
                  </a:moveTo>
                  <a:lnTo>
                    <a:pt x="92" y="68"/>
                  </a:lnTo>
                  <a:lnTo>
                    <a:pt x="90" y="64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91" y="21"/>
                  </a:lnTo>
                  <a:lnTo>
                    <a:pt x="90" y="20"/>
                  </a:lnTo>
                  <a:lnTo>
                    <a:pt x="82" y="20"/>
                  </a:lnTo>
                  <a:lnTo>
                    <a:pt x="73" y="13"/>
                  </a:lnTo>
                  <a:lnTo>
                    <a:pt x="57" y="10"/>
                  </a:lnTo>
                  <a:lnTo>
                    <a:pt x="52" y="13"/>
                  </a:lnTo>
                  <a:lnTo>
                    <a:pt x="51" y="16"/>
                  </a:lnTo>
                  <a:lnTo>
                    <a:pt x="38" y="30"/>
                  </a:lnTo>
                  <a:lnTo>
                    <a:pt x="34" y="26"/>
                  </a:lnTo>
                  <a:lnTo>
                    <a:pt x="32" y="20"/>
                  </a:lnTo>
                  <a:lnTo>
                    <a:pt x="28" y="17"/>
                  </a:lnTo>
                  <a:lnTo>
                    <a:pt x="28" y="9"/>
                  </a:lnTo>
                  <a:lnTo>
                    <a:pt x="26" y="4"/>
                  </a:lnTo>
                  <a:lnTo>
                    <a:pt x="18" y="4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11"/>
                  </a:lnTo>
                  <a:lnTo>
                    <a:pt x="10" y="17"/>
                  </a:lnTo>
                  <a:lnTo>
                    <a:pt x="13" y="18"/>
                  </a:lnTo>
                  <a:lnTo>
                    <a:pt x="21" y="18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4" y="37"/>
                  </a:lnTo>
                  <a:lnTo>
                    <a:pt x="20" y="39"/>
                  </a:lnTo>
                  <a:lnTo>
                    <a:pt x="21" y="36"/>
                  </a:lnTo>
                  <a:lnTo>
                    <a:pt x="25" y="35"/>
                  </a:lnTo>
                  <a:lnTo>
                    <a:pt x="33" y="39"/>
                  </a:lnTo>
                  <a:lnTo>
                    <a:pt x="42" y="43"/>
                  </a:lnTo>
                  <a:lnTo>
                    <a:pt x="49" y="44"/>
                  </a:lnTo>
                  <a:lnTo>
                    <a:pt x="56" y="47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70" y="67"/>
                  </a:lnTo>
                  <a:lnTo>
                    <a:pt x="72" y="71"/>
                  </a:lnTo>
                  <a:lnTo>
                    <a:pt x="73" y="79"/>
                  </a:lnTo>
                  <a:lnTo>
                    <a:pt x="81" y="79"/>
                  </a:lnTo>
                  <a:lnTo>
                    <a:pt x="86" y="84"/>
                  </a:lnTo>
                  <a:lnTo>
                    <a:pt x="94" y="8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1" name="Freeform 578"/>
            <p:cNvSpPr>
              <a:spLocks/>
            </p:cNvSpPr>
            <p:nvPr/>
          </p:nvSpPr>
          <p:spPr bwMode="gray">
            <a:xfrm>
              <a:off x="3416" y="1423"/>
              <a:ext cx="1608" cy="835"/>
            </a:xfrm>
            <a:custGeom>
              <a:avLst/>
              <a:gdLst>
                <a:gd name="T0" fmla="*/ 2147483647 w 1233"/>
                <a:gd name="T1" fmla="*/ 2147483647 h 640"/>
                <a:gd name="T2" fmla="*/ 2147483647 w 1233"/>
                <a:gd name="T3" fmla="*/ 2147483647 h 640"/>
                <a:gd name="T4" fmla="*/ 2147483647 w 1233"/>
                <a:gd name="T5" fmla="*/ 2147483647 h 640"/>
                <a:gd name="T6" fmla="*/ 2147483647 w 1233"/>
                <a:gd name="T7" fmla="*/ 2147483647 h 640"/>
                <a:gd name="T8" fmla="*/ 2147483647 w 1233"/>
                <a:gd name="T9" fmla="*/ 2147483647 h 640"/>
                <a:gd name="T10" fmla="*/ 2147483647 w 1233"/>
                <a:gd name="T11" fmla="*/ 2147483647 h 640"/>
                <a:gd name="T12" fmla="*/ 2147483647 w 1233"/>
                <a:gd name="T13" fmla="*/ 2147483647 h 640"/>
                <a:gd name="T14" fmla="*/ 2147483647 w 1233"/>
                <a:gd name="T15" fmla="*/ 2147483647 h 640"/>
                <a:gd name="T16" fmla="*/ 2147483647 w 1233"/>
                <a:gd name="T17" fmla="*/ 2147483647 h 640"/>
                <a:gd name="T18" fmla="*/ 2147483647 w 1233"/>
                <a:gd name="T19" fmla="*/ 2147483647 h 640"/>
                <a:gd name="T20" fmla="*/ 2147483647 w 1233"/>
                <a:gd name="T21" fmla="*/ 2147483647 h 640"/>
                <a:gd name="T22" fmla="*/ 2147483647 w 1233"/>
                <a:gd name="T23" fmla="*/ 2147483647 h 640"/>
                <a:gd name="T24" fmla="*/ 2147483647 w 1233"/>
                <a:gd name="T25" fmla="*/ 2147483647 h 640"/>
                <a:gd name="T26" fmla="*/ 2147483647 w 1233"/>
                <a:gd name="T27" fmla="*/ 2147483647 h 640"/>
                <a:gd name="T28" fmla="*/ 2147483647 w 1233"/>
                <a:gd name="T29" fmla="*/ 2147483647 h 640"/>
                <a:gd name="T30" fmla="*/ 2147483647 w 1233"/>
                <a:gd name="T31" fmla="*/ 2147483647 h 640"/>
                <a:gd name="T32" fmla="*/ 2147483647 w 1233"/>
                <a:gd name="T33" fmla="*/ 2147483647 h 640"/>
                <a:gd name="T34" fmla="*/ 2147483647 w 1233"/>
                <a:gd name="T35" fmla="*/ 2147483647 h 640"/>
                <a:gd name="T36" fmla="*/ 2147483647 w 1233"/>
                <a:gd name="T37" fmla="*/ 2147483647 h 640"/>
                <a:gd name="T38" fmla="*/ 2147483647 w 1233"/>
                <a:gd name="T39" fmla="*/ 2147483647 h 640"/>
                <a:gd name="T40" fmla="*/ 2147483647 w 1233"/>
                <a:gd name="T41" fmla="*/ 2147483647 h 640"/>
                <a:gd name="T42" fmla="*/ 2147483647 w 1233"/>
                <a:gd name="T43" fmla="*/ 2147483647 h 640"/>
                <a:gd name="T44" fmla="*/ 2147483647 w 1233"/>
                <a:gd name="T45" fmla="*/ 2147483647 h 640"/>
                <a:gd name="T46" fmla="*/ 2147483647 w 1233"/>
                <a:gd name="T47" fmla="*/ 2147483647 h 640"/>
                <a:gd name="T48" fmla="*/ 2147483647 w 1233"/>
                <a:gd name="T49" fmla="*/ 2147483647 h 640"/>
                <a:gd name="T50" fmla="*/ 2147483647 w 1233"/>
                <a:gd name="T51" fmla="*/ 2147483647 h 640"/>
                <a:gd name="T52" fmla="*/ 2147483647 w 1233"/>
                <a:gd name="T53" fmla="*/ 2147483647 h 640"/>
                <a:gd name="T54" fmla="*/ 2147483647 w 1233"/>
                <a:gd name="T55" fmla="*/ 2147483647 h 640"/>
                <a:gd name="T56" fmla="*/ 2147483647 w 1233"/>
                <a:gd name="T57" fmla="*/ 2147483647 h 640"/>
                <a:gd name="T58" fmla="*/ 2147483647 w 1233"/>
                <a:gd name="T59" fmla="*/ 2147483647 h 640"/>
                <a:gd name="T60" fmla="*/ 2147483647 w 1233"/>
                <a:gd name="T61" fmla="*/ 2147483647 h 640"/>
                <a:gd name="T62" fmla="*/ 2147483647 w 1233"/>
                <a:gd name="T63" fmla="*/ 2147483647 h 640"/>
                <a:gd name="T64" fmla="*/ 2147483647 w 1233"/>
                <a:gd name="T65" fmla="*/ 2147483647 h 640"/>
                <a:gd name="T66" fmla="*/ 2147483647 w 1233"/>
                <a:gd name="T67" fmla="*/ 2147483647 h 640"/>
                <a:gd name="T68" fmla="*/ 2147483647 w 1233"/>
                <a:gd name="T69" fmla="*/ 2147483647 h 640"/>
                <a:gd name="T70" fmla="*/ 2147483647 w 1233"/>
                <a:gd name="T71" fmla="*/ 2147483647 h 640"/>
                <a:gd name="T72" fmla="*/ 2147483647 w 1233"/>
                <a:gd name="T73" fmla="*/ 2147483647 h 640"/>
                <a:gd name="T74" fmla="*/ 2147483647 w 1233"/>
                <a:gd name="T75" fmla="*/ 2147483647 h 640"/>
                <a:gd name="T76" fmla="*/ 2147483647 w 1233"/>
                <a:gd name="T77" fmla="*/ 2147483647 h 640"/>
                <a:gd name="T78" fmla="*/ 2147483647 w 1233"/>
                <a:gd name="T79" fmla="*/ 2147483647 h 640"/>
                <a:gd name="T80" fmla="*/ 2147483647 w 1233"/>
                <a:gd name="T81" fmla="*/ 2147483647 h 640"/>
                <a:gd name="T82" fmla="*/ 2147483647 w 1233"/>
                <a:gd name="T83" fmla="*/ 2147483647 h 640"/>
                <a:gd name="T84" fmla="*/ 2147483647 w 1233"/>
                <a:gd name="T85" fmla="*/ 2147483647 h 640"/>
                <a:gd name="T86" fmla="*/ 2147483647 w 1233"/>
                <a:gd name="T87" fmla="*/ 2147483647 h 640"/>
                <a:gd name="T88" fmla="*/ 2147483647 w 1233"/>
                <a:gd name="T89" fmla="*/ 2147483647 h 640"/>
                <a:gd name="T90" fmla="*/ 2147483647 w 1233"/>
                <a:gd name="T91" fmla="*/ 2147483647 h 640"/>
                <a:gd name="T92" fmla="*/ 2147483647 w 1233"/>
                <a:gd name="T93" fmla="*/ 2147483647 h 640"/>
                <a:gd name="T94" fmla="*/ 2147483647 w 1233"/>
                <a:gd name="T95" fmla="*/ 2147483647 h 640"/>
                <a:gd name="T96" fmla="*/ 2147483647 w 1233"/>
                <a:gd name="T97" fmla="*/ 2147483647 h 640"/>
                <a:gd name="T98" fmla="*/ 2147483647 w 1233"/>
                <a:gd name="T99" fmla="*/ 2147483647 h 640"/>
                <a:gd name="T100" fmla="*/ 2147483647 w 1233"/>
                <a:gd name="T101" fmla="*/ 2147483647 h 640"/>
                <a:gd name="T102" fmla="*/ 2147483647 w 1233"/>
                <a:gd name="T103" fmla="*/ 2147483647 h 640"/>
                <a:gd name="T104" fmla="*/ 2147483647 w 1233"/>
                <a:gd name="T105" fmla="*/ 2147483647 h 640"/>
                <a:gd name="T106" fmla="*/ 2147483647 w 1233"/>
                <a:gd name="T107" fmla="*/ 2147483647 h 640"/>
                <a:gd name="T108" fmla="*/ 2147483647 w 1233"/>
                <a:gd name="T109" fmla="*/ 2147483647 h 640"/>
                <a:gd name="T110" fmla="*/ 2147483647 w 1233"/>
                <a:gd name="T111" fmla="*/ 2147483647 h 640"/>
                <a:gd name="T112" fmla="*/ 2147483647 w 1233"/>
                <a:gd name="T113" fmla="*/ 2147483647 h 640"/>
                <a:gd name="T114" fmla="*/ 2147483647 w 1233"/>
                <a:gd name="T115" fmla="*/ 2147483647 h 640"/>
                <a:gd name="T116" fmla="*/ 2147483647 w 1233"/>
                <a:gd name="T117" fmla="*/ 2147483647 h 640"/>
                <a:gd name="T118" fmla="*/ 2147483647 w 1233"/>
                <a:gd name="T119" fmla="*/ 2147483647 h 640"/>
                <a:gd name="T120" fmla="*/ 2147483647 w 1233"/>
                <a:gd name="T121" fmla="*/ 2147483647 h 640"/>
                <a:gd name="T122" fmla="*/ 2147483647 w 1233"/>
                <a:gd name="T123" fmla="*/ 2147483647 h 64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33"/>
                <a:gd name="T187" fmla="*/ 0 h 640"/>
                <a:gd name="T188" fmla="*/ 1233 w 1233"/>
                <a:gd name="T189" fmla="*/ 640 h 64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33" h="640">
                  <a:moveTo>
                    <a:pt x="924" y="320"/>
                  </a:moveTo>
                  <a:lnTo>
                    <a:pt x="922" y="322"/>
                  </a:lnTo>
                  <a:lnTo>
                    <a:pt x="924" y="329"/>
                  </a:lnTo>
                  <a:lnTo>
                    <a:pt x="914" y="337"/>
                  </a:lnTo>
                  <a:lnTo>
                    <a:pt x="914" y="341"/>
                  </a:lnTo>
                  <a:lnTo>
                    <a:pt x="907" y="347"/>
                  </a:lnTo>
                  <a:lnTo>
                    <a:pt x="904" y="352"/>
                  </a:lnTo>
                  <a:lnTo>
                    <a:pt x="900" y="356"/>
                  </a:lnTo>
                  <a:lnTo>
                    <a:pt x="901" y="362"/>
                  </a:lnTo>
                  <a:lnTo>
                    <a:pt x="905" y="360"/>
                  </a:lnTo>
                  <a:lnTo>
                    <a:pt x="909" y="362"/>
                  </a:lnTo>
                  <a:lnTo>
                    <a:pt x="909" y="368"/>
                  </a:lnTo>
                  <a:lnTo>
                    <a:pt x="902" y="370"/>
                  </a:lnTo>
                  <a:lnTo>
                    <a:pt x="901" y="374"/>
                  </a:lnTo>
                  <a:lnTo>
                    <a:pt x="898" y="373"/>
                  </a:lnTo>
                  <a:lnTo>
                    <a:pt x="894" y="368"/>
                  </a:lnTo>
                  <a:lnTo>
                    <a:pt x="887" y="374"/>
                  </a:lnTo>
                  <a:lnTo>
                    <a:pt x="882" y="372"/>
                  </a:lnTo>
                  <a:lnTo>
                    <a:pt x="877" y="375"/>
                  </a:lnTo>
                  <a:lnTo>
                    <a:pt x="874" y="372"/>
                  </a:lnTo>
                  <a:lnTo>
                    <a:pt x="876" y="369"/>
                  </a:lnTo>
                  <a:lnTo>
                    <a:pt x="879" y="367"/>
                  </a:lnTo>
                  <a:lnTo>
                    <a:pt x="877" y="361"/>
                  </a:lnTo>
                  <a:lnTo>
                    <a:pt x="866" y="361"/>
                  </a:lnTo>
                  <a:lnTo>
                    <a:pt x="861" y="360"/>
                  </a:lnTo>
                  <a:lnTo>
                    <a:pt x="854" y="361"/>
                  </a:lnTo>
                  <a:lnTo>
                    <a:pt x="850" y="369"/>
                  </a:lnTo>
                  <a:lnTo>
                    <a:pt x="846" y="368"/>
                  </a:lnTo>
                  <a:lnTo>
                    <a:pt x="836" y="369"/>
                  </a:lnTo>
                  <a:lnTo>
                    <a:pt x="833" y="366"/>
                  </a:lnTo>
                  <a:lnTo>
                    <a:pt x="829" y="371"/>
                  </a:lnTo>
                  <a:lnTo>
                    <a:pt x="824" y="372"/>
                  </a:lnTo>
                  <a:lnTo>
                    <a:pt x="822" y="369"/>
                  </a:lnTo>
                  <a:lnTo>
                    <a:pt x="825" y="365"/>
                  </a:lnTo>
                  <a:lnTo>
                    <a:pt x="816" y="365"/>
                  </a:lnTo>
                  <a:lnTo>
                    <a:pt x="811" y="367"/>
                  </a:lnTo>
                  <a:lnTo>
                    <a:pt x="803" y="366"/>
                  </a:lnTo>
                  <a:lnTo>
                    <a:pt x="795" y="368"/>
                  </a:lnTo>
                  <a:lnTo>
                    <a:pt x="787" y="375"/>
                  </a:lnTo>
                  <a:lnTo>
                    <a:pt x="785" y="381"/>
                  </a:lnTo>
                  <a:lnTo>
                    <a:pt x="774" y="390"/>
                  </a:lnTo>
                  <a:lnTo>
                    <a:pt x="773" y="396"/>
                  </a:lnTo>
                  <a:lnTo>
                    <a:pt x="764" y="407"/>
                  </a:lnTo>
                  <a:lnTo>
                    <a:pt x="754" y="415"/>
                  </a:lnTo>
                  <a:lnTo>
                    <a:pt x="753" y="420"/>
                  </a:lnTo>
                  <a:lnTo>
                    <a:pt x="746" y="429"/>
                  </a:lnTo>
                  <a:lnTo>
                    <a:pt x="744" y="434"/>
                  </a:lnTo>
                  <a:lnTo>
                    <a:pt x="736" y="440"/>
                  </a:lnTo>
                  <a:lnTo>
                    <a:pt x="731" y="445"/>
                  </a:lnTo>
                  <a:lnTo>
                    <a:pt x="724" y="448"/>
                  </a:lnTo>
                  <a:lnTo>
                    <a:pt x="724" y="451"/>
                  </a:lnTo>
                  <a:lnTo>
                    <a:pt x="728" y="455"/>
                  </a:lnTo>
                  <a:lnTo>
                    <a:pt x="732" y="454"/>
                  </a:lnTo>
                  <a:lnTo>
                    <a:pt x="739" y="455"/>
                  </a:lnTo>
                  <a:lnTo>
                    <a:pt x="739" y="468"/>
                  </a:lnTo>
                  <a:lnTo>
                    <a:pt x="742" y="464"/>
                  </a:lnTo>
                  <a:lnTo>
                    <a:pt x="746" y="461"/>
                  </a:lnTo>
                  <a:lnTo>
                    <a:pt x="748" y="466"/>
                  </a:lnTo>
                  <a:lnTo>
                    <a:pt x="747" y="471"/>
                  </a:lnTo>
                  <a:lnTo>
                    <a:pt x="748" y="473"/>
                  </a:lnTo>
                  <a:lnTo>
                    <a:pt x="752" y="471"/>
                  </a:lnTo>
                  <a:lnTo>
                    <a:pt x="756" y="470"/>
                  </a:lnTo>
                  <a:lnTo>
                    <a:pt x="758" y="461"/>
                  </a:lnTo>
                  <a:lnTo>
                    <a:pt x="769" y="463"/>
                  </a:lnTo>
                  <a:lnTo>
                    <a:pt x="772" y="470"/>
                  </a:lnTo>
                  <a:lnTo>
                    <a:pt x="776" y="475"/>
                  </a:lnTo>
                  <a:lnTo>
                    <a:pt x="781" y="481"/>
                  </a:lnTo>
                  <a:lnTo>
                    <a:pt x="781" y="485"/>
                  </a:lnTo>
                  <a:lnTo>
                    <a:pt x="776" y="483"/>
                  </a:lnTo>
                  <a:lnTo>
                    <a:pt x="776" y="486"/>
                  </a:lnTo>
                  <a:lnTo>
                    <a:pt x="782" y="491"/>
                  </a:lnTo>
                  <a:lnTo>
                    <a:pt x="782" y="499"/>
                  </a:lnTo>
                  <a:lnTo>
                    <a:pt x="774" y="512"/>
                  </a:lnTo>
                  <a:lnTo>
                    <a:pt x="773" y="524"/>
                  </a:lnTo>
                  <a:lnTo>
                    <a:pt x="774" y="529"/>
                  </a:lnTo>
                  <a:lnTo>
                    <a:pt x="773" y="540"/>
                  </a:lnTo>
                  <a:lnTo>
                    <a:pt x="773" y="545"/>
                  </a:lnTo>
                  <a:lnTo>
                    <a:pt x="768" y="560"/>
                  </a:lnTo>
                  <a:lnTo>
                    <a:pt x="765" y="563"/>
                  </a:lnTo>
                  <a:lnTo>
                    <a:pt x="756" y="574"/>
                  </a:lnTo>
                  <a:lnTo>
                    <a:pt x="751" y="583"/>
                  </a:lnTo>
                  <a:lnTo>
                    <a:pt x="750" y="595"/>
                  </a:lnTo>
                  <a:lnTo>
                    <a:pt x="741" y="603"/>
                  </a:lnTo>
                  <a:lnTo>
                    <a:pt x="734" y="612"/>
                  </a:lnTo>
                  <a:lnTo>
                    <a:pt x="724" y="630"/>
                  </a:lnTo>
                  <a:lnTo>
                    <a:pt x="714" y="633"/>
                  </a:lnTo>
                  <a:lnTo>
                    <a:pt x="710" y="639"/>
                  </a:lnTo>
                  <a:lnTo>
                    <a:pt x="707" y="637"/>
                  </a:lnTo>
                  <a:lnTo>
                    <a:pt x="701" y="636"/>
                  </a:lnTo>
                  <a:lnTo>
                    <a:pt x="700" y="634"/>
                  </a:lnTo>
                  <a:lnTo>
                    <a:pt x="695" y="632"/>
                  </a:lnTo>
                  <a:lnTo>
                    <a:pt x="692" y="634"/>
                  </a:lnTo>
                  <a:lnTo>
                    <a:pt x="691" y="638"/>
                  </a:lnTo>
                  <a:lnTo>
                    <a:pt x="684" y="640"/>
                  </a:lnTo>
                  <a:lnTo>
                    <a:pt x="681" y="638"/>
                  </a:lnTo>
                  <a:lnTo>
                    <a:pt x="677" y="635"/>
                  </a:lnTo>
                  <a:lnTo>
                    <a:pt x="689" y="631"/>
                  </a:lnTo>
                  <a:lnTo>
                    <a:pt x="690" y="619"/>
                  </a:lnTo>
                  <a:lnTo>
                    <a:pt x="686" y="607"/>
                  </a:lnTo>
                  <a:lnTo>
                    <a:pt x="694" y="603"/>
                  </a:lnTo>
                  <a:lnTo>
                    <a:pt x="701" y="605"/>
                  </a:lnTo>
                  <a:lnTo>
                    <a:pt x="709" y="602"/>
                  </a:lnTo>
                  <a:lnTo>
                    <a:pt x="714" y="579"/>
                  </a:lnTo>
                  <a:lnTo>
                    <a:pt x="721" y="574"/>
                  </a:lnTo>
                  <a:lnTo>
                    <a:pt x="724" y="554"/>
                  </a:lnTo>
                  <a:lnTo>
                    <a:pt x="720" y="553"/>
                  </a:lnTo>
                  <a:lnTo>
                    <a:pt x="710" y="560"/>
                  </a:lnTo>
                  <a:lnTo>
                    <a:pt x="700" y="561"/>
                  </a:lnTo>
                  <a:lnTo>
                    <a:pt x="696" y="564"/>
                  </a:lnTo>
                  <a:lnTo>
                    <a:pt x="689" y="564"/>
                  </a:lnTo>
                  <a:lnTo>
                    <a:pt x="685" y="550"/>
                  </a:lnTo>
                  <a:lnTo>
                    <a:pt x="673" y="538"/>
                  </a:lnTo>
                  <a:lnTo>
                    <a:pt x="665" y="534"/>
                  </a:lnTo>
                  <a:lnTo>
                    <a:pt x="656" y="534"/>
                  </a:lnTo>
                  <a:lnTo>
                    <a:pt x="654" y="518"/>
                  </a:lnTo>
                  <a:lnTo>
                    <a:pt x="648" y="503"/>
                  </a:lnTo>
                  <a:lnTo>
                    <a:pt x="647" y="495"/>
                  </a:lnTo>
                  <a:lnTo>
                    <a:pt x="639" y="477"/>
                  </a:lnTo>
                  <a:lnTo>
                    <a:pt x="629" y="475"/>
                  </a:lnTo>
                  <a:lnTo>
                    <a:pt x="614" y="470"/>
                  </a:lnTo>
                  <a:lnTo>
                    <a:pt x="593" y="473"/>
                  </a:lnTo>
                  <a:lnTo>
                    <a:pt x="584" y="490"/>
                  </a:lnTo>
                  <a:lnTo>
                    <a:pt x="591" y="489"/>
                  </a:lnTo>
                  <a:lnTo>
                    <a:pt x="590" y="497"/>
                  </a:lnTo>
                  <a:lnTo>
                    <a:pt x="584" y="502"/>
                  </a:lnTo>
                  <a:lnTo>
                    <a:pt x="580" y="517"/>
                  </a:lnTo>
                  <a:lnTo>
                    <a:pt x="575" y="520"/>
                  </a:lnTo>
                  <a:lnTo>
                    <a:pt x="576" y="529"/>
                  </a:lnTo>
                  <a:lnTo>
                    <a:pt x="560" y="540"/>
                  </a:lnTo>
                  <a:lnTo>
                    <a:pt x="555" y="534"/>
                  </a:lnTo>
                  <a:lnTo>
                    <a:pt x="545" y="536"/>
                  </a:lnTo>
                  <a:lnTo>
                    <a:pt x="535" y="527"/>
                  </a:lnTo>
                  <a:lnTo>
                    <a:pt x="527" y="526"/>
                  </a:lnTo>
                  <a:lnTo>
                    <a:pt x="522" y="534"/>
                  </a:lnTo>
                  <a:lnTo>
                    <a:pt x="511" y="542"/>
                  </a:lnTo>
                  <a:lnTo>
                    <a:pt x="501" y="541"/>
                  </a:lnTo>
                  <a:lnTo>
                    <a:pt x="488" y="544"/>
                  </a:lnTo>
                  <a:lnTo>
                    <a:pt x="484" y="541"/>
                  </a:lnTo>
                  <a:lnTo>
                    <a:pt x="472" y="536"/>
                  </a:lnTo>
                  <a:lnTo>
                    <a:pt x="470" y="530"/>
                  </a:lnTo>
                  <a:lnTo>
                    <a:pt x="446" y="521"/>
                  </a:lnTo>
                  <a:lnTo>
                    <a:pt x="428" y="529"/>
                  </a:lnTo>
                  <a:lnTo>
                    <a:pt x="412" y="505"/>
                  </a:lnTo>
                  <a:lnTo>
                    <a:pt x="389" y="497"/>
                  </a:lnTo>
                  <a:lnTo>
                    <a:pt x="384" y="505"/>
                  </a:lnTo>
                  <a:lnTo>
                    <a:pt x="377" y="512"/>
                  </a:lnTo>
                  <a:lnTo>
                    <a:pt x="381" y="523"/>
                  </a:lnTo>
                  <a:lnTo>
                    <a:pt x="379" y="534"/>
                  </a:lnTo>
                  <a:lnTo>
                    <a:pt x="367" y="535"/>
                  </a:lnTo>
                  <a:lnTo>
                    <a:pt x="367" y="530"/>
                  </a:lnTo>
                  <a:lnTo>
                    <a:pt x="360" y="530"/>
                  </a:lnTo>
                  <a:lnTo>
                    <a:pt x="358" y="536"/>
                  </a:lnTo>
                  <a:lnTo>
                    <a:pt x="354" y="536"/>
                  </a:lnTo>
                  <a:lnTo>
                    <a:pt x="342" y="524"/>
                  </a:lnTo>
                  <a:lnTo>
                    <a:pt x="334" y="524"/>
                  </a:lnTo>
                  <a:lnTo>
                    <a:pt x="326" y="518"/>
                  </a:lnTo>
                  <a:lnTo>
                    <a:pt x="321" y="518"/>
                  </a:lnTo>
                  <a:lnTo>
                    <a:pt x="313" y="526"/>
                  </a:lnTo>
                  <a:lnTo>
                    <a:pt x="308" y="526"/>
                  </a:lnTo>
                  <a:lnTo>
                    <a:pt x="301" y="537"/>
                  </a:lnTo>
                  <a:lnTo>
                    <a:pt x="285" y="541"/>
                  </a:lnTo>
                  <a:lnTo>
                    <a:pt x="282" y="546"/>
                  </a:lnTo>
                  <a:lnTo>
                    <a:pt x="279" y="546"/>
                  </a:lnTo>
                  <a:lnTo>
                    <a:pt x="278" y="541"/>
                  </a:lnTo>
                  <a:lnTo>
                    <a:pt x="260" y="536"/>
                  </a:lnTo>
                  <a:lnTo>
                    <a:pt x="245" y="516"/>
                  </a:lnTo>
                  <a:lnTo>
                    <a:pt x="211" y="516"/>
                  </a:lnTo>
                  <a:lnTo>
                    <a:pt x="202" y="500"/>
                  </a:lnTo>
                  <a:lnTo>
                    <a:pt x="198" y="487"/>
                  </a:lnTo>
                  <a:lnTo>
                    <a:pt x="184" y="478"/>
                  </a:lnTo>
                  <a:lnTo>
                    <a:pt x="181" y="467"/>
                  </a:lnTo>
                  <a:lnTo>
                    <a:pt x="181" y="460"/>
                  </a:lnTo>
                  <a:lnTo>
                    <a:pt x="169" y="459"/>
                  </a:lnTo>
                  <a:lnTo>
                    <a:pt x="164" y="465"/>
                  </a:lnTo>
                  <a:lnTo>
                    <a:pt x="162" y="471"/>
                  </a:lnTo>
                  <a:lnTo>
                    <a:pt x="151" y="473"/>
                  </a:lnTo>
                  <a:lnTo>
                    <a:pt x="149" y="465"/>
                  </a:lnTo>
                  <a:lnTo>
                    <a:pt x="137" y="459"/>
                  </a:lnTo>
                  <a:lnTo>
                    <a:pt x="130" y="461"/>
                  </a:lnTo>
                  <a:lnTo>
                    <a:pt x="125" y="448"/>
                  </a:lnTo>
                  <a:lnTo>
                    <a:pt x="118" y="445"/>
                  </a:lnTo>
                  <a:lnTo>
                    <a:pt x="106" y="444"/>
                  </a:lnTo>
                  <a:lnTo>
                    <a:pt x="94" y="445"/>
                  </a:lnTo>
                  <a:lnTo>
                    <a:pt x="83" y="455"/>
                  </a:lnTo>
                  <a:lnTo>
                    <a:pt x="58" y="466"/>
                  </a:lnTo>
                  <a:lnTo>
                    <a:pt x="44" y="470"/>
                  </a:lnTo>
                  <a:lnTo>
                    <a:pt x="32" y="472"/>
                  </a:lnTo>
                  <a:lnTo>
                    <a:pt x="32" y="480"/>
                  </a:lnTo>
                  <a:lnTo>
                    <a:pt x="41" y="480"/>
                  </a:lnTo>
                  <a:lnTo>
                    <a:pt x="41" y="482"/>
                  </a:lnTo>
                  <a:lnTo>
                    <a:pt x="33" y="485"/>
                  </a:lnTo>
                  <a:lnTo>
                    <a:pt x="32" y="490"/>
                  </a:lnTo>
                  <a:lnTo>
                    <a:pt x="35" y="493"/>
                  </a:lnTo>
                  <a:lnTo>
                    <a:pt x="34" y="497"/>
                  </a:lnTo>
                  <a:lnTo>
                    <a:pt x="29" y="499"/>
                  </a:lnTo>
                  <a:lnTo>
                    <a:pt x="28" y="506"/>
                  </a:lnTo>
                  <a:lnTo>
                    <a:pt x="35" y="511"/>
                  </a:lnTo>
                  <a:lnTo>
                    <a:pt x="35" y="519"/>
                  </a:lnTo>
                  <a:lnTo>
                    <a:pt x="31" y="524"/>
                  </a:lnTo>
                  <a:lnTo>
                    <a:pt x="27" y="516"/>
                  </a:lnTo>
                  <a:lnTo>
                    <a:pt x="24" y="517"/>
                  </a:lnTo>
                  <a:lnTo>
                    <a:pt x="15" y="506"/>
                  </a:lnTo>
                  <a:lnTo>
                    <a:pt x="0" y="490"/>
                  </a:lnTo>
                  <a:lnTo>
                    <a:pt x="2" y="478"/>
                  </a:lnTo>
                  <a:lnTo>
                    <a:pt x="16" y="448"/>
                  </a:lnTo>
                  <a:lnTo>
                    <a:pt x="8" y="440"/>
                  </a:lnTo>
                  <a:lnTo>
                    <a:pt x="12" y="428"/>
                  </a:lnTo>
                  <a:lnTo>
                    <a:pt x="21" y="423"/>
                  </a:lnTo>
                  <a:lnTo>
                    <a:pt x="25" y="407"/>
                  </a:lnTo>
                  <a:lnTo>
                    <a:pt x="24" y="381"/>
                  </a:lnTo>
                  <a:lnTo>
                    <a:pt x="21" y="362"/>
                  </a:lnTo>
                  <a:lnTo>
                    <a:pt x="25" y="326"/>
                  </a:lnTo>
                  <a:lnTo>
                    <a:pt x="27" y="320"/>
                  </a:lnTo>
                  <a:lnTo>
                    <a:pt x="31" y="299"/>
                  </a:lnTo>
                  <a:lnTo>
                    <a:pt x="26" y="292"/>
                  </a:lnTo>
                  <a:lnTo>
                    <a:pt x="29" y="256"/>
                  </a:lnTo>
                  <a:lnTo>
                    <a:pt x="56" y="223"/>
                  </a:lnTo>
                  <a:lnTo>
                    <a:pt x="64" y="219"/>
                  </a:lnTo>
                  <a:lnTo>
                    <a:pt x="66" y="208"/>
                  </a:lnTo>
                  <a:lnTo>
                    <a:pt x="60" y="180"/>
                  </a:lnTo>
                  <a:lnTo>
                    <a:pt x="65" y="176"/>
                  </a:lnTo>
                  <a:lnTo>
                    <a:pt x="60" y="161"/>
                  </a:lnTo>
                  <a:lnTo>
                    <a:pt x="70" y="166"/>
                  </a:lnTo>
                  <a:lnTo>
                    <a:pt x="76" y="170"/>
                  </a:lnTo>
                  <a:lnTo>
                    <a:pt x="81" y="171"/>
                  </a:lnTo>
                  <a:lnTo>
                    <a:pt x="87" y="175"/>
                  </a:lnTo>
                  <a:lnTo>
                    <a:pt x="91" y="175"/>
                  </a:lnTo>
                  <a:lnTo>
                    <a:pt x="97" y="178"/>
                  </a:lnTo>
                  <a:lnTo>
                    <a:pt x="98" y="183"/>
                  </a:lnTo>
                  <a:lnTo>
                    <a:pt x="100" y="184"/>
                  </a:lnTo>
                  <a:lnTo>
                    <a:pt x="109" y="179"/>
                  </a:lnTo>
                  <a:lnTo>
                    <a:pt x="110" y="173"/>
                  </a:lnTo>
                  <a:lnTo>
                    <a:pt x="104" y="172"/>
                  </a:lnTo>
                  <a:lnTo>
                    <a:pt x="98" y="167"/>
                  </a:lnTo>
                  <a:lnTo>
                    <a:pt x="99" y="164"/>
                  </a:lnTo>
                  <a:lnTo>
                    <a:pt x="93" y="160"/>
                  </a:lnTo>
                  <a:lnTo>
                    <a:pt x="90" y="162"/>
                  </a:lnTo>
                  <a:lnTo>
                    <a:pt x="88" y="154"/>
                  </a:lnTo>
                  <a:lnTo>
                    <a:pt x="90" y="154"/>
                  </a:lnTo>
                  <a:lnTo>
                    <a:pt x="91" y="140"/>
                  </a:lnTo>
                  <a:lnTo>
                    <a:pt x="89" y="139"/>
                  </a:lnTo>
                  <a:lnTo>
                    <a:pt x="91" y="133"/>
                  </a:lnTo>
                  <a:lnTo>
                    <a:pt x="100" y="125"/>
                  </a:lnTo>
                  <a:lnTo>
                    <a:pt x="107" y="115"/>
                  </a:lnTo>
                  <a:lnTo>
                    <a:pt x="112" y="98"/>
                  </a:lnTo>
                  <a:lnTo>
                    <a:pt x="119" y="96"/>
                  </a:lnTo>
                  <a:lnTo>
                    <a:pt x="125" y="98"/>
                  </a:lnTo>
                  <a:lnTo>
                    <a:pt x="136" y="97"/>
                  </a:lnTo>
                  <a:lnTo>
                    <a:pt x="145" y="102"/>
                  </a:lnTo>
                  <a:lnTo>
                    <a:pt x="143" y="110"/>
                  </a:lnTo>
                  <a:lnTo>
                    <a:pt x="145" y="111"/>
                  </a:lnTo>
                  <a:lnTo>
                    <a:pt x="145" y="116"/>
                  </a:lnTo>
                  <a:lnTo>
                    <a:pt x="134" y="124"/>
                  </a:lnTo>
                  <a:lnTo>
                    <a:pt x="134" y="129"/>
                  </a:lnTo>
                  <a:lnTo>
                    <a:pt x="141" y="130"/>
                  </a:lnTo>
                  <a:lnTo>
                    <a:pt x="142" y="142"/>
                  </a:lnTo>
                  <a:lnTo>
                    <a:pt x="147" y="144"/>
                  </a:lnTo>
                  <a:lnTo>
                    <a:pt x="141" y="150"/>
                  </a:lnTo>
                  <a:lnTo>
                    <a:pt x="141" y="163"/>
                  </a:lnTo>
                  <a:lnTo>
                    <a:pt x="144" y="165"/>
                  </a:lnTo>
                  <a:lnTo>
                    <a:pt x="141" y="171"/>
                  </a:lnTo>
                  <a:lnTo>
                    <a:pt x="147" y="177"/>
                  </a:lnTo>
                  <a:lnTo>
                    <a:pt x="153" y="178"/>
                  </a:lnTo>
                  <a:lnTo>
                    <a:pt x="146" y="184"/>
                  </a:lnTo>
                  <a:lnTo>
                    <a:pt x="148" y="187"/>
                  </a:lnTo>
                  <a:lnTo>
                    <a:pt x="144" y="194"/>
                  </a:lnTo>
                  <a:lnTo>
                    <a:pt x="136" y="199"/>
                  </a:lnTo>
                  <a:lnTo>
                    <a:pt x="137" y="202"/>
                  </a:lnTo>
                  <a:lnTo>
                    <a:pt x="133" y="204"/>
                  </a:lnTo>
                  <a:lnTo>
                    <a:pt x="133" y="207"/>
                  </a:lnTo>
                  <a:lnTo>
                    <a:pt x="125" y="211"/>
                  </a:lnTo>
                  <a:lnTo>
                    <a:pt x="119" y="206"/>
                  </a:lnTo>
                  <a:lnTo>
                    <a:pt x="116" y="204"/>
                  </a:lnTo>
                  <a:lnTo>
                    <a:pt x="111" y="205"/>
                  </a:lnTo>
                  <a:lnTo>
                    <a:pt x="104" y="205"/>
                  </a:lnTo>
                  <a:lnTo>
                    <a:pt x="102" y="207"/>
                  </a:lnTo>
                  <a:lnTo>
                    <a:pt x="104" y="209"/>
                  </a:lnTo>
                  <a:lnTo>
                    <a:pt x="110" y="209"/>
                  </a:lnTo>
                  <a:lnTo>
                    <a:pt x="117" y="215"/>
                  </a:lnTo>
                  <a:lnTo>
                    <a:pt x="135" y="216"/>
                  </a:lnTo>
                  <a:lnTo>
                    <a:pt x="138" y="219"/>
                  </a:lnTo>
                  <a:lnTo>
                    <a:pt x="142" y="211"/>
                  </a:lnTo>
                  <a:lnTo>
                    <a:pt x="151" y="206"/>
                  </a:lnTo>
                  <a:lnTo>
                    <a:pt x="157" y="198"/>
                  </a:lnTo>
                  <a:lnTo>
                    <a:pt x="162" y="195"/>
                  </a:lnTo>
                  <a:lnTo>
                    <a:pt x="164" y="190"/>
                  </a:lnTo>
                  <a:lnTo>
                    <a:pt x="159" y="181"/>
                  </a:lnTo>
                  <a:lnTo>
                    <a:pt x="156" y="178"/>
                  </a:lnTo>
                  <a:lnTo>
                    <a:pt x="172" y="172"/>
                  </a:lnTo>
                  <a:lnTo>
                    <a:pt x="179" y="172"/>
                  </a:lnTo>
                  <a:lnTo>
                    <a:pt x="181" y="175"/>
                  </a:lnTo>
                  <a:lnTo>
                    <a:pt x="186" y="181"/>
                  </a:lnTo>
                  <a:lnTo>
                    <a:pt x="183" y="192"/>
                  </a:lnTo>
                  <a:lnTo>
                    <a:pt x="187" y="195"/>
                  </a:lnTo>
                  <a:lnTo>
                    <a:pt x="196" y="196"/>
                  </a:lnTo>
                  <a:lnTo>
                    <a:pt x="201" y="195"/>
                  </a:lnTo>
                  <a:lnTo>
                    <a:pt x="197" y="193"/>
                  </a:lnTo>
                  <a:lnTo>
                    <a:pt x="193" y="194"/>
                  </a:lnTo>
                  <a:lnTo>
                    <a:pt x="189" y="190"/>
                  </a:lnTo>
                  <a:lnTo>
                    <a:pt x="188" y="187"/>
                  </a:lnTo>
                  <a:lnTo>
                    <a:pt x="195" y="182"/>
                  </a:lnTo>
                  <a:lnTo>
                    <a:pt x="189" y="175"/>
                  </a:lnTo>
                  <a:lnTo>
                    <a:pt x="184" y="173"/>
                  </a:lnTo>
                  <a:lnTo>
                    <a:pt x="181" y="169"/>
                  </a:lnTo>
                  <a:lnTo>
                    <a:pt x="170" y="167"/>
                  </a:lnTo>
                  <a:lnTo>
                    <a:pt x="164" y="170"/>
                  </a:lnTo>
                  <a:lnTo>
                    <a:pt x="154" y="168"/>
                  </a:lnTo>
                  <a:lnTo>
                    <a:pt x="153" y="163"/>
                  </a:lnTo>
                  <a:lnTo>
                    <a:pt x="150" y="157"/>
                  </a:lnTo>
                  <a:lnTo>
                    <a:pt x="151" y="152"/>
                  </a:lnTo>
                  <a:lnTo>
                    <a:pt x="155" y="148"/>
                  </a:lnTo>
                  <a:lnTo>
                    <a:pt x="159" y="142"/>
                  </a:lnTo>
                  <a:lnTo>
                    <a:pt x="157" y="134"/>
                  </a:lnTo>
                  <a:lnTo>
                    <a:pt x="148" y="127"/>
                  </a:lnTo>
                  <a:lnTo>
                    <a:pt x="152" y="119"/>
                  </a:lnTo>
                  <a:lnTo>
                    <a:pt x="166" y="113"/>
                  </a:lnTo>
                  <a:lnTo>
                    <a:pt x="167" y="107"/>
                  </a:lnTo>
                  <a:lnTo>
                    <a:pt x="166" y="105"/>
                  </a:lnTo>
                  <a:lnTo>
                    <a:pt x="164" y="101"/>
                  </a:lnTo>
                  <a:lnTo>
                    <a:pt x="160" y="98"/>
                  </a:lnTo>
                  <a:lnTo>
                    <a:pt x="162" y="97"/>
                  </a:lnTo>
                  <a:lnTo>
                    <a:pt x="166" y="98"/>
                  </a:lnTo>
                  <a:lnTo>
                    <a:pt x="172" y="103"/>
                  </a:lnTo>
                  <a:lnTo>
                    <a:pt x="172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72" y="122"/>
                  </a:lnTo>
                  <a:lnTo>
                    <a:pt x="168" y="128"/>
                  </a:lnTo>
                  <a:lnTo>
                    <a:pt x="183" y="132"/>
                  </a:lnTo>
                  <a:lnTo>
                    <a:pt x="190" y="132"/>
                  </a:lnTo>
                  <a:lnTo>
                    <a:pt x="195" y="136"/>
                  </a:lnTo>
                  <a:lnTo>
                    <a:pt x="202" y="137"/>
                  </a:lnTo>
                  <a:lnTo>
                    <a:pt x="202" y="134"/>
                  </a:lnTo>
                  <a:lnTo>
                    <a:pt x="198" y="133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89" y="128"/>
                  </a:lnTo>
                  <a:lnTo>
                    <a:pt x="179" y="124"/>
                  </a:lnTo>
                  <a:lnTo>
                    <a:pt x="174" y="119"/>
                  </a:lnTo>
                  <a:lnTo>
                    <a:pt x="178" y="116"/>
                  </a:lnTo>
                  <a:lnTo>
                    <a:pt x="183" y="115"/>
                  </a:lnTo>
                  <a:lnTo>
                    <a:pt x="188" y="119"/>
                  </a:lnTo>
                  <a:lnTo>
                    <a:pt x="193" y="119"/>
                  </a:lnTo>
                  <a:lnTo>
                    <a:pt x="193" y="113"/>
                  </a:lnTo>
                  <a:lnTo>
                    <a:pt x="189" y="114"/>
                  </a:lnTo>
                  <a:lnTo>
                    <a:pt x="186" y="114"/>
                  </a:lnTo>
                  <a:lnTo>
                    <a:pt x="186" y="112"/>
                  </a:lnTo>
                  <a:lnTo>
                    <a:pt x="194" y="108"/>
                  </a:lnTo>
                  <a:lnTo>
                    <a:pt x="202" y="108"/>
                  </a:lnTo>
                  <a:lnTo>
                    <a:pt x="216" y="115"/>
                  </a:lnTo>
                  <a:lnTo>
                    <a:pt x="228" y="122"/>
                  </a:lnTo>
                  <a:lnTo>
                    <a:pt x="239" y="121"/>
                  </a:lnTo>
                  <a:lnTo>
                    <a:pt x="240" y="122"/>
                  </a:lnTo>
                  <a:lnTo>
                    <a:pt x="237" y="127"/>
                  </a:lnTo>
                  <a:lnTo>
                    <a:pt x="233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3" y="138"/>
                  </a:lnTo>
                  <a:lnTo>
                    <a:pt x="241" y="136"/>
                  </a:lnTo>
                  <a:lnTo>
                    <a:pt x="241" y="143"/>
                  </a:lnTo>
                  <a:lnTo>
                    <a:pt x="235" y="149"/>
                  </a:lnTo>
                  <a:lnTo>
                    <a:pt x="244" y="156"/>
                  </a:lnTo>
                  <a:lnTo>
                    <a:pt x="247" y="160"/>
                  </a:lnTo>
                  <a:lnTo>
                    <a:pt x="251" y="161"/>
                  </a:lnTo>
                  <a:lnTo>
                    <a:pt x="254" y="160"/>
                  </a:lnTo>
                  <a:lnTo>
                    <a:pt x="252" y="158"/>
                  </a:lnTo>
                  <a:lnTo>
                    <a:pt x="241" y="149"/>
                  </a:lnTo>
                  <a:lnTo>
                    <a:pt x="246" y="146"/>
                  </a:lnTo>
                  <a:lnTo>
                    <a:pt x="248" y="141"/>
                  </a:lnTo>
                  <a:lnTo>
                    <a:pt x="241" y="134"/>
                  </a:lnTo>
                  <a:lnTo>
                    <a:pt x="241" y="129"/>
                  </a:lnTo>
                  <a:lnTo>
                    <a:pt x="244" y="123"/>
                  </a:lnTo>
                  <a:lnTo>
                    <a:pt x="242" y="118"/>
                  </a:lnTo>
                  <a:lnTo>
                    <a:pt x="233" y="115"/>
                  </a:lnTo>
                  <a:lnTo>
                    <a:pt x="233" y="110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17" y="100"/>
                  </a:lnTo>
                  <a:lnTo>
                    <a:pt x="218" y="92"/>
                  </a:lnTo>
                  <a:lnTo>
                    <a:pt x="214" y="89"/>
                  </a:lnTo>
                  <a:lnTo>
                    <a:pt x="220" y="83"/>
                  </a:lnTo>
                  <a:lnTo>
                    <a:pt x="224" y="83"/>
                  </a:lnTo>
                  <a:lnTo>
                    <a:pt x="239" y="81"/>
                  </a:lnTo>
                  <a:lnTo>
                    <a:pt x="249" y="79"/>
                  </a:lnTo>
                  <a:lnTo>
                    <a:pt x="253" y="80"/>
                  </a:lnTo>
                  <a:lnTo>
                    <a:pt x="260" y="80"/>
                  </a:lnTo>
                  <a:lnTo>
                    <a:pt x="263" y="77"/>
                  </a:lnTo>
                  <a:lnTo>
                    <a:pt x="272" y="77"/>
                  </a:lnTo>
                  <a:lnTo>
                    <a:pt x="276" y="80"/>
                  </a:lnTo>
                  <a:lnTo>
                    <a:pt x="277" y="77"/>
                  </a:lnTo>
                  <a:lnTo>
                    <a:pt x="273" y="74"/>
                  </a:lnTo>
                  <a:lnTo>
                    <a:pt x="274" y="71"/>
                  </a:lnTo>
                  <a:lnTo>
                    <a:pt x="270" y="68"/>
                  </a:lnTo>
                  <a:lnTo>
                    <a:pt x="265" y="68"/>
                  </a:lnTo>
                  <a:lnTo>
                    <a:pt x="267" y="64"/>
                  </a:lnTo>
                  <a:lnTo>
                    <a:pt x="274" y="65"/>
                  </a:lnTo>
                  <a:lnTo>
                    <a:pt x="275" y="63"/>
                  </a:lnTo>
                  <a:lnTo>
                    <a:pt x="270" y="61"/>
                  </a:lnTo>
                  <a:lnTo>
                    <a:pt x="265" y="62"/>
                  </a:lnTo>
                  <a:lnTo>
                    <a:pt x="263" y="59"/>
                  </a:lnTo>
                  <a:lnTo>
                    <a:pt x="267" y="56"/>
                  </a:lnTo>
                  <a:lnTo>
                    <a:pt x="273" y="58"/>
                  </a:lnTo>
                  <a:lnTo>
                    <a:pt x="276" y="55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77" y="50"/>
                  </a:lnTo>
                  <a:lnTo>
                    <a:pt x="273" y="49"/>
                  </a:lnTo>
                  <a:lnTo>
                    <a:pt x="275" y="48"/>
                  </a:lnTo>
                  <a:lnTo>
                    <a:pt x="280" y="48"/>
                  </a:lnTo>
                  <a:lnTo>
                    <a:pt x="285" y="48"/>
                  </a:lnTo>
                  <a:lnTo>
                    <a:pt x="292" y="43"/>
                  </a:lnTo>
                  <a:lnTo>
                    <a:pt x="302" y="42"/>
                  </a:lnTo>
                  <a:lnTo>
                    <a:pt x="309" y="40"/>
                  </a:lnTo>
                  <a:lnTo>
                    <a:pt x="314" y="41"/>
                  </a:lnTo>
                  <a:lnTo>
                    <a:pt x="317" y="39"/>
                  </a:lnTo>
                  <a:lnTo>
                    <a:pt x="330" y="38"/>
                  </a:lnTo>
                  <a:lnTo>
                    <a:pt x="339" y="37"/>
                  </a:lnTo>
                  <a:lnTo>
                    <a:pt x="340" y="36"/>
                  </a:lnTo>
                  <a:lnTo>
                    <a:pt x="335" y="36"/>
                  </a:lnTo>
                  <a:lnTo>
                    <a:pt x="331" y="35"/>
                  </a:lnTo>
                  <a:lnTo>
                    <a:pt x="329" y="33"/>
                  </a:lnTo>
                  <a:lnTo>
                    <a:pt x="334" y="32"/>
                  </a:lnTo>
                  <a:lnTo>
                    <a:pt x="345" y="32"/>
                  </a:lnTo>
                  <a:lnTo>
                    <a:pt x="351" y="31"/>
                  </a:lnTo>
                  <a:lnTo>
                    <a:pt x="361" y="33"/>
                  </a:lnTo>
                  <a:lnTo>
                    <a:pt x="355" y="36"/>
                  </a:lnTo>
                  <a:lnTo>
                    <a:pt x="358" y="37"/>
                  </a:lnTo>
                  <a:lnTo>
                    <a:pt x="362" y="35"/>
                  </a:lnTo>
                  <a:lnTo>
                    <a:pt x="366" y="35"/>
                  </a:lnTo>
                  <a:lnTo>
                    <a:pt x="366" y="37"/>
                  </a:lnTo>
                  <a:lnTo>
                    <a:pt x="376" y="34"/>
                  </a:lnTo>
                  <a:lnTo>
                    <a:pt x="380" y="31"/>
                  </a:lnTo>
                  <a:lnTo>
                    <a:pt x="385" y="29"/>
                  </a:lnTo>
                  <a:lnTo>
                    <a:pt x="394" y="32"/>
                  </a:lnTo>
                  <a:lnTo>
                    <a:pt x="390" y="35"/>
                  </a:lnTo>
                  <a:lnTo>
                    <a:pt x="392" y="39"/>
                  </a:lnTo>
                  <a:lnTo>
                    <a:pt x="399" y="37"/>
                  </a:lnTo>
                  <a:lnTo>
                    <a:pt x="400" y="33"/>
                  </a:lnTo>
                  <a:lnTo>
                    <a:pt x="398" y="30"/>
                  </a:lnTo>
                  <a:lnTo>
                    <a:pt x="389" y="27"/>
                  </a:lnTo>
                  <a:lnTo>
                    <a:pt x="386" y="25"/>
                  </a:lnTo>
                  <a:lnTo>
                    <a:pt x="388" y="24"/>
                  </a:lnTo>
                  <a:lnTo>
                    <a:pt x="395" y="26"/>
                  </a:lnTo>
                  <a:lnTo>
                    <a:pt x="404" y="25"/>
                  </a:lnTo>
                  <a:lnTo>
                    <a:pt x="409" y="26"/>
                  </a:lnTo>
                  <a:lnTo>
                    <a:pt x="414" y="27"/>
                  </a:lnTo>
                  <a:lnTo>
                    <a:pt x="423" y="28"/>
                  </a:lnTo>
                  <a:lnTo>
                    <a:pt x="432" y="26"/>
                  </a:lnTo>
                  <a:lnTo>
                    <a:pt x="430" y="25"/>
                  </a:lnTo>
                  <a:lnTo>
                    <a:pt x="420" y="26"/>
                  </a:lnTo>
                  <a:lnTo>
                    <a:pt x="415" y="24"/>
                  </a:lnTo>
                  <a:lnTo>
                    <a:pt x="410" y="24"/>
                  </a:lnTo>
                  <a:lnTo>
                    <a:pt x="407" y="20"/>
                  </a:lnTo>
                  <a:lnTo>
                    <a:pt x="410" y="20"/>
                  </a:lnTo>
                  <a:lnTo>
                    <a:pt x="407" y="18"/>
                  </a:lnTo>
                  <a:lnTo>
                    <a:pt x="405" y="15"/>
                  </a:lnTo>
                  <a:lnTo>
                    <a:pt x="410" y="13"/>
                  </a:lnTo>
                  <a:lnTo>
                    <a:pt x="411" y="10"/>
                  </a:lnTo>
                  <a:lnTo>
                    <a:pt x="419" y="5"/>
                  </a:lnTo>
                  <a:lnTo>
                    <a:pt x="422" y="3"/>
                  </a:lnTo>
                  <a:lnTo>
                    <a:pt x="434" y="0"/>
                  </a:lnTo>
                  <a:lnTo>
                    <a:pt x="444" y="3"/>
                  </a:lnTo>
                  <a:lnTo>
                    <a:pt x="450" y="2"/>
                  </a:lnTo>
                  <a:lnTo>
                    <a:pt x="453" y="5"/>
                  </a:lnTo>
                  <a:lnTo>
                    <a:pt x="449" y="9"/>
                  </a:lnTo>
                  <a:lnTo>
                    <a:pt x="438" y="10"/>
                  </a:lnTo>
                  <a:lnTo>
                    <a:pt x="438" y="12"/>
                  </a:lnTo>
                  <a:lnTo>
                    <a:pt x="447" y="12"/>
                  </a:lnTo>
                  <a:lnTo>
                    <a:pt x="447" y="15"/>
                  </a:lnTo>
                  <a:lnTo>
                    <a:pt x="451" y="15"/>
                  </a:lnTo>
                  <a:lnTo>
                    <a:pt x="456" y="13"/>
                  </a:lnTo>
                  <a:lnTo>
                    <a:pt x="463" y="14"/>
                  </a:lnTo>
                  <a:lnTo>
                    <a:pt x="461" y="19"/>
                  </a:lnTo>
                  <a:lnTo>
                    <a:pt x="454" y="23"/>
                  </a:lnTo>
                  <a:lnTo>
                    <a:pt x="459" y="25"/>
                  </a:lnTo>
                  <a:lnTo>
                    <a:pt x="468" y="24"/>
                  </a:lnTo>
                  <a:lnTo>
                    <a:pt x="470" y="20"/>
                  </a:lnTo>
                  <a:lnTo>
                    <a:pt x="497" y="19"/>
                  </a:lnTo>
                  <a:lnTo>
                    <a:pt x="499" y="21"/>
                  </a:lnTo>
                  <a:lnTo>
                    <a:pt x="504" y="21"/>
                  </a:lnTo>
                  <a:lnTo>
                    <a:pt x="514" y="27"/>
                  </a:lnTo>
                  <a:lnTo>
                    <a:pt x="512" y="31"/>
                  </a:lnTo>
                  <a:lnTo>
                    <a:pt x="514" y="31"/>
                  </a:lnTo>
                  <a:lnTo>
                    <a:pt x="519" y="28"/>
                  </a:lnTo>
                  <a:lnTo>
                    <a:pt x="522" y="28"/>
                  </a:lnTo>
                  <a:lnTo>
                    <a:pt x="522" y="34"/>
                  </a:lnTo>
                  <a:lnTo>
                    <a:pt x="525" y="35"/>
                  </a:lnTo>
                  <a:lnTo>
                    <a:pt x="525" y="40"/>
                  </a:lnTo>
                  <a:lnTo>
                    <a:pt x="518" y="39"/>
                  </a:lnTo>
                  <a:lnTo>
                    <a:pt x="514" y="36"/>
                  </a:lnTo>
                  <a:lnTo>
                    <a:pt x="512" y="36"/>
                  </a:lnTo>
                  <a:lnTo>
                    <a:pt x="511" y="37"/>
                  </a:lnTo>
                  <a:lnTo>
                    <a:pt x="513" y="40"/>
                  </a:lnTo>
                  <a:lnTo>
                    <a:pt x="522" y="44"/>
                  </a:lnTo>
                  <a:lnTo>
                    <a:pt x="518" y="49"/>
                  </a:lnTo>
                  <a:lnTo>
                    <a:pt x="509" y="55"/>
                  </a:lnTo>
                  <a:lnTo>
                    <a:pt x="509" y="59"/>
                  </a:lnTo>
                  <a:lnTo>
                    <a:pt x="501" y="59"/>
                  </a:lnTo>
                  <a:lnTo>
                    <a:pt x="489" y="67"/>
                  </a:lnTo>
                  <a:lnTo>
                    <a:pt x="488" y="70"/>
                  </a:lnTo>
                  <a:lnTo>
                    <a:pt x="484" y="71"/>
                  </a:lnTo>
                  <a:lnTo>
                    <a:pt x="476" y="75"/>
                  </a:lnTo>
                  <a:lnTo>
                    <a:pt x="470" y="81"/>
                  </a:lnTo>
                  <a:lnTo>
                    <a:pt x="465" y="81"/>
                  </a:lnTo>
                  <a:lnTo>
                    <a:pt x="460" y="83"/>
                  </a:lnTo>
                  <a:lnTo>
                    <a:pt x="459" y="88"/>
                  </a:lnTo>
                  <a:lnTo>
                    <a:pt x="455" y="88"/>
                  </a:lnTo>
                  <a:lnTo>
                    <a:pt x="451" y="90"/>
                  </a:lnTo>
                  <a:lnTo>
                    <a:pt x="451" y="95"/>
                  </a:lnTo>
                  <a:lnTo>
                    <a:pt x="444" y="101"/>
                  </a:lnTo>
                  <a:lnTo>
                    <a:pt x="449" y="100"/>
                  </a:lnTo>
                  <a:lnTo>
                    <a:pt x="458" y="96"/>
                  </a:lnTo>
                  <a:lnTo>
                    <a:pt x="459" y="92"/>
                  </a:lnTo>
                  <a:lnTo>
                    <a:pt x="470" y="92"/>
                  </a:lnTo>
                  <a:lnTo>
                    <a:pt x="471" y="90"/>
                  </a:lnTo>
                  <a:lnTo>
                    <a:pt x="476" y="87"/>
                  </a:lnTo>
                  <a:lnTo>
                    <a:pt x="480" y="87"/>
                  </a:lnTo>
                  <a:lnTo>
                    <a:pt x="483" y="86"/>
                  </a:lnTo>
                  <a:lnTo>
                    <a:pt x="489" y="86"/>
                  </a:lnTo>
                  <a:lnTo>
                    <a:pt x="496" y="79"/>
                  </a:lnTo>
                  <a:lnTo>
                    <a:pt x="491" y="80"/>
                  </a:lnTo>
                  <a:lnTo>
                    <a:pt x="487" y="80"/>
                  </a:lnTo>
                  <a:lnTo>
                    <a:pt x="486" y="77"/>
                  </a:lnTo>
                  <a:lnTo>
                    <a:pt x="491" y="74"/>
                  </a:lnTo>
                  <a:lnTo>
                    <a:pt x="495" y="74"/>
                  </a:lnTo>
                  <a:lnTo>
                    <a:pt x="503" y="74"/>
                  </a:lnTo>
                  <a:lnTo>
                    <a:pt x="502" y="78"/>
                  </a:lnTo>
                  <a:lnTo>
                    <a:pt x="510" y="80"/>
                  </a:lnTo>
                  <a:lnTo>
                    <a:pt x="516" y="80"/>
                  </a:lnTo>
                  <a:lnTo>
                    <a:pt x="516" y="75"/>
                  </a:lnTo>
                  <a:lnTo>
                    <a:pt x="521" y="76"/>
                  </a:lnTo>
                  <a:lnTo>
                    <a:pt x="524" y="79"/>
                  </a:lnTo>
                  <a:lnTo>
                    <a:pt x="522" y="82"/>
                  </a:lnTo>
                  <a:lnTo>
                    <a:pt x="518" y="84"/>
                  </a:lnTo>
                  <a:lnTo>
                    <a:pt x="520" y="87"/>
                  </a:lnTo>
                  <a:lnTo>
                    <a:pt x="525" y="86"/>
                  </a:lnTo>
                  <a:lnTo>
                    <a:pt x="526" y="83"/>
                  </a:lnTo>
                  <a:lnTo>
                    <a:pt x="541" y="80"/>
                  </a:lnTo>
                  <a:lnTo>
                    <a:pt x="549" y="81"/>
                  </a:lnTo>
                  <a:lnTo>
                    <a:pt x="565" y="82"/>
                  </a:lnTo>
                  <a:lnTo>
                    <a:pt x="573" y="83"/>
                  </a:lnTo>
                  <a:lnTo>
                    <a:pt x="574" y="85"/>
                  </a:lnTo>
                  <a:lnTo>
                    <a:pt x="569" y="85"/>
                  </a:lnTo>
                  <a:lnTo>
                    <a:pt x="567" y="86"/>
                  </a:lnTo>
                  <a:lnTo>
                    <a:pt x="566" y="90"/>
                  </a:lnTo>
                  <a:lnTo>
                    <a:pt x="584" y="95"/>
                  </a:lnTo>
                  <a:lnTo>
                    <a:pt x="587" y="94"/>
                  </a:lnTo>
                  <a:lnTo>
                    <a:pt x="592" y="94"/>
                  </a:lnTo>
                  <a:lnTo>
                    <a:pt x="600" y="96"/>
                  </a:lnTo>
                  <a:lnTo>
                    <a:pt x="606" y="96"/>
                  </a:lnTo>
                  <a:lnTo>
                    <a:pt x="609" y="93"/>
                  </a:lnTo>
                  <a:lnTo>
                    <a:pt x="612" y="93"/>
                  </a:lnTo>
                  <a:lnTo>
                    <a:pt x="617" y="92"/>
                  </a:lnTo>
                  <a:lnTo>
                    <a:pt x="617" y="87"/>
                  </a:lnTo>
                  <a:lnTo>
                    <a:pt x="615" y="85"/>
                  </a:lnTo>
                  <a:lnTo>
                    <a:pt x="614" y="81"/>
                  </a:lnTo>
                  <a:lnTo>
                    <a:pt x="616" y="80"/>
                  </a:lnTo>
                  <a:lnTo>
                    <a:pt x="620" y="80"/>
                  </a:lnTo>
                  <a:lnTo>
                    <a:pt x="622" y="79"/>
                  </a:lnTo>
                  <a:lnTo>
                    <a:pt x="632" y="81"/>
                  </a:lnTo>
                  <a:lnTo>
                    <a:pt x="631" y="83"/>
                  </a:lnTo>
                  <a:lnTo>
                    <a:pt x="635" y="86"/>
                  </a:lnTo>
                  <a:lnTo>
                    <a:pt x="641" y="84"/>
                  </a:lnTo>
                  <a:lnTo>
                    <a:pt x="647" y="88"/>
                  </a:lnTo>
                  <a:lnTo>
                    <a:pt x="653" y="85"/>
                  </a:lnTo>
                  <a:lnTo>
                    <a:pt x="657" y="86"/>
                  </a:lnTo>
                  <a:lnTo>
                    <a:pt x="666" y="95"/>
                  </a:lnTo>
                  <a:lnTo>
                    <a:pt x="666" y="98"/>
                  </a:lnTo>
                  <a:lnTo>
                    <a:pt x="672" y="101"/>
                  </a:lnTo>
                  <a:lnTo>
                    <a:pt x="668" y="104"/>
                  </a:lnTo>
                  <a:lnTo>
                    <a:pt x="661" y="103"/>
                  </a:lnTo>
                  <a:lnTo>
                    <a:pt x="661" y="105"/>
                  </a:lnTo>
                  <a:lnTo>
                    <a:pt x="664" y="106"/>
                  </a:lnTo>
                  <a:lnTo>
                    <a:pt x="671" y="107"/>
                  </a:lnTo>
                  <a:lnTo>
                    <a:pt x="670" y="113"/>
                  </a:lnTo>
                  <a:lnTo>
                    <a:pt x="666" y="113"/>
                  </a:lnTo>
                  <a:lnTo>
                    <a:pt x="660" y="110"/>
                  </a:lnTo>
                  <a:lnTo>
                    <a:pt x="660" y="115"/>
                  </a:lnTo>
                  <a:lnTo>
                    <a:pt x="664" y="118"/>
                  </a:lnTo>
                  <a:lnTo>
                    <a:pt x="667" y="116"/>
                  </a:lnTo>
                  <a:lnTo>
                    <a:pt x="670" y="119"/>
                  </a:lnTo>
                  <a:lnTo>
                    <a:pt x="668" y="121"/>
                  </a:lnTo>
                  <a:lnTo>
                    <a:pt x="669" y="125"/>
                  </a:lnTo>
                  <a:lnTo>
                    <a:pt x="689" y="137"/>
                  </a:lnTo>
                  <a:lnTo>
                    <a:pt x="693" y="133"/>
                  </a:lnTo>
                  <a:lnTo>
                    <a:pt x="696" y="123"/>
                  </a:lnTo>
                  <a:lnTo>
                    <a:pt x="701" y="116"/>
                  </a:lnTo>
                  <a:lnTo>
                    <a:pt x="704" y="119"/>
                  </a:lnTo>
                  <a:lnTo>
                    <a:pt x="712" y="125"/>
                  </a:lnTo>
                  <a:lnTo>
                    <a:pt x="719" y="125"/>
                  </a:lnTo>
                  <a:lnTo>
                    <a:pt x="728" y="122"/>
                  </a:lnTo>
                  <a:lnTo>
                    <a:pt x="739" y="123"/>
                  </a:lnTo>
                  <a:lnTo>
                    <a:pt x="747" y="128"/>
                  </a:lnTo>
                  <a:lnTo>
                    <a:pt x="752" y="128"/>
                  </a:lnTo>
                  <a:lnTo>
                    <a:pt x="753" y="123"/>
                  </a:lnTo>
                  <a:lnTo>
                    <a:pt x="756" y="120"/>
                  </a:lnTo>
                  <a:lnTo>
                    <a:pt x="761" y="122"/>
                  </a:lnTo>
                  <a:lnTo>
                    <a:pt x="761" y="125"/>
                  </a:lnTo>
                  <a:lnTo>
                    <a:pt x="770" y="123"/>
                  </a:lnTo>
                  <a:lnTo>
                    <a:pt x="767" y="118"/>
                  </a:lnTo>
                  <a:lnTo>
                    <a:pt x="767" y="111"/>
                  </a:lnTo>
                  <a:lnTo>
                    <a:pt x="770" y="109"/>
                  </a:lnTo>
                  <a:lnTo>
                    <a:pt x="761" y="109"/>
                  </a:lnTo>
                  <a:lnTo>
                    <a:pt x="763" y="104"/>
                  </a:lnTo>
                  <a:lnTo>
                    <a:pt x="767" y="105"/>
                  </a:lnTo>
                  <a:lnTo>
                    <a:pt x="772" y="105"/>
                  </a:lnTo>
                  <a:lnTo>
                    <a:pt x="780" y="101"/>
                  </a:lnTo>
                  <a:lnTo>
                    <a:pt x="777" y="99"/>
                  </a:lnTo>
                  <a:lnTo>
                    <a:pt x="779" y="97"/>
                  </a:lnTo>
                  <a:lnTo>
                    <a:pt x="782" y="98"/>
                  </a:lnTo>
                  <a:lnTo>
                    <a:pt x="783" y="100"/>
                  </a:lnTo>
                  <a:lnTo>
                    <a:pt x="791" y="99"/>
                  </a:lnTo>
                  <a:lnTo>
                    <a:pt x="802" y="101"/>
                  </a:lnTo>
                  <a:lnTo>
                    <a:pt x="812" y="102"/>
                  </a:lnTo>
                  <a:lnTo>
                    <a:pt x="829" y="107"/>
                  </a:lnTo>
                  <a:lnTo>
                    <a:pt x="820" y="106"/>
                  </a:lnTo>
                  <a:lnTo>
                    <a:pt x="812" y="106"/>
                  </a:lnTo>
                  <a:lnTo>
                    <a:pt x="808" y="110"/>
                  </a:lnTo>
                  <a:lnTo>
                    <a:pt x="810" y="112"/>
                  </a:lnTo>
                  <a:lnTo>
                    <a:pt x="821" y="111"/>
                  </a:lnTo>
                  <a:lnTo>
                    <a:pt x="820" y="116"/>
                  </a:lnTo>
                  <a:lnTo>
                    <a:pt x="814" y="116"/>
                  </a:lnTo>
                  <a:lnTo>
                    <a:pt x="815" y="121"/>
                  </a:lnTo>
                  <a:lnTo>
                    <a:pt x="825" y="119"/>
                  </a:lnTo>
                  <a:lnTo>
                    <a:pt x="833" y="115"/>
                  </a:lnTo>
                  <a:lnTo>
                    <a:pt x="837" y="109"/>
                  </a:lnTo>
                  <a:lnTo>
                    <a:pt x="852" y="109"/>
                  </a:lnTo>
                  <a:lnTo>
                    <a:pt x="859" y="112"/>
                  </a:lnTo>
                  <a:lnTo>
                    <a:pt x="863" y="113"/>
                  </a:lnTo>
                  <a:lnTo>
                    <a:pt x="862" y="118"/>
                  </a:lnTo>
                  <a:lnTo>
                    <a:pt x="858" y="117"/>
                  </a:lnTo>
                  <a:lnTo>
                    <a:pt x="854" y="117"/>
                  </a:lnTo>
                  <a:lnTo>
                    <a:pt x="855" y="120"/>
                  </a:lnTo>
                  <a:lnTo>
                    <a:pt x="863" y="122"/>
                  </a:lnTo>
                  <a:lnTo>
                    <a:pt x="873" y="126"/>
                  </a:lnTo>
                  <a:lnTo>
                    <a:pt x="880" y="131"/>
                  </a:lnTo>
                  <a:lnTo>
                    <a:pt x="881" y="134"/>
                  </a:lnTo>
                  <a:lnTo>
                    <a:pt x="888" y="137"/>
                  </a:lnTo>
                  <a:lnTo>
                    <a:pt x="900" y="135"/>
                  </a:lnTo>
                  <a:lnTo>
                    <a:pt x="915" y="130"/>
                  </a:lnTo>
                  <a:lnTo>
                    <a:pt x="926" y="130"/>
                  </a:lnTo>
                  <a:lnTo>
                    <a:pt x="934" y="132"/>
                  </a:lnTo>
                  <a:lnTo>
                    <a:pt x="942" y="133"/>
                  </a:lnTo>
                  <a:lnTo>
                    <a:pt x="953" y="140"/>
                  </a:lnTo>
                  <a:lnTo>
                    <a:pt x="955" y="146"/>
                  </a:lnTo>
                  <a:lnTo>
                    <a:pt x="951" y="151"/>
                  </a:lnTo>
                  <a:lnTo>
                    <a:pt x="953" y="156"/>
                  </a:lnTo>
                  <a:lnTo>
                    <a:pt x="959" y="158"/>
                  </a:lnTo>
                  <a:lnTo>
                    <a:pt x="962" y="158"/>
                  </a:lnTo>
                  <a:lnTo>
                    <a:pt x="964" y="160"/>
                  </a:lnTo>
                  <a:lnTo>
                    <a:pt x="966" y="159"/>
                  </a:lnTo>
                  <a:lnTo>
                    <a:pt x="969" y="159"/>
                  </a:lnTo>
                  <a:lnTo>
                    <a:pt x="971" y="158"/>
                  </a:lnTo>
                  <a:lnTo>
                    <a:pt x="974" y="159"/>
                  </a:lnTo>
                  <a:lnTo>
                    <a:pt x="980" y="156"/>
                  </a:lnTo>
                  <a:lnTo>
                    <a:pt x="986" y="157"/>
                  </a:lnTo>
                  <a:lnTo>
                    <a:pt x="991" y="156"/>
                  </a:lnTo>
                  <a:lnTo>
                    <a:pt x="1000" y="160"/>
                  </a:lnTo>
                  <a:lnTo>
                    <a:pt x="1019" y="161"/>
                  </a:lnTo>
                  <a:lnTo>
                    <a:pt x="1025" y="156"/>
                  </a:lnTo>
                  <a:lnTo>
                    <a:pt x="1028" y="158"/>
                  </a:lnTo>
                  <a:lnTo>
                    <a:pt x="1032" y="165"/>
                  </a:lnTo>
                  <a:lnTo>
                    <a:pt x="1041" y="166"/>
                  </a:lnTo>
                  <a:lnTo>
                    <a:pt x="1042" y="170"/>
                  </a:lnTo>
                  <a:lnTo>
                    <a:pt x="1055" y="171"/>
                  </a:lnTo>
                  <a:lnTo>
                    <a:pt x="1057" y="165"/>
                  </a:lnTo>
                  <a:lnTo>
                    <a:pt x="1047" y="158"/>
                  </a:lnTo>
                  <a:lnTo>
                    <a:pt x="1048" y="156"/>
                  </a:lnTo>
                  <a:lnTo>
                    <a:pt x="1051" y="156"/>
                  </a:lnTo>
                  <a:lnTo>
                    <a:pt x="1053" y="154"/>
                  </a:lnTo>
                  <a:lnTo>
                    <a:pt x="1049" y="152"/>
                  </a:lnTo>
                  <a:lnTo>
                    <a:pt x="1052" y="149"/>
                  </a:lnTo>
                  <a:lnTo>
                    <a:pt x="1072" y="153"/>
                  </a:lnTo>
                  <a:lnTo>
                    <a:pt x="1078" y="154"/>
                  </a:lnTo>
                  <a:lnTo>
                    <a:pt x="1082" y="153"/>
                  </a:lnTo>
                  <a:lnTo>
                    <a:pt x="1089" y="154"/>
                  </a:lnTo>
                  <a:lnTo>
                    <a:pt x="1095" y="154"/>
                  </a:lnTo>
                  <a:lnTo>
                    <a:pt x="1099" y="155"/>
                  </a:lnTo>
                  <a:lnTo>
                    <a:pt x="1101" y="154"/>
                  </a:lnTo>
                  <a:lnTo>
                    <a:pt x="1112" y="158"/>
                  </a:lnTo>
                  <a:lnTo>
                    <a:pt x="1117" y="158"/>
                  </a:lnTo>
                  <a:lnTo>
                    <a:pt x="1124" y="162"/>
                  </a:lnTo>
                  <a:lnTo>
                    <a:pt x="1129" y="163"/>
                  </a:lnTo>
                  <a:lnTo>
                    <a:pt x="1138" y="168"/>
                  </a:lnTo>
                  <a:lnTo>
                    <a:pt x="1139" y="171"/>
                  </a:lnTo>
                  <a:lnTo>
                    <a:pt x="1145" y="171"/>
                  </a:lnTo>
                  <a:lnTo>
                    <a:pt x="1149" y="174"/>
                  </a:lnTo>
                  <a:lnTo>
                    <a:pt x="1149" y="176"/>
                  </a:lnTo>
                  <a:lnTo>
                    <a:pt x="1162" y="183"/>
                  </a:lnTo>
                  <a:lnTo>
                    <a:pt x="1168" y="184"/>
                  </a:lnTo>
                  <a:lnTo>
                    <a:pt x="1168" y="186"/>
                  </a:lnTo>
                  <a:lnTo>
                    <a:pt x="1173" y="187"/>
                  </a:lnTo>
                  <a:lnTo>
                    <a:pt x="1173" y="190"/>
                  </a:lnTo>
                  <a:lnTo>
                    <a:pt x="1177" y="190"/>
                  </a:lnTo>
                  <a:lnTo>
                    <a:pt x="1186" y="196"/>
                  </a:lnTo>
                  <a:lnTo>
                    <a:pt x="1187" y="202"/>
                  </a:lnTo>
                  <a:lnTo>
                    <a:pt x="1183" y="205"/>
                  </a:lnTo>
                  <a:lnTo>
                    <a:pt x="1192" y="211"/>
                  </a:lnTo>
                  <a:lnTo>
                    <a:pt x="1194" y="209"/>
                  </a:lnTo>
                  <a:lnTo>
                    <a:pt x="1191" y="207"/>
                  </a:lnTo>
                  <a:lnTo>
                    <a:pt x="1192" y="204"/>
                  </a:lnTo>
                  <a:lnTo>
                    <a:pt x="1190" y="199"/>
                  </a:lnTo>
                  <a:lnTo>
                    <a:pt x="1199" y="199"/>
                  </a:lnTo>
                  <a:lnTo>
                    <a:pt x="1204" y="201"/>
                  </a:lnTo>
                  <a:lnTo>
                    <a:pt x="1209" y="200"/>
                  </a:lnTo>
                  <a:lnTo>
                    <a:pt x="1222" y="208"/>
                  </a:lnTo>
                  <a:lnTo>
                    <a:pt x="1233" y="215"/>
                  </a:lnTo>
                  <a:lnTo>
                    <a:pt x="1231" y="220"/>
                  </a:lnTo>
                  <a:lnTo>
                    <a:pt x="1226" y="221"/>
                  </a:lnTo>
                  <a:lnTo>
                    <a:pt x="1225" y="226"/>
                  </a:lnTo>
                  <a:lnTo>
                    <a:pt x="1222" y="230"/>
                  </a:lnTo>
                  <a:lnTo>
                    <a:pt x="1209" y="233"/>
                  </a:lnTo>
                  <a:lnTo>
                    <a:pt x="1208" y="236"/>
                  </a:lnTo>
                  <a:lnTo>
                    <a:pt x="1205" y="238"/>
                  </a:lnTo>
                  <a:lnTo>
                    <a:pt x="1209" y="242"/>
                  </a:lnTo>
                  <a:lnTo>
                    <a:pt x="1203" y="247"/>
                  </a:lnTo>
                  <a:lnTo>
                    <a:pt x="1202" y="253"/>
                  </a:lnTo>
                  <a:lnTo>
                    <a:pt x="1207" y="257"/>
                  </a:lnTo>
                  <a:lnTo>
                    <a:pt x="1198" y="261"/>
                  </a:lnTo>
                  <a:lnTo>
                    <a:pt x="1193" y="258"/>
                  </a:lnTo>
                  <a:lnTo>
                    <a:pt x="1189" y="251"/>
                  </a:lnTo>
                  <a:lnTo>
                    <a:pt x="1184" y="248"/>
                  </a:lnTo>
                  <a:lnTo>
                    <a:pt x="1176" y="249"/>
                  </a:lnTo>
                  <a:lnTo>
                    <a:pt x="1175" y="237"/>
                  </a:lnTo>
                  <a:lnTo>
                    <a:pt x="1173" y="235"/>
                  </a:lnTo>
                  <a:lnTo>
                    <a:pt x="1166" y="232"/>
                  </a:lnTo>
                  <a:lnTo>
                    <a:pt x="1160" y="233"/>
                  </a:lnTo>
                  <a:lnTo>
                    <a:pt x="1154" y="233"/>
                  </a:lnTo>
                  <a:lnTo>
                    <a:pt x="1151" y="229"/>
                  </a:lnTo>
                  <a:lnTo>
                    <a:pt x="1151" y="222"/>
                  </a:lnTo>
                  <a:lnTo>
                    <a:pt x="1152" y="217"/>
                  </a:lnTo>
                  <a:lnTo>
                    <a:pt x="1152" y="213"/>
                  </a:lnTo>
                  <a:lnTo>
                    <a:pt x="1147" y="215"/>
                  </a:lnTo>
                  <a:lnTo>
                    <a:pt x="1145" y="214"/>
                  </a:lnTo>
                  <a:lnTo>
                    <a:pt x="1139" y="218"/>
                  </a:lnTo>
                  <a:lnTo>
                    <a:pt x="1143" y="228"/>
                  </a:lnTo>
                  <a:lnTo>
                    <a:pt x="1145" y="235"/>
                  </a:lnTo>
                  <a:lnTo>
                    <a:pt x="1138" y="244"/>
                  </a:lnTo>
                  <a:lnTo>
                    <a:pt x="1135" y="246"/>
                  </a:lnTo>
                  <a:lnTo>
                    <a:pt x="1131" y="251"/>
                  </a:lnTo>
                  <a:lnTo>
                    <a:pt x="1119" y="252"/>
                  </a:lnTo>
                  <a:lnTo>
                    <a:pt x="1117" y="247"/>
                  </a:lnTo>
                  <a:lnTo>
                    <a:pt x="1112" y="242"/>
                  </a:lnTo>
                  <a:lnTo>
                    <a:pt x="1108" y="244"/>
                  </a:lnTo>
                  <a:lnTo>
                    <a:pt x="1112" y="248"/>
                  </a:lnTo>
                  <a:lnTo>
                    <a:pt x="1110" y="250"/>
                  </a:lnTo>
                  <a:lnTo>
                    <a:pt x="1108" y="246"/>
                  </a:lnTo>
                  <a:lnTo>
                    <a:pt x="1104" y="246"/>
                  </a:lnTo>
                  <a:lnTo>
                    <a:pt x="1106" y="253"/>
                  </a:lnTo>
                  <a:lnTo>
                    <a:pt x="1112" y="254"/>
                  </a:lnTo>
                  <a:lnTo>
                    <a:pt x="1115" y="256"/>
                  </a:lnTo>
                  <a:lnTo>
                    <a:pt x="1120" y="261"/>
                  </a:lnTo>
                  <a:lnTo>
                    <a:pt x="1122" y="257"/>
                  </a:lnTo>
                  <a:lnTo>
                    <a:pt x="1125" y="258"/>
                  </a:lnTo>
                  <a:lnTo>
                    <a:pt x="1124" y="263"/>
                  </a:lnTo>
                  <a:lnTo>
                    <a:pt x="1128" y="266"/>
                  </a:lnTo>
                  <a:lnTo>
                    <a:pt x="1128" y="279"/>
                  </a:lnTo>
                  <a:lnTo>
                    <a:pt x="1131" y="282"/>
                  </a:lnTo>
                  <a:lnTo>
                    <a:pt x="1132" y="291"/>
                  </a:lnTo>
                  <a:lnTo>
                    <a:pt x="1135" y="294"/>
                  </a:lnTo>
                  <a:lnTo>
                    <a:pt x="1132" y="301"/>
                  </a:lnTo>
                  <a:lnTo>
                    <a:pt x="1132" y="305"/>
                  </a:lnTo>
                  <a:lnTo>
                    <a:pt x="1123" y="303"/>
                  </a:lnTo>
                  <a:lnTo>
                    <a:pt x="1118" y="300"/>
                  </a:lnTo>
                  <a:lnTo>
                    <a:pt x="1107" y="302"/>
                  </a:lnTo>
                  <a:lnTo>
                    <a:pt x="1104" y="308"/>
                  </a:lnTo>
                  <a:lnTo>
                    <a:pt x="1092" y="311"/>
                  </a:lnTo>
                  <a:lnTo>
                    <a:pt x="1085" y="318"/>
                  </a:lnTo>
                  <a:lnTo>
                    <a:pt x="1080" y="319"/>
                  </a:lnTo>
                  <a:lnTo>
                    <a:pt x="1079" y="320"/>
                  </a:lnTo>
                  <a:lnTo>
                    <a:pt x="1075" y="326"/>
                  </a:lnTo>
                  <a:lnTo>
                    <a:pt x="1070" y="328"/>
                  </a:lnTo>
                  <a:lnTo>
                    <a:pt x="1068" y="333"/>
                  </a:lnTo>
                  <a:lnTo>
                    <a:pt x="1058" y="339"/>
                  </a:lnTo>
                  <a:lnTo>
                    <a:pt x="1052" y="346"/>
                  </a:lnTo>
                  <a:lnTo>
                    <a:pt x="1051" y="351"/>
                  </a:lnTo>
                  <a:lnTo>
                    <a:pt x="1047" y="354"/>
                  </a:lnTo>
                  <a:lnTo>
                    <a:pt x="1046" y="348"/>
                  </a:lnTo>
                  <a:lnTo>
                    <a:pt x="1044" y="343"/>
                  </a:lnTo>
                  <a:lnTo>
                    <a:pt x="1035" y="339"/>
                  </a:lnTo>
                  <a:lnTo>
                    <a:pt x="1019" y="347"/>
                  </a:lnTo>
                  <a:lnTo>
                    <a:pt x="1015" y="355"/>
                  </a:lnTo>
                  <a:lnTo>
                    <a:pt x="1010" y="359"/>
                  </a:lnTo>
                  <a:lnTo>
                    <a:pt x="1010" y="352"/>
                  </a:lnTo>
                  <a:lnTo>
                    <a:pt x="1013" y="345"/>
                  </a:lnTo>
                  <a:lnTo>
                    <a:pt x="1012" y="343"/>
                  </a:lnTo>
                  <a:lnTo>
                    <a:pt x="1008" y="348"/>
                  </a:lnTo>
                  <a:lnTo>
                    <a:pt x="1004" y="351"/>
                  </a:lnTo>
                  <a:lnTo>
                    <a:pt x="1000" y="356"/>
                  </a:lnTo>
                  <a:lnTo>
                    <a:pt x="997" y="354"/>
                  </a:lnTo>
                  <a:lnTo>
                    <a:pt x="991" y="353"/>
                  </a:lnTo>
                  <a:lnTo>
                    <a:pt x="985" y="361"/>
                  </a:lnTo>
                  <a:lnTo>
                    <a:pt x="983" y="370"/>
                  </a:lnTo>
                  <a:lnTo>
                    <a:pt x="978" y="378"/>
                  </a:lnTo>
                  <a:lnTo>
                    <a:pt x="975" y="380"/>
                  </a:lnTo>
                  <a:lnTo>
                    <a:pt x="972" y="391"/>
                  </a:lnTo>
                  <a:lnTo>
                    <a:pt x="977" y="396"/>
                  </a:lnTo>
                  <a:lnTo>
                    <a:pt x="978" y="393"/>
                  </a:lnTo>
                  <a:lnTo>
                    <a:pt x="984" y="396"/>
                  </a:lnTo>
                  <a:lnTo>
                    <a:pt x="985" y="399"/>
                  </a:lnTo>
                  <a:lnTo>
                    <a:pt x="979" y="405"/>
                  </a:lnTo>
                  <a:lnTo>
                    <a:pt x="980" y="414"/>
                  </a:lnTo>
                  <a:lnTo>
                    <a:pt x="984" y="416"/>
                  </a:lnTo>
                  <a:lnTo>
                    <a:pt x="987" y="426"/>
                  </a:lnTo>
                  <a:lnTo>
                    <a:pt x="984" y="429"/>
                  </a:lnTo>
                  <a:lnTo>
                    <a:pt x="980" y="429"/>
                  </a:lnTo>
                  <a:lnTo>
                    <a:pt x="980" y="422"/>
                  </a:lnTo>
                  <a:lnTo>
                    <a:pt x="973" y="429"/>
                  </a:lnTo>
                  <a:lnTo>
                    <a:pt x="969" y="440"/>
                  </a:lnTo>
                  <a:lnTo>
                    <a:pt x="971" y="443"/>
                  </a:lnTo>
                  <a:lnTo>
                    <a:pt x="974" y="448"/>
                  </a:lnTo>
                  <a:lnTo>
                    <a:pt x="971" y="455"/>
                  </a:lnTo>
                  <a:lnTo>
                    <a:pt x="967" y="456"/>
                  </a:lnTo>
                  <a:lnTo>
                    <a:pt x="966" y="454"/>
                  </a:lnTo>
                  <a:lnTo>
                    <a:pt x="954" y="464"/>
                  </a:lnTo>
                  <a:lnTo>
                    <a:pt x="956" y="476"/>
                  </a:lnTo>
                  <a:lnTo>
                    <a:pt x="954" y="480"/>
                  </a:lnTo>
                  <a:lnTo>
                    <a:pt x="949" y="478"/>
                  </a:lnTo>
                  <a:lnTo>
                    <a:pt x="943" y="480"/>
                  </a:lnTo>
                  <a:lnTo>
                    <a:pt x="941" y="489"/>
                  </a:lnTo>
                  <a:lnTo>
                    <a:pt x="941" y="495"/>
                  </a:lnTo>
                  <a:lnTo>
                    <a:pt x="926" y="516"/>
                  </a:lnTo>
                  <a:lnTo>
                    <a:pt x="922" y="517"/>
                  </a:lnTo>
                  <a:lnTo>
                    <a:pt x="924" y="514"/>
                  </a:lnTo>
                  <a:lnTo>
                    <a:pt x="921" y="507"/>
                  </a:lnTo>
                  <a:lnTo>
                    <a:pt x="922" y="498"/>
                  </a:lnTo>
                  <a:lnTo>
                    <a:pt x="921" y="489"/>
                  </a:lnTo>
                  <a:lnTo>
                    <a:pt x="917" y="473"/>
                  </a:lnTo>
                  <a:lnTo>
                    <a:pt x="915" y="467"/>
                  </a:lnTo>
                  <a:lnTo>
                    <a:pt x="915" y="458"/>
                  </a:lnTo>
                  <a:lnTo>
                    <a:pt x="913" y="441"/>
                  </a:lnTo>
                  <a:lnTo>
                    <a:pt x="915" y="423"/>
                  </a:lnTo>
                  <a:lnTo>
                    <a:pt x="921" y="414"/>
                  </a:lnTo>
                  <a:lnTo>
                    <a:pt x="923" y="412"/>
                  </a:lnTo>
                  <a:lnTo>
                    <a:pt x="924" y="394"/>
                  </a:lnTo>
                  <a:lnTo>
                    <a:pt x="932" y="394"/>
                  </a:lnTo>
                  <a:lnTo>
                    <a:pt x="935" y="390"/>
                  </a:lnTo>
                  <a:lnTo>
                    <a:pt x="939" y="388"/>
                  </a:lnTo>
                  <a:lnTo>
                    <a:pt x="945" y="383"/>
                  </a:lnTo>
                  <a:lnTo>
                    <a:pt x="945" y="380"/>
                  </a:lnTo>
                  <a:lnTo>
                    <a:pt x="955" y="370"/>
                  </a:lnTo>
                  <a:lnTo>
                    <a:pt x="956" y="362"/>
                  </a:lnTo>
                  <a:lnTo>
                    <a:pt x="961" y="361"/>
                  </a:lnTo>
                  <a:lnTo>
                    <a:pt x="969" y="349"/>
                  </a:lnTo>
                  <a:lnTo>
                    <a:pt x="972" y="343"/>
                  </a:lnTo>
                  <a:lnTo>
                    <a:pt x="987" y="336"/>
                  </a:lnTo>
                  <a:lnTo>
                    <a:pt x="987" y="331"/>
                  </a:lnTo>
                  <a:lnTo>
                    <a:pt x="988" y="329"/>
                  </a:lnTo>
                  <a:lnTo>
                    <a:pt x="989" y="320"/>
                  </a:lnTo>
                  <a:lnTo>
                    <a:pt x="990" y="317"/>
                  </a:lnTo>
                  <a:lnTo>
                    <a:pt x="991" y="312"/>
                  </a:lnTo>
                  <a:lnTo>
                    <a:pt x="994" y="303"/>
                  </a:lnTo>
                  <a:lnTo>
                    <a:pt x="1001" y="301"/>
                  </a:lnTo>
                  <a:lnTo>
                    <a:pt x="994" y="295"/>
                  </a:lnTo>
                  <a:lnTo>
                    <a:pt x="985" y="299"/>
                  </a:lnTo>
                  <a:lnTo>
                    <a:pt x="980" y="312"/>
                  </a:lnTo>
                  <a:lnTo>
                    <a:pt x="983" y="316"/>
                  </a:lnTo>
                  <a:lnTo>
                    <a:pt x="981" y="320"/>
                  </a:lnTo>
                  <a:lnTo>
                    <a:pt x="973" y="320"/>
                  </a:lnTo>
                  <a:lnTo>
                    <a:pt x="956" y="320"/>
                  </a:lnTo>
                  <a:lnTo>
                    <a:pt x="957" y="316"/>
                  </a:lnTo>
                  <a:lnTo>
                    <a:pt x="953" y="312"/>
                  </a:lnTo>
                  <a:lnTo>
                    <a:pt x="951" y="315"/>
                  </a:lnTo>
                  <a:lnTo>
                    <a:pt x="949" y="317"/>
                  </a:lnTo>
                  <a:lnTo>
                    <a:pt x="944" y="312"/>
                  </a:lnTo>
                  <a:lnTo>
                    <a:pt x="940" y="316"/>
                  </a:lnTo>
                  <a:lnTo>
                    <a:pt x="929" y="317"/>
                  </a:lnTo>
                  <a:lnTo>
                    <a:pt x="924" y="32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2" name="Freeform 579"/>
            <p:cNvSpPr>
              <a:spLocks/>
            </p:cNvSpPr>
            <p:nvPr/>
          </p:nvSpPr>
          <p:spPr bwMode="gray">
            <a:xfrm>
              <a:off x="4287" y="2415"/>
              <a:ext cx="4" cy="2"/>
            </a:xfrm>
            <a:custGeom>
              <a:avLst/>
              <a:gdLst>
                <a:gd name="T0" fmla="*/ 2147483647 w 3"/>
                <a:gd name="T1" fmla="*/ 2147483646 h 2"/>
                <a:gd name="T2" fmla="*/ 2147483647 w 3"/>
                <a:gd name="T3" fmla="*/ 2147483646 h 2"/>
                <a:gd name="T4" fmla="*/ 2147483647 w 3"/>
                <a:gd name="T5" fmla="*/ 2147483646 h 2"/>
                <a:gd name="T6" fmla="*/ 2147483647 w 3"/>
                <a:gd name="T7" fmla="*/ 0 h 2"/>
                <a:gd name="T8" fmla="*/ 0 w 3"/>
                <a:gd name="T9" fmla="*/ 2147483646 h 2"/>
                <a:gd name="T10" fmla="*/ 2147483647 w 3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1" y="2"/>
                  </a:moveTo>
                  <a:lnTo>
                    <a:pt x="2" y="2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3" name="Freeform 580"/>
            <p:cNvSpPr>
              <a:spLocks/>
            </p:cNvSpPr>
            <p:nvPr/>
          </p:nvSpPr>
          <p:spPr bwMode="gray">
            <a:xfrm>
              <a:off x="4295" y="2403"/>
              <a:ext cx="2" cy="3"/>
            </a:xfrm>
            <a:custGeom>
              <a:avLst/>
              <a:gdLst>
                <a:gd name="T0" fmla="*/ 2147483646 w 2"/>
                <a:gd name="T1" fmla="*/ 0 h 2"/>
                <a:gd name="T2" fmla="*/ 0 w 2"/>
                <a:gd name="T3" fmla="*/ 2147483647 h 2"/>
                <a:gd name="T4" fmla="*/ 2147483646 w 2"/>
                <a:gd name="T5" fmla="*/ 2147483647 h 2"/>
                <a:gd name="T6" fmla="*/ 2147483646 w 2"/>
                <a:gd name="T7" fmla="*/ 0 h 2"/>
                <a:gd name="T8" fmla="*/ 2147483646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4" name="Freeform 581"/>
            <p:cNvSpPr>
              <a:spLocks/>
            </p:cNvSpPr>
            <p:nvPr/>
          </p:nvSpPr>
          <p:spPr bwMode="gray">
            <a:xfrm>
              <a:off x="4309" y="2453"/>
              <a:ext cx="6" cy="6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0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2147483647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5" name="Freeform 582"/>
            <p:cNvSpPr>
              <a:spLocks/>
            </p:cNvSpPr>
            <p:nvPr/>
          </p:nvSpPr>
          <p:spPr bwMode="gray">
            <a:xfrm>
              <a:off x="4303" y="2458"/>
              <a:ext cx="3" cy="4"/>
            </a:xfrm>
            <a:custGeom>
              <a:avLst/>
              <a:gdLst>
                <a:gd name="T0" fmla="*/ 2147483646 w 3"/>
                <a:gd name="T1" fmla="*/ 2147483647 h 3"/>
                <a:gd name="T2" fmla="*/ 2147483646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2147483646 w 3"/>
                <a:gd name="T9" fmla="*/ 2147483647 h 3"/>
                <a:gd name="T10" fmla="*/ 2147483646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3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6" name="Freeform 583"/>
            <p:cNvSpPr>
              <a:spLocks noEditPoints="1"/>
            </p:cNvSpPr>
            <p:nvPr/>
          </p:nvSpPr>
          <p:spPr bwMode="gray">
            <a:xfrm>
              <a:off x="4042" y="2533"/>
              <a:ext cx="158" cy="99"/>
            </a:xfrm>
            <a:custGeom>
              <a:avLst/>
              <a:gdLst>
                <a:gd name="T0" fmla="*/ 2147483647 w 121"/>
                <a:gd name="T1" fmla="*/ 2147483647 h 76"/>
                <a:gd name="T2" fmla="*/ 2147483647 w 121"/>
                <a:gd name="T3" fmla="*/ 2147483647 h 76"/>
                <a:gd name="T4" fmla="*/ 2147483647 w 121"/>
                <a:gd name="T5" fmla="*/ 2147483647 h 76"/>
                <a:gd name="T6" fmla="*/ 2147483647 w 121"/>
                <a:gd name="T7" fmla="*/ 2147483647 h 76"/>
                <a:gd name="T8" fmla="*/ 2147483647 w 121"/>
                <a:gd name="T9" fmla="*/ 0 h 76"/>
                <a:gd name="T10" fmla="*/ 2147483647 w 121"/>
                <a:gd name="T11" fmla="*/ 2147483647 h 76"/>
                <a:gd name="T12" fmla="*/ 2147483647 w 121"/>
                <a:gd name="T13" fmla="*/ 2147483647 h 76"/>
                <a:gd name="T14" fmla="*/ 2147483647 w 121"/>
                <a:gd name="T15" fmla="*/ 2147483647 h 76"/>
                <a:gd name="T16" fmla="*/ 2147483647 w 121"/>
                <a:gd name="T17" fmla="*/ 2147483647 h 76"/>
                <a:gd name="T18" fmla="*/ 2147483647 w 121"/>
                <a:gd name="T19" fmla="*/ 2147483647 h 76"/>
                <a:gd name="T20" fmla="*/ 2147483647 w 121"/>
                <a:gd name="T21" fmla="*/ 2147483647 h 76"/>
                <a:gd name="T22" fmla="*/ 2147483647 w 121"/>
                <a:gd name="T23" fmla="*/ 2147483647 h 76"/>
                <a:gd name="T24" fmla="*/ 2147483647 w 121"/>
                <a:gd name="T25" fmla="*/ 2147483647 h 76"/>
                <a:gd name="T26" fmla="*/ 2147483647 w 121"/>
                <a:gd name="T27" fmla="*/ 2147483647 h 76"/>
                <a:gd name="T28" fmla="*/ 2147483647 w 121"/>
                <a:gd name="T29" fmla="*/ 2147483647 h 76"/>
                <a:gd name="T30" fmla="*/ 2147483647 w 121"/>
                <a:gd name="T31" fmla="*/ 2147483647 h 76"/>
                <a:gd name="T32" fmla="*/ 2147483647 w 121"/>
                <a:gd name="T33" fmla="*/ 2147483647 h 76"/>
                <a:gd name="T34" fmla="*/ 2147483647 w 121"/>
                <a:gd name="T35" fmla="*/ 2147483647 h 76"/>
                <a:gd name="T36" fmla="*/ 0 w 121"/>
                <a:gd name="T37" fmla="*/ 2147483647 h 76"/>
                <a:gd name="T38" fmla="*/ 0 w 121"/>
                <a:gd name="T39" fmla="*/ 2147483647 h 76"/>
                <a:gd name="T40" fmla="*/ 2147483647 w 121"/>
                <a:gd name="T41" fmla="*/ 2147483647 h 76"/>
                <a:gd name="T42" fmla="*/ 2147483647 w 121"/>
                <a:gd name="T43" fmla="*/ 2147483647 h 76"/>
                <a:gd name="T44" fmla="*/ 2147483647 w 121"/>
                <a:gd name="T45" fmla="*/ 2147483647 h 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1"/>
                <a:gd name="T70" fmla="*/ 0 h 76"/>
                <a:gd name="T71" fmla="*/ 121 w 121"/>
                <a:gd name="T72" fmla="*/ 76 h 7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1" h="76">
                  <a:moveTo>
                    <a:pt x="114" y="32"/>
                  </a:moveTo>
                  <a:lnTo>
                    <a:pt x="117" y="21"/>
                  </a:lnTo>
                  <a:lnTo>
                    <a:pt x="121" y="15"/>
                  </a:lnTo>
                  <a:lnTo>
                    <a:pt x="121" y="2"/>
                  </a:lnTo>
                  <a:lnTo>
                    <a:pt x="116" y="0"/>
                  </a:lnTo>
                  <a:lnTo>
                    <a:pt x="114" y="2"/>
                  </a:lnTo>
                  <a:lnTo>
                    <a:pt x="114" y="7"/>
                  </a:lnTo>
                  <a:lnTo>
                    <a:pt x="107" y="17"/>
                  </a:lnTo>
                  <a:lnTo>
                    <a:pt x="108" y="28"/>
                  </a:lnTo>
                  <a:lnTo>
                    <a:pt x="110" y="33"/>
                  </a:lnTo>
                  <a:lnTo>
                    <a:pt x="114" y="32"/>
                  </a:lnTo>
                  <a:close/>
                  <a:moveTo>
                    <a:pt x="17" y="70"/>
                  </a:moveTo>
                  <a:lnTo>
                    <a:pt x="19" y="62"/>
                  </a:lnTo>
                  <a:lnTo>
                    <a:pt x="22" y="58"/>
                  </a:lnTo>
                  <a:lnTo>
                    <a:pt x="17" y="56"/>
                  </a:lnTo>
                  <a:lnTo>
                    <a:pt x="14" y="56"/>
                  </a:lnTo>
                  <a:lnTo>
                    <a:pt x="8" y="59"/>
                  </a:lnTo>
                  <a:lnTo>
                    <a:pt x="6" y="58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6" y="76"/>
                  </a:lnTo>
                  <a:lnTo>
                    <a:pt x="12" y="75"/>
                  </a:lnTo>
                  <a:lnTo>
                    <a:pt x="17" y="7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7" name="Freeform 584"/>
            <p:cNvSpPr>
              <a:spLocks/>
            </p:cNvSpPr>
            <p:nvPr/>
          </p:nvSpPr>
          <p:spPr bwMode="gray">
            <a:xfrm>
              <a:off x="4285" y="2487"/>
              <a:ext cx="10" cy="5"/>
            </a:xfrm>
            <a:custGeom>
              <a:avLst/>
              <a:gdLst>
                <a:gd name="T0" fmla="*/ 0 w 7"/>
                <a:gd name="T1" fmla="*/ 2147483647 h 4"/>
                <a:gd name="T2" fmla="*/ 2147483647 w 7"/>
                <a:gd name="T3" fmla="*/ 2147483647 h 4"/>
                <a:gd name="T4" fmla="*/ 2147483647 w 7"/>
                <a:gd name="T5" fmla="*/ 2147483647 h 4"/>
                <a:gd name="T6" fmla="*/ 2147483647 w 7"/>
                <a:gd name="T7" fmla="*/ 0 h 4"/>
                <a:gd name="T8" fmla="*/ 2147483647 w 7"/>
                <a:gd name="T9" fmla="*/ 0 h 4"/>
                <a:gd name="T10" fmla="*/ 0 w 7"/>
                <a:gd name="T11" fmla="*/ 2147483647 h 4"/>
                <a:gd name="T12" fmla="*/ 0 w 7"/>
                <a:gd name="T13" fmla="*/ 2147483647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0" y="4"/>
                  </a:moveTo>
                  <a:lnTo>
                    <a:pt x="5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8" name="Freeform 585"/>
            <p:cNvSpPr>
              <a:spLocks/>
            </p:cNvSpPr>
            <p:nvPr/>
          </p:nvSpPr>
          <p:spPr bwMode="gray">
            <a:xfrm>
              <a:off x="4285" y="2495"/>
              <a:ext cx="5" cy="5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2147483647 w 4"/>
                <a:gd name="T9" fmla="*/ 0 h 3"/>
                <a:gd name="T10" fmla="*/ 0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lnTo>
                    <a:pt x="2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89" name="Freeform 586"/>
            <p:cNvSpPr>
              <a:spLocks/>
            </p:cNvSpPr>
            <p:nvPr/>
          </p:nvSpPr>
          <p:spPr bwMode="gray">
            <a:xfrm>
              <a:off x="4270" y="2511"/>
              <a:ext cx="9" cy="10"/>
            </a:xfrm>
            <a:custGeom>
              <a:avLst/>
              <a:gdLst>
                <a:gd name="T0" fmla="*/ 2147483647 w 7"/>
                <a:gd name="T1" fmla="*/ 2147483647 h 7"/>
                <a:gd name="T2" fmla="*/ 0 w 7"/>
                <a:gd name="T3" fmla="*/ 2147483647 h 7"/>
                <a:gd name="T4" fmla="*/ 2147483647 w 7"/>
                <a:gd name="T5" fmla="*/ 2147483647 h 7"/>
                <a:gd name="T6" fmla="*/ 2147483647 w 7"/>
                <a:gd name="T7" fmla="*/ 2147483647 h 7"/>
                <a:gd name="T8" fmla="*/ 2147483647 w 7"/>
                <a:gd name="T9" fmla="*/ 2147483647 h 7"/>
                <a:gd name="T10" fmla="*/ 2147483647 w 7"/>
                <a:gd name="T11" fmla="*/ 0 h 7"/>
                <a:gd name="T12" fmla="*/ 2147483647 w 7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2" y="4"/>
                  </a:moveTo>
                  <a:lnTo>
                    <a:pt x="0" y="4"/>
                  </a:lnTo>
                  <a:lnTo>
                    <a:pt x="1" y="7"/>
                  </a:lnTo>
                  <a:lnTo>
                    <a:pt x="5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0" name="Freeform 587"/>
            <p:cNvSpPr>
              <a:spLocks/>
            </p:cNvSpPr>
            <p:nvPr/>
          </p:nvSpPr>
          <p:spPr bwMode="gray">
            <a:xfrm>
              <a:off x="4239" y="2537"/>
              <a:ext cx="6" cy="3"/>
            </a:xfrm>
            <a:custGeom>
              <a:avLst/>
              <a:gdLst>
                <a:gd name="T0" fmla="*/ 2147483647 w 5"/>
                <a:gd name="T1" fmla="*/ 2147483646 h 3"/>
                <a:gd name="T2" fmla="*/ 2147483647 w 5"/>
                <a:gd name="T3" fmla="*/ 0 h 3"/>
                <a:gd name="T4" fmla="*/ 0 w 5"/>
                <a:gd name="T5" fmla="*/ 2147483646 h 3"/>
                <a:gd name="T6" fmla="*/ 2147483647 w 5"/>
                <a:gd name="T7" fmla="*/ 2147483646 h 3"/>
                <a:gd name="T8" fmla="*/ 2147483647 w 5"/>
                <a:gd name="T9" fmla="*/ 2147483646 h 3"/>
                <a:gd name="T10" fmla="*/ 2147483647 w 5"/>
                <a:gd name="T11" fmla="*/ 2147483646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4" y="1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2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1" name="Freeform 588"/>
            <p:cNvSpPr>
              <a:spLocks/>
            </p:cNvSpPr>
            <p:nvPr/>
          </p:nvSpPr>
          <p:spPr bwMode="gray">
            <a:xfrm>
              <a:off x="4228" y="2540"/>
              <a:ext cx="4" cy="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1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2" name="Freeform 589"/>
            <p:cNvSpPr>
              <a:spLocks/>
            </p:cNvSpPr>
            <p:nvPr/>
          </p:nvSpPr>
          <p:spPr bwMode="gray">
            <a:xfrm>
              <a:off x="4221" y="2545"/>
              <a:ext cx="6" cy="3"/>
            </a:xfrm>
            <a:custGeom>
              <a:avLst/>
              <a:gdLst>
                <a:gd name="T0" fmla="*/ 2147483647 w 5"/>
                <a:gd name="T1" fmla="*/ 0 h 2"/>
                <a:gd name="T2" fmla="*/ 2147483647 w 5"/>
                <a:gd name="T3" fmla="*/ 0 h 2"/>
                <a:gd name="T4" fmla="*/ 0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2147483647 h 2"/>
                <a:gd name="T10" fmla="*/ 2147483647 w 5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3" name="Freeform 590"/>
            <p:cNvSpPr>
              <a:spLocks/>
            </p:cNvSpPr>
            <p:nvPr/>
          </p:nvSpPr>
          <p:spPr bwMode="gray">
            <a:xfrm>
              <a:off x="4091" y="2966"/>
              <a:ext cx="19" cy="4"/>
            </a:xfrm>
            <a:custGeom>
              <a:avLst/>
              <a:gdLst>
                <a:gd name="T0" fmla="*/ 0 w 14"/>
                <a:gd name="T1" fmla="*/ 2147483647 h 3"/>
                <a:gd name="T2" fmla="*/ 2147483647 w 14"/>
                <a:gd name="T3" fmla="*/ 2147483647 h 3"/>
                <a:gd name="T4" fmla="*/ 2147483647 w 14"/>
                <a:gd name="T5" fmla="*/ 0 h 3"/>
                <a:gd name="T6" fmla="*/ 0 w 14"/>
                <a:gd name="T7" fmla="*/ 2147483647 h 3"/>
                <a:gd name="T8" fmla="*/ 0 w 1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0" y="3"/>
                  </a:moveTo>
                  <a:lnTo>
                    <a:pt x="13" y="2"/>
                  </a:lnTo>
                  <a:lnTo>
                    <a:pt x="14" y="0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4" name="Freeform 591"/>
            <p:cNvSpPr>
              <a:spLocks/>
            </p:cNvSpPr>
            <p:nvPr/>
          </p:nvSpPr>
          <p:spPr bwMode="gray">
            <a:xfrm>
              <a:off x="4112" y="2980"/>
              <a:ext cx="12" cy="10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0 w 9"/>
                <a:gd name="T5" fmla="*/ 0 h 7"/>
                <a:gd name="T6" fmla="*/ 2147483647 w 9"/>
                <a:gd name="T7" fmla="*/ 2147483647 h 7"/>
                <a:gd name="T8" fmla="*/ 2147483647 w 9"/>
                <a:gd name="T9" fmla="*/ 2147483647 h 7"/>
                <a:gd name="T10" fmla="*/ 2147483647 w 9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1" y="5"/>
                  </a:lnTo>
                  <a:lnTo>
                    <a:pt x="5" y="7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5" name="Freeform 592"/>
            <p:cNvSpPr>
              <a:spLocks/>
            </p:cNvSpPr>
            <p:nvPr/>
          </p:nvSpPr>
          <p:spPr bwMode="gray">
            <a:xfrm>
              <a:off x="4131" y="2914"/>
              <a:ext cx="2" cy="11"/>
            </a:xfrm>
            <a:custGeom>
              <a:avLst/>
              <a:gdLst>
                <a:gd name="T0" fmla="*/ 2147483646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6 w 2"/>
                <a:gd name="T7" fmla="*/ 2147483647 h 8"/>
                <a:gd name="T8" fmla="*/ 2147483646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6" name="Freeform 593"/>
            <p:cNvSpPr>
              <a:spLocks/>
            </p:cNvSpPr>
            <p:nvPr/>
          </p:nvSpPr>
          <p:spPr bwMode="gray">
            <a:xfrm>
              <a:off x="4227" y="2982"/>
              <a:ext cx="13" cy="7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0 h 5"/>
                <a:gd name="T8" fmla="*/ 2147483647 w 10"/>
                <a:gd name="T9" fmla="*/ 2147483647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5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7" name="Freeform 594"/>
            <p:cNvSpPr>
              <a:spLocks/>
            </p:cNvSpPr>
            <p:nvPr/>
          </p:nvSpPr>
          <p:spPr bwMode="gray">
            <a:xfrm>
              <a:off x="4216" y="2982"/>
              <a:ext cx="9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2147483647 w 6"/>
                <a:gd name="T9" fmla="*/ 2147483647 h 5"/>
                <a:gd name="T10" fmla="*/ 0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0" y="3"/>
                  </a:moveTo>
                  <a:lnTo>
                    <a:pt x="1" y="5"/>
                  </a:lnTo>
                  <a:lnTo>
                    <a:pt x="6" y="1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8" name="Freeform 595"/>
            <p:cNvSpPr>
              <a:spLocks/>
            </p:cNvSpPr>
            <p:nvPr/>
          </p:nvSpPr>
          <p:spPr bwMode="gray">
            <a:xfrm>
              <a:off x="4207" y="2980"/>
              <a:ext cx="9" cy="9"/>
            </a:xfrm>
            <a:custGeom>
              <a:avLst/>
              <a:gdLst>
                <a:gd name="T0" fmla="*/ 0 w 7"/>
                <a:gd name="T1" fmla="*/ 2147483647 h 6"/>
                <a:gd name="T2" fmla="*/ 2147483647 w 7"/>
                <a:gd name="T3" fmla="*/ 2147483647 h 6"/>
                <a:gd name="T4" fmla="*/ 2147483647 w 7"/>
                <a:gd name="T5" fmla="*/ 2147483647 h 6"/>
                <a:gd name="T6" fmla="*/ 2147483647 w 7"/>
                <a:gd name="T7" fmla="*/ 0 h 6"/>
                <a:gd name="T8" fmla="*/ 0 w 7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5"/>
                  </a:moveTo>
                  <a:lnTo>
                    <a:pt x="2" y="6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399" name="Freeform 596"/>
            <p:cNvSpPr>
              <a:spLocks/>
            </p:cNvSpPr>
            <p:nvPr/>
          </p:nvSpPr>
          <p:spPr bwMode="gray">
            <a:xfrm>
              <a:off x="4249" y="2973"/>
              <a:ext cx="10" cy="7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0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6"/>
                  </a:moveTo>
                  <a:lnTo>
                    <a:pt x="7" y="4"/>
                  </a:lnTo>
                  <a:lnTo>
                    <a:pt x="8" y="2"/>
                  </a:lnTo>
                  <a:lnTo>
                    <a:pt x="7" y="0"/>
                  </a:lnTo>
                  <a:lnTo>
                    <a:pt x="0" y="3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0" name="Freeform 597"/>
            <p:cNvSpPr>
              <a:spLocks noEditPoints="1"/>
            </p:cNvSpPr>
            <p:nvPr/>
          </p:nvSpPr>
          <p:spPr bwMode="gray">
            <a:xfrm>
              <a:off x="4166" y="2627"/>
              <a:ext cx="79" cy="322"/>
            </a:xfrm>
            <a:custGeom>
              <a:avLst/>
              <a:gdLst>
                <a:gd name="T0" fmla="*/ 0 w 61"/>
                <a:gd name="T1" fmla="*/ 2147483647 h 247"/>
                <a:gd name="T2" fmla="*/ 2147483647 w 61"/>
                <a:gd name="T3" fmla="*/ 2147483647 h 247"/>
                <a:gd name="T4" fmla="*/ 2147483647 w 61"/>
                <a:gd name="T5" fmla="*/ 2147483647 h 247"/>
                <a:gd name="T6" fmla="*/ 2147483647 w 61"/>
                <a:gd name="T7" fmla="*/ 2147483647 h 247"/>
                <a:gd name="T8" fmla="*/ 2147483647 w 61"/>
                <a:gd name="T9" fmla="*/ 2147483647 h 247"/>
                <a:gd name="T10" fmla="*/ 2147483647 w 61"/>
                <a:gd name="T11" fmla="*/ 2147483647 h 247"/>
                <a:gd name="T12" fmla="*/ 2147483647 w 61"/>
                <a:gd name="T13" fmla="*/ 2147483647 h 247"/>
                <a:gd name="T14" fmla="*/ 2147483647 w 61"/>
                <a:gd name="T15" fmla="*/ 2147483647 h 247"/>
                <a:gd name="T16" fmla="*/ 2147483647 w 61"/>
                <a:gd name="T17" fmla="*/ 2147483647 h 247"/>
                <a:gd name="T18" fmla="*/ 2147483647 w 61"/>
                <a:gd name="T19" fmla="*/ 2147483647 h 247"/>
                <a:gd name="T20" fmla="*/ 2147483647 w 61"/>
                <a:gd name="T21" fmla="*/ 2147483647 h 247"/>
                <a:gd name="T22" fmla="*/ 2147483647 w 61"/>
                <a:gd name="T23" fmla="*/ 2147483647 h 247"/>
                <a:gd name="T24" fmla="*/ 2147483647 w 61"/>
                <a:gd name="T25" fmla="*/ 2147483647 h 247"/>
                <a:gd name="T26" fmla="*/ 2147483647 w 61"/>
                <a:gd name="T27" fmla="*/ 2147483647 h 247"/>
                <a:gd name="T28" fmla="*/ 2147483647 w 61"/>
                <a:gd name="T29" fmla="*/ 2147483647 h 247"/>
                <a:gd name="T30" fmla="*/ 2147483647 w 61"/>
                <a:gd name="T31" fmla="*/ 2147483647 h 247"/>
                <a:gd name="T32" fmla="*/ 2147483647 w 61"/>
                <a:gd name="T33" fmla="*/ 2147483647 h 247"/>
                <a:gd name="T34" fmla="*/ 2147483647 w 61"/>
                <a:gd name="T35" fmla="*/ 2147483647 h 247"/>
                <a:gd name="T36" fmla="*/ 2147483647 w 61"/>
                <a:gd name="T37" fmla="*/ 2147483647 h 247"/>
                <a:gd name="T38" fmla="*/ 2147483647 w 61"/>
                <a:gd name="T39" fmla="*/ 2147483647 h 247"/>
                <a:gd name="T40" fmla="*/ 2147483647 w 61"/>
                <a:gd name="T41" fmla="*/ 2147483647 h 247"/>
                <a:gd name="T42" fmla="*/ 2147483647 w 61"/>
                <a:gd name="T43" fmla="*/ 2147483647 h 247"/>
                <a:gd name="T44" fmla="*/ 2147483647 w 61"/>
                <a:gd name="T45" fmla="*/ 2147483647 h 247"/>
                <a:gd name="T46" fmla="*/ 2147483647 w 61"/>
                <a:gd name="T47" fmla="*/ 2147483647 h 247"/>
                <a:gd name="T48" fmla="*/ 2147483647 w 61"/>
                <a:gd name="T49" fmla="*/ 2147483647 h 247"/>
                <a:gd name="T50" fmla="*/ 2147483647 w 61"/>
                <a:gd name="T51" fmla="*/ 2147483647 h 247"/>
                <a:gd name="T52" fmla="*/ 2147483647 w 61"/>
                <a:gd name="T53" fmla="*/ 2147483647 h 247"/>
                <a:gd name="T54" fmla="*/ 2147483647 w 61"/>
                <a:gd name="T55" fmla="*/ 2147483647 h 247"/>
                <a:gd name="T56" fmla="*/ 2147483647 w 61"/>
                <a:gd name="T57" fmla="*/ 2147483647 h 247"/>
                <a:gd name="T58" fmla="*/ 2147483647 w 61"/>
                <a:gd name="T59" fmla="*/ 2147483647 h 247"/>
                <a:gd name="T60" fmla="*/ 2147483647 w 61"/>
                <a:gd name="T61" fmla="*/ 2147483647 h 247"/>
                <a:gd name="T62" fmla="*/ 2147483647 w 61"/>
                <a:gd name="T63" fmla="*/ 2147483647 h 247"/>
                <a:gd name="T64" fmla="*/ 2147483647 w 61"/>
                <a:gd name="T65" fmla="*/ 2147483647 h 247"/>
                <a:gd name="T66" fmla="*/ 2147483647 w 61"/>
                <a:gd name="T67" fmla="*/ 2147483647 h 247"/>
                <a:gd name="T68" fmla="*/ 2147483647 w 61"/>
                <a:gd name="T69" fmla="*/ 2147483647 h 247"/>
                <a:gd name="T70" fmla="*/ 2147483647 w 61"/>
                <a:gd name="T71" fmla="*/ 2147483647 h 247"/>
                <a:gd name="T72" fmla="*/ 2147483647 w 61"/>
                <a:gd name="T73" fmla="*/ 2147483647 h 247"/>
                <a:gd name="T74" fmla="*/ 2147483647 w 61"/>
                <a:gd name="T75" fmla="*/ 2147483647 h 247"/>
                <a:gd name="T76" fmla="*/ 2147483647 w 61"/>
                <a:gd name="T77" fmla="*/ 2147483647 h 247"/>
                <a:gd name="T78" fmla="*/ 2147483647 w 61"/>
                <a:gd name="T79" fmla="*/ 2147483647 h 247"/>
                <a:gd name="T80" fmla="*/ 2147483647 w 61"/>
                <a:gd name="T81" fmla="*/ 2147483647 h 247"/>
                <a:gd name="T82" fmla="*/ 2147483647 w 61"/>
                <a:gd name="T83" fmla="*/ 2147483647 h 247"/>
                <a:gd name="T84" fmla="*/ 2147483647 w 61"/>
                <a:gd name="T85" fmla="*/ 2147483647 h 247"/>
                <a:gd name="T86" fmla="*/ 2147483647 w 61"/>
                <a:gd name="T87" fmla="*/ 2147483647 h 247"/>
                <a:gd name="T88" fmla="*/ 2147483647 w 61"/>
                <a:gd name="T89" fmla="*/ 2147483647 h 247"/>
                <a:gd name="T90" fmla="*/ 2147483647 w 61"/>
                <a:gd name="T91" fmla="*/ 2147483647 h 247"/>
                <a:gd name="T92" fmla="*/ 2147483647 w 61"/>
                <a:gd name="T93" fmla="*/ 2147483647 h 247"/>
                <a:gd name="T94" fmla="*/ 2147483647 w 61"/>
                <a:gd name="T95" fmla="*/ 2147483647 h 247"/>
                <a:gd name="T96" fmla="*/ 2147483647 w 61"/>
                <a:gd name="T97" fmla="*/ 2147483647 h 247"/>
                <a:gd name="T98" fmla="*/ 2147483647 w 61"/>
                <a:gd name="T99" fmla="*/ 2147483647 h 247"/>
                <a:gd name="T100" fmla="*/ 2147483647 w 61"/>
                <a:gd name="T101" fmla="*/ 2147483647 h 247"/>
                <a:gd name="T102" fmla="*/ 2147483647 w 61"/>
                <a:gd name="T103" fmla="*/ 2147483647 h 247"/>
                <a:gd name="T104" fmla="*/ 2147483647 w 61"/>
                <a:gd name="T105" fmla="*/ 2147483647 h 247"/>
                <a:gd name="T106" fmla="*/ 2147483647 w 61"/>
                <a:gd name="T107" fmla="*/ 2147483647 h 247"/>
                <a:gd name="T108" fmla="*/ 2147483647 w 61"/>
                <a:gd name="T109" fmla="*/ 2147483647 h 2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1"/>
                <a:gd name="T166" fmla="*/ 0 h 247"/>
                <a:gd name="T167" fmla="*/ 61 w 61"/>
                <a:gd name="T168" fmla="*/ 247 h 2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1" h="247">
                  <a:moveTo>
                    <a:pt x="1" y="215"/>
                  </a:moveTo>
                  <a:lnTo>
                    <a:pt x="0" y="225"/>
                  </a:lnTo>
                  <a:lnTo>
                    <a:pt x="5" y="225"/>
                  </a:lnTo>
                  <a:lnTo>
                    <a:pt x="7" y="229"/>
                  </a:lnTo>
                  <a:lnTo>
                    <a:pt x="8" y="238"/>
                  </a:lnTo>
                  <a:lnTo>
                    <a:pt x="5" y="244"/>
                  </a:lnTo>
                  <a:lnTo>
                    <a:pt x="5" y="247"/>
                  </a:lnTo>
                  <a:lnTo>
                    <a:pt x="9" y="247"/>
                  </a:lnTo>
                  <a:lnTo>
                    <a:pt x="12" y="239"/>
                  </a:lnTo>
                  <a:lnTo>
                    <a:pt x="13" y="222"/>
                  </a:lnTo>
                  <a:lnTo>
                    <a:pt x="11" y="219"/>
                  </a:lnTo>
                  <a:lnTo>
                    <a:pt x="12" y="217"/>
                  </a:lnTo>
                  <a:lnTo>
                    <a:pt x="15" y="218"/>
                  </a:lnTo>
                  <a:lnTo>
                    <a:pt x="16" y="214"/>
                  </a:lnTo>
                  <a:lnTo>
                    <a:pt x="20" y="217"/>
                  </a:lnTo>
                  <a:lnTo>
                    <a:pt x="20" y="227"/>
                  </a:lnTo>
                  <a:lnTo>
                    <a:pt x="25" y="233"/>
                  </a:lnTo>
                  <a:lnTo>
                    <a:pt x="24" y="240"/>
                  </a:lnTo>
                  <a:lnTo>
                    <a:pt x="28" y="241"/>
                  </a:lnTo>
                  <a:lnTo>
                    <a:pt x="30" y="233"/>
                  </a:lnTo>
                  <a:lnTo>
                    <a:pt x="33" y="233"/>
                  </a:lnTo>
                  <a:lnTo>
                    <a:pt x="33" y="230"/>
                  </a:lnTo>
                  <a:lnTo>
                    <a:pt x="30" y="224"/>
                  </a:lnTo>
                  <a:lnTo>
                    <a:pt x="30" y="214"/>
                  </a:lnTo>
                  <a:lnTo>
                    <a:pt x="23" y="211"/>
                  </a:lnTo>
                  <a:lnTo>
                    <a:pt x="22" y="208"/>
                  </a:lnTo>
                  <a:lnTo>
                    <a:pt x="23" y="207"/>
                  </a:lnTo>
                  <a:lnTo>
                    <a:pt x="29" y="208"/>
                  </a:lnTo>
                  <a:lnTo>
                    <a:pt x="35" y="200"/>
                  </a:lnTo>
                  <a:lnTo>
                    <a:pt x="41" y="200"/>
                  </a:lnTo>
                  <a:lnTo>
                    <a:pt x="43" y="198"/>
                  </a:lnTo>
                  <a:lnTo>
                    <a:pt x="39" y="195"/>
                  </a:lnTo>
                  <a:lnTo>
                    <a:pt x="30" y="196"/>
                  </a:lnTo>
                  <a:lnTo>
                    <a:pt x="22" y="199"/>
                  </a:lnTo>
                  <a:lnTo>
                    <a:pt x="19" y="204"/>
                  </a:lnTo>
                  <a:lnTo>
                    <a:pt x="10" y="196"/>
                  </a:lnTo>
                  <a:lnTo>
                    <a:pt x="11" y="190"/>
                  </a:lnTo>
                  <a:lnTo>
                    <a:pt x="15" y="186"/>
                  </a:lnTo>
                  <a:lnTo>
                    <a:pt x="39" y="186"/>
                  </a:lnTo>
                  <a:lnTo>
                    <a:pt x="44" y="188"/>
                  </a:lnTo>
                  <a:lnTo>
                    <a:pt x="53" y="184"/>
                  </a:lnTo>
                  <a:lnTo>
                    <a:pt x="57" y="173"/>
                  </a:lnTo>
                  <a:lnTo>
                    <a:pt x="52" y="173"/>
                  </a:lnTo>
                  <a:lnTo>
                    <a:pt x="50" y="178"/>
                  </a:lnTo>
                  <a:lnTo>
                    <a:pt x="43" y="180"/>
                  </a:lnTo>
                  <a:lnTo>
                    <a:pt x="32" y="181"/>
                  </a:lnTo>
                  <a:lnTo>
                    <a:pt x="22" y="176"/>
                  </a:lnTo>
                  <a:lnTo>
                    <a:pt x="19" y="176"/>
                  </a:lnTo>
                  <a:lnTo>
                    <a:pt x="16" y="181"/>
                  </a:lnTo>
                  <a:lnTo>
                    <a:pt x="13" y="181"/>
                  </a:lnTo>
                  <a:lnTo>
                    <a:pt x="10" y="182"/>
                  </a:lnTo>
                  <a:lnTo>
                    <a:pt x="8" y="191"/>
                  </a:lnTo>
                  <a:lnTo>
                    <a:pt x="5" y="196"/>
                  </a:lnTo>
                  <a:lnTo>
                    <a:pt x="4" y="201"/>
                  </a:lnTo>
                  <a:lnTo>
                    <a:pt x="5" y="209"/>
                  </a:lnTo>
                  <a:lnTo>
                    <a:pt x="3" y="215"/>
                  </a:lnTo>
                  <a:lnTo>
                    <a:pt x="1" y="215"/>
                  </a:lnTo>
                  <a:close/>
                  <a:moveTo>
                    <a:pt x="9" y="23"/>
                  </a:moveTo>
                  <a:lnTo>
                    <a:pt x="8" y="27"/>
                  </a:lnTo>
                  <a:lnTo>
                    <a:pt x="12" y="37"/>
                  </a:lnTo>
                  <a:lnTo>
                    <a:pt x="18" y="40"/>
                  </a:lnTo>
                  <a:lnTo>
                    <a:pt x="18" y="48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7" y="45"/>
                  </a:lnTo>
                  <a:lnTo>
                    <a:pt x="26" y="42"/>
                  </a:lnTo>
                  <a:lnTo>
                    <a:pt x="23" y="33"/>
                  </a:lnTo>
                  <a:lnTo>
                    <a:pt x="25" y="29"/>
                  </a:lnTo>
                  <a:lnTo>
                    <a:pt x="33" y="21"/>
                  </a:lnTo>
                  <a:lnTo>
                    <a:pt x="34" y="15"/>
                  </a:lnTo>
                  <a:lnTo>
                    <a:pt x="31" y="11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7" y="5"/>
                  </a:lnTo>
                  <a:lnTo>
                    <a:pt x="15" y="8"/>
                  </a:lnTo>
                  <a:lnTo>
                    <a:pt x="12" y="23"/>
                  </a:lnTo>
                  <a:lnTo>
                    <a:pt x="9" y="23"/>
                  </a:lnTo>
                  <a:close/>
                  <a:moveTo>
                    <a:pt x="19" y="52"/>
                  </a:moveTo>
                  <a:lnTo>
                    <a:pt x="14" y="52"/>
                  </a:lnTo>
                  <a:lnTo>
                    <a:pt x="13" y="53"/>
                  </a:lnTo>
                  <a:lnTo>
                    <a:pt x="17" y="57"/>
                  </a:lnTo>
                  <a:lnTo>
                    <a:pt x="19" y="63"/>
                  </a:lnTo>
                  <a:lnTo>
                    <a:pt x="22" y="64"/>
                  </a:lnTo>
                  <a:lnTo>
                    <a:pt x="24" y="62"/>
                  </a:lnTo>
                  <a:lnTo>
                    <a:pt x="23" y="56"/>
                  </a:lnTo>
                  <a:lnTo>
                    <a:pt x="19" y="52"/>
                  </a:lnTo>
                  <a:close/>
                  <a:moveTo>
                    <a:pt x="38" y="49"/>
                  </a:moveTo>
                  <a:lnTo>
                    <a:pt x="35" y="45"/>
                  </a:lnTo>
                  <a:lnTo>
                    <a:pt x="32" y="45"/>
                  </a:lnTo>
                  <a:lnTo>
                    <a:pt x="28" y="48"/>
                  </a:lnTo>
                  <a:lnTo>
                    <a:pt x="33" y="54"/>
                  </a:lnTo>
                  <a:lnTo>
                    <a:pt x="35" y="52"/>
                  </a:lnTo>
                  <a:lnTo>
                    <a:pt x="40" y="56"/>
                  </a:lnTo>
                  <a:lnTo>
                    <a:pt x="48" y="61"/>
                  </a:lnTo>
                  <a:lnTo>
                    <a:pt x="49" y="58"/>
                  </a:lnTo>
                  <a:lnTo>
                    <a:pt x="46" y="57"/>
                  </a:lnTo>
                  <a:lnTo>
                    <a:pt x="45" y="51"/>
                  </a:lnTo>
                  <a:lnTo>
                    <a:pt x="42" y="46"/>
                  </a:lnTo>
                  <a:lnTo>
                    <a:pt x="38" y="49"/>
                  </a:lnTo>
                  <a:close/>
                  <a:moveTo>
                    <a:pt x="51" y="64"/>
                  </a:moveTo>
                  <a:lnTo>
                    <a:pt x="51" y="66"/>
                  </a:lnTo>
                  <a:lnTo>
                    <a:pt x="55" y="69"/>
                  </a:lnTo>
                  <a:lnTo>
                    <a:pt x="57" y="74"/>
                  </a:lnTo>
                  <a:lnTo>
                    <a:pt x="61" y="76"/>
                  </a:lnTo>
                  <a:lnTo>
                    <a:pt x="61" y="69"/>
                  </a:lnTo>
                  <a:lnTo>
                    <a:pt x="59" y="64"/>
                  </a:lnTo>
                  <a:lnTo>
                    <a:pt x="54" y="63"/>
                  </a:lnTo>
                  <a:lnTo>
                    <a:pt x="51" y="6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1" name="Freeform 598"/>
            <p:cNvSpPr>
              <a:spLocks/>
            </p:cNvSpPr>
            <p:nvPr/>
          </p:nvSpPr>
          <p:spPr bwMode="gray">
            <a:xfrm>
              <a:off x="4227" y="2687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3"/>
                  </a:moveTo>
                  <a:lnTo>
                    <a:pt x="1" y="5"/>
                  </a:lnTo>
                  <a:lnTo>
                    <a:pt x="4" y="4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2" name="Freeform 599"/>
            <p:cNvSpPr>
              <a:spLocks/>
            </p:cNvSpPr>
            <p:nvPr/>
          </p:nvSpPr>
          <p:spPr bwMode="gray">
            <a:xfrm>
              <a:off x="4218" y="2711"/>
              <a:ext cx="8" cy="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0 h 5"/>
                <a:gd name="T12" fmla="*/ 0 w 6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0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6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3" name="Freeform 600"/>
            <p:cNvSpPr>
              <a:spLocks noEditPoints="1"/>
            </p:cNvSpPr>
            <p:nvPr/>
          </p:nvSpPr>
          <p:spPr bwMode="gray">
            <a:xfrm>
              <a:off x="4205" y="2722"/>
              <a:ext cx="16" cy="31"/>
            </a:xfrm>
            <a:custGeom>
              <a:avLst/>
              <a:gdLst>
                <a:gd name="T0" fmla="*/ 2147483647 w 13"/>
                <a:gd name="T1" fmla="*/ 0 h 23"/>
                <a:gd name="T2" fmla="*/ 0 w 13"/>
                <a:gd name="T3" fmla="*/ 2147483647 h 23"/>
                <a:gd name="T4" fmla="*/ 2147483647 w 13"/>
                <a:gd name="T5" fmla="*/ 2147483647 h 23"/>
                <a:gd name="T6" fmla="*/ 2147483647 w 13"/>
                <a:gd name="T7" fmla="*/ 2147483647 h 23"/>
                <a:gd name="T8" fmla="*/ 2147483647 w 13"/>
                <a:gd name="T9" fmla="*/ 0 h 23"/>
                <a:gd name="T10" fmla="*/ 2147483647 w 13"/>
                <a:gd name="T11" fmla="*/ 0 h 23"/>
                <a:gd name="T12" fmla="*/ 2147483647 w 13"/>
                <a:gd name="T13" fmla="*/ 2147483647 h 23"/>
                <a:gd name="T14" fmla="*/ 2147483647 w 13"/>
                <a:gd name="T15" fmla="*/ 2147483647 h 23"/>
                <a:gd name="T16" fmla="*/ 2147483647 w 13"/>
                <a:gd name="T17" fmla="*/ 2147483647 h 23"/>
                <a:gd name="T18" fmla="*/ 2147483647 w 13"/>
                <a:gd name="T19" fmla="*/ 2147483647 h 23"/>
                <a:gd name="T20" fmla="*/ 2147483647 w 13"/>
                <a:gd name="T21" fmla="*/ 2147483647 h 23"/>
                <a:gd name="T22" fmla="*/ 2147483647 w 13"/>
                <a:gd name="T23" fmla="*/ 2147483647 h 23"/>
                <a:gd name="T24" fmla="*/ 2147483647 w 13"/>
                <a:gd name="T25" fmla="*/ 2147483647 h 23"/>
                <a:gd name="T26" fmla="*/ 2147483647 w 13"/>
                <a:gd name="T27" fmla="*/ 2147483647 h 23"/>
                <a:gd name="T28" fmla="*/ 2147483647 w 13"/>
                <a:gd name="T29" fmla="*/ 2147483647 h 23"/>
                <a:gd name="T30" fmla="*/ 2147483647 w 13"/>
                <a:gd name="T31" fmla="*/ 2147483647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23"/>
                <a:gd name="T50" fmla="*/ 13 w 13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23">
                  <a:moveTo>
                    <a:pt x="1" y="0"/>
                  </a:moveTo>
                  <a:lnTo>
                    <a:pt x="0" y="11"/>
                  </a:lnTo>
                  <a:lnTo>
                    <a:pt x="6" y="6"/>
                  </a:lnTo>
                  <a:lnTo>
                    <a:pt x="8" y="1"/>
                  </a:lnTo>
                  <a:lnTo>
                    <a:pt x="5" y="0"/>
                  </a:lnTo>
                  <a:lnTo>
                    <a:pt x="1" y="0"/>
                  </a:lnTo>
                  <a:close/>
                  <a:moveTo>
                    <a:pt x="7" y="11"/>
                  </a:moveTo>
                  <a:lnTo>
                    <a:pt x="10" y="14"/>
                  </a:lnTo>
                  <a:lnTo>
                    <a:pt x="3" y="16"/>
                  </a:lnTo>
                  <a:lnTo>
                    <a:pt x="2" y="20"/>
                  </a:lnTo>
                  <a:lnTo>
                    <a:pt x="7" y="23"/>
                  </a:lnTo>
                  <a:lnTo>
                    <a:pt x="10" y="21"/>
                  </a:lnTo>
                  <a:lnTo>
                    <a:pt x="13" y="16"/>
                  </a:lnTo>
                  <a:lnTo>
                    <a:pt x="13" y="8"/>
                  </a:lnTo>
                  <a:lnTo>
                    <a:pt x="9" y="7"/>
                  </a:lnTo>
                  <a:lnTo>
                    <a:pt x="7" y="1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4" name="Freeform 601"/>
            <p:cNvSpPr>
              <a:spLocks/>
            </p:cNvSpPr>
            <p:nvPr/>
          </p:nvSpPr>
          <p:spPr bwMode="gray">
            <a:xfrm>
              <a:off x="4223" y="2729"/>
              <a:ext cx="5" cy="19"/>
            </a:xfrm>
            <a:custGeom>
              <a:avLst/>
              <a:gdLst>
                <a:gd name="T0" fmla="*/ 0 w 4"/>
                <a:gd name="T1" fmla="*/ 2147483647 h 14"/>
                <a:gd name="T2" fmla="*/ 2147483647 w 4"/>
                <a:gd name="T3" fmla="*/ 2147483647 h 14"/>
                <a:gd name="T4" fmla="*/ 2147483647 w 4"/>
                <a:gd name="T5" fmla="*/ 2147483647 h 14"/>
                <a:gd name="T6" fmla="*/ 2147483647 w 4"/>
                <a:gd name="T7" fmla="*/ 0 h 14"/>
                <a:gd name="T8" fmla="*/ 0 w 4"/>
                <a:gd name="T9" fmla="*/ 214748364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4"/>
                <a:gd name="T17" fmla="*/ 4 w 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4">
                  <a:moveTo>
                    <a:pt x="0" y="14"/>
                  </a:moveTo>
                  <a:lnTo>
                    <a:pt x="3" y="13"/>
                  </a:lnTo>
                  <a:lnTo>
                    <a:pt x="4" y="9"/>
                  </a:lnTo>
                  <a:lnTo>
                    <a:pt x="2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5" name="Freeform 602"/>
            <p:cNvSpPr>
              <a:spLocks/>
            </p:cNvSpPr>
            <p:nvPr/>
          </p:nvSpPr>
          <p:spPr bwMode="gray">
            <a:xfrm>
              <a:off x="4230" y="2727"/>
              <a:ext cx="12" cy="12"/>
            </a:xfrm>
            <a:custGeom>
              <a:avLst/>
              <a:gdLst>
                <a:gd name="T0" fmla="*/ 2147483647 w 9"/>
                <a:gd name="T1" fmla="*/ 2147483647 h 10"/>
                <a:gd name="T2" fmla="*/ 2147483647 w 9"/>
                <a:gd name="T3" fmla="*/ 2147483647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2147483647 w 9"/>
                <a:gd name="T9" fmla="*/ 0 h 10"/>
                <a:gd name="T10" fmla="*/ 0 w 9"/>
                <a:gd name="T11" fmla="*/ 0 h 10"/>
                <a:gd name="T12" fmla="*/ 2147483647 w 9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5" y="5"/>
                  </a:moveTo>
                  <a:lnTo>
                    <a:pt x="5" y="10"/>
                  </a:lnTo>
                  <a:lnTo>
                    <a:pt x="9" y="9"/>
                  </a:lnTo>
                  <a:lnTo>
                    <a:pt x="8" y="5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6" name="Freeform 603"/>
            <p:cNvSpPr>
              <a:spLocks/>
            </p:cNvSpPr>
            <p:nvPr/>
          </p:nvSpPr>
          <p:spPr bwMode="gray">
            <a:xfrm>
              <a:off x="4228" y="2741"/>
              <a:ext cx="9" cy="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2147483647 h 6"/>
                <a:gd name="T6" fmla="*/ 0 w 7"/>
                <a:gd name="T7" fmla="*/ 2147483647 h 6"/>
                <a:gd name="T8" fmla="*/ 2147483647 w 7"/>
                <a:gd name="T9" fmla="*/ 2147483647 h 6"/>
                <a:gd name="T10" fmla="*/ 2147483647 w 7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1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4" y="6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7" name="Freeform 604"/>
            <p:cNvSpPr>
              <a:spLocks/>
            </p:cNvSpPr>
            <p:nvPr/>
          </p:nvSpPr>
          <p:spPr bwMode="gray">
            <a:xfrm>
              <a:off x="4204" y="2748"/>
              <a:ext cx="54" cy="54"/>
            </a:xfrm>
            <a:custGeom>
              <a:avLst/>
              <a:gdLst>
                <a:gd name="T0" fmla="*/ 2147483647 w 42"/>
                <a:gd name="T1" fmla="*/ 0 h 41"/>
                <a:gd name="T2" fmla="*/ 2147483647 w 42"/>
                <a:gd name="T3" fmla="*/ 2147483647 h 41"/>
                <a:gd name="T4" fmla="*/ 2147483647 w 42"/>
                <a:gd name="T5" fmla="*/ 2147483647 h 41"/>
                <a:gd name="T6" fmla="*/ 2147483647 w 42"/>
                <a:gd name="T7" fmla="*/ 2147483647 h 41"/>
                <a:gd name="T8" fmla="*/ 2147483647 w 42"/>
                <a:gd name="T9" fmla="*/ 2147483647 h 41"/>
                <a:gd name="T10" fmla="*/ 2147483647 w 42"/>
                <a:gd name="T11" fmla="*/ 2147483647 h 41"/>
                <a:gd name="T12" fmla="*/ 2147483647 w 42"/>
                <a:gd name="T13" fmla="*/ 2147483647 h 41"/>
                <a:gd name="T14" fmla="*/ 2147483647 w 42"/>
                <a:gd name="T15" fmla="*/ 2147483647 h 41"/>
                <a:gd name="T16" fmla="*/ 2147483647 w 42"/>
                <a:gd name="T17" fmla="*/ 2147483647 h 41"/>
                <a:gd name="T18" fmla="*/ 2147483647 w 42"/>
                <a:gd name="T19" fmla="*/ 2147483647 h 41"/>
                <a:gd name="T20" fmla="*/ 2147483647 w 42"/>
                <a:gd name="T21" fmla="*/ 2147483647 h 41"/>
                <a:gd name="T22" fmla="*/ 2147483647 w 42"/>
                <a:gd name="T23" fmla="*/ 2147483647 h 41"/>
                <a:gd name="T24" fmla="*/ 2147483647 w 42"/>
                <a:gd name="T25" fmla="*/ 2147483647 h 41"/>
                <a:gd name="T26" fmla="*/ 0 w 42"/>
                <a:gd name="T27" fmla="*/ 2147483647 h 41"/>
                <a:gd name="T28" fmla="*/ 0 w 42"/>
                <a:gd name="T29" fmla="*/ 2147483647 h 41"/>
                <a:gd name="T30" fmla="*/ 2147483647 w 42"/>
                <a:gd name="T31" fmla="*/ 2147483647 h 41"/>
                <a:gd name="T32" fmla="*/ 2147483647 w 42"/>
                <a:gd name="T33" fmla="*/ 2147483647 h 41"/>
                <a:gd name="T34" fmla="*/ 2147483647 w 42"/>
                <a:gd name="T35" fmla="*/ 2147483647 h 41"/>
                <a:gd name="T36" fmla="*/ 2147483647 w 42"/>
                <a:gd name="T37" fmla="*/ 2147483647 h 41"/>
                <a:gd name="T38" fmla="*/ 2147483647 w 42"/>
                <a:gd name="T39" fmla="*/ 2147483647 h 41"/>
                <a:gd name="T40" fmla="*/ 2147483647 w 42"/>
                <a:gd name="T41" fmla="*/ 2147483647 h 41"/>
                <a:gd name="T42" fmla="*/ 2147483647 w 42"/>
                <a:gd name="T43" fmla="*/ 2147483647 h 41"/>
                <a:gd name="T44" fmla="*/ 2147483647 w 42"/>
                <a:gd name="T45" fmla="*/ 2147483647 h 41"/>
                <a:gd name="T46" fmla="*/ 2147483647 w 42"/>
                <a:gd name="T47" fmla="*/ 2147483647 h 41"/>
                <a:gd name="T48" fmla="*/ 2147483647 w 42"/>
                <a:gd name="T49" fmla="*/ 2147483647 h 41"/>
                <a:gd name="T50" fmla="*/ 2147483647 w 42"/>
                <a:gd name="T51" fmla="*/ 2147483647 h 41"/>
                <a:gd name="T52" fmla="*/ 2147483647 w 42"/>
                <a:gd name="T53" fmla="*/ 2147483647 h 41"/>
                <a:gd name="T54" fmla="*/ 2147483647 w 42"/>
                <a:gd name="T55" fmla="*/ 2147483647 h 41"/>
                <a:gd name="T56" fmla="*/ 2147483647 w 42"/>
                <a:gd name="T57" fmla="*/ 2147483647 h 41"/>
                <a:gd name="T58" fmla="*/ 2147483647 w 42"/>
                <a:gd name="T59" fmla="*/ 2147483647 h 41"/>
                <a:gd name="T60" fmla="*/ 2147483647 w 42"/>
                <a:gd name="T61" fmla="*/ 2147483647 h 41"/>
                <a:gd name="T62" fmla="*/ 2147483647 w 42"/>
                <a:gd name="T63" fmla="*/ 2147483647 h 41"/>
                <a:gd name="T64" fmla="*/ 2147483647 w 42"/>
                <a:gd name="T65" fmla="*/ 2147483647 h 41"/>
                <a:gd name="T66" fmla="*/ 2147483647 w 42"/>
                <a:gd name="T67" fmla="*/ 2147483647 h 41"/>
                <a:gd name="T68" fmla="*/ 2147483647 w 42"/>
                <a:gd name="T69" fmla="*/ 2147483647 h 41"/>
                <a:gd name="T70" fmla="*/ 2147483647 w 42"/>
                <a:gd name="T71" fmla="*/ 2147483647 h 41"/>
                <a:gd name="T72" fmla="*/ 2147483647 w 42"/>
                <a:gd name="T73" fmla="*/ 2147483647 h 41"/>
                <a:gd name="T74" fmla="*/ 2147483647 w 42"/>
                <a:gd name="T75" fmla="*/ 2147483647 h 41"/>
                <a:gd name="T76" fmla="*/ 2147483647 w 42"/>
                <a:gd name="T77" fmla="*/ 2147483647 h 41"/>
                <a:gd name="T78" fmla="*/ 2147483647 w 42"/>
                <a:gd name="T79" fmla="*/ 2147483647 h 41"/>
                <a:gd name="T80" fmla="*/ 2147483647 w 42"/>
                <a:gd name="T81" fmla="*/ 2147483647 h 41"/>
                <a:gd name="T82" fmla="*/ 2147483647 w 42"/>
                <a:gd name="T83" fmla="*/ 0 h 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"/>
                <a:gd name="T127" fmla="*/ 0 h 41"/>
                <a:gd name="T128" fmla="*/ 42 w 42"/>
                <a:gd name="T129" fmla="*/ 41 h 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" h="41">
                  <a:moveTo>
                    <a:pt x="31" y="0"/>
                  </a:moveTo>
                  <a:lnTo>
                    <a:pt x="33" y="4"/>
                  </a:lnTo>
                  <a:lnTo>
                    <a:pt x="31" y="8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8" y="12"/>
                  </a:lnTo>
                  <a:lnTo>
                    <a:pt x="13" y="9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25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8" y="21"/>
                  </a:lnTo>
                  <a:lnTo>
                    <a:pt x="21" y="24"/>
                  </a:lnTo>
                  <a:lnTo>
                    <a:pt x="19" y="29"/>
                  </a:lnTo>
                  <a:lnTo>
                    <a:pt x="19" y="32"/>
                  </a:lnTo>
                  <a:lnTo>
                    <a:pt x="26" y="39"/>
                  </a:lnTo>
                  <a:lnTo>
                    <a:pt x="28" y="37"/>
                  </a:lnTo>
                  <a:lnTo>
                    <a:pt x="30" y="36"/>
                  </a:lnTo>
                  <a:lnTo>
                    <a:pt x="30" y="39"/>
                  </a:lnTo>
                  <a:lnTo>
                    <a:pt x="32" y="41"/>
                  </a:lnTo>
                  <a:lnTo>
                    <a:pt x="33" y="40"/>
                  </a:lnTo>
                  <a:lnTo>
                    <a:pt x="33" y="33"/>
                  </a:lnTo>
                  <a:lnTo>
                    <a:pt x="31" y="31"/>
                  </a:lnTo>
                  <a:lnTo>
                    <a:pt x="32" y="27"/>
                  </a:lnTo>
                  <a:lnTo>
                    <a:pt x="34" y="26"/>
                  </a:lnTo>
                  <a:lnTo>
                    <a:pt x="38" y="30"/>
                  </a:lnTo>
                  <a:lnTo>
                    <a:pt x="41" y="26"/>
                  </a:lnTo>
                  <a:lnTo>
                    <a:pt x="42" y="20"/>
                  </a:lnTo>
                  <a:lnTo>
                    <a:pt x="39" y="16"/>
                  </a:lnTo>
                  <a:lnTo>
                    <a:pt x="39" y="11"/>
                  </a:lnTo>
                  <a:lnTo>
                    <a:pt x="38" y="4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8" name="Freeform 605"/>
            <p:cNvSpPr>
              <a:spLocks/>
            </p:cNvSpPr>
            <p:nvPr/>
          </p:nvSpPr>
          <p:spPr bwMode="gray">
            <a:xfrm>
              <a:off x="4244" y="2736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4"/>
                  </a:moveTo>
                  <a:lnTo>
                    <a:pt x="2" y="5"/>
                  </a:lnTo>
                  <a:lnTo>
                    <a:pt x="4" y="4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09" name="Freeform 606"/>
            <p:cNvSpPr>
              <a:spLocks/>
            </p:cNvSpPr>
            <p:nvPr/>
          </p:nvSpPr>
          <p:spPr bwMode="gray">
            <a:xfrm>
              <a:off x="4271" y="2855"/>
              <a:ext cx="16" cy="25"/>
            </a:xfrm>
            <a:custGeom>
              <a:avLst/>
              <a:gdLst>
                <a:gd name="T0" fmla="*/ 0 w 12"/>
                <a:gd name="T1" fmla="*/ 2147483647 h 19"/>
                <a:gd name="T2" fmla="*/ 2147483647 w 12"/>
                <a:gd name="T3" fmla="*/ 2147483647 h 19"/>
                <a:gd name="T4" fmla="*/ 2147483647 w 12"/>
                <a:gd name="T5" fmla="*/ 2147483647 h 19"/>
                <a:gd name="T6" fmla="*/ 2147483647 w 12"/>
                <a:gd name="T7" fmla="*/ 2147483647 h 19"/>
                <a:gd name="T8" fmla="*/ 2147483647 w 12"/>
                <a:gd name="T9" fmla="*/ 2147483647 h 19"/>
                <a:gd name="T10" fmla="*/ 2147483647 w 12"/>
                <a:gd name="T11" fmla="*/ 2147483647 h 19"/>
                <a:gd name="T12" fmla="*/ 2147483647 w 12"/>
                <a:gd name="T13" fmla="*/ 2147483647 h 19"/>
                <a:gd name="T14" fmla="*/ 2147483647 w 12"/>
                <a:gd name="T15" fmla="*/ 2147483647 h 19"/>
                <a:gd name="T16" fmla="*/ 2147483647 w 12"/>
                <a:gd name="T17" fmla="*/ 2147483647 h 19"/>
                <a:gd name="T18" fmla="*/ 2147483647 w 12"/>
                <a:gd name="T19" fmla="*/ 2147483647 h 19"/>
                <a:gd name="T20" fmla="*/ 2147483647 w 12"/>
                <a:gd name="T21" fmla="*/ 2147483647 h 19"/>
                <a:gd name="T22" fmla="*/ 2147483647 w 12"/>
                <a:gd name="T23" fmla="*/ 0 h 19"/>
                <a:gd name="T24" fmla="*/ 2147483647 w 12"/>
                <a:gd name="T25" fmla="*/ 0 h 19"/>
                <a:gd name="T26" fmla="*/ 0 w 12"/>
                <a:gd name="T27" fmla="*/ 2147483647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9"/>
                <a:gd name="T44" fmla="*/ 12 w 12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9">
                  <a:moveTo>
                    <a:pt x="0" y="8"/>
                  </a:moveTo>
                  <a:lnTo>
                    <a:pt x="1" y="14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4" y="14"/>
                  </a:lnTo>
                  <a:lnTo>
                    <a:pt x="3" y="10"/>
                  </a:lnTo>
                  <a:lnTo>
                    <a:pt x="11" y="10"/>
                  </a:lnTo>
                  <a:lnTo>
                    <a:pt x="9" y="6"/>
                  </a:lnTo>
                  <a:lnTo>
                    <a:pt x="6" y="6"/>
                  </a:lnTo>
                  <a:lnTo>
                    <a:pt x="7" y="4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0" name="Freeform 607"/>
            <p:cNvSpPr>
              <a:spLocks/>
            </p:cNvSpPr>
            <p:nvPr/>
          </p:nvSpPr>
          <p:spPr bwMode="gray">
            <a:xfrm>
              <a:off x="4270" y="2850"/>
              <a:ext cx="4" cy="11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2147483647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8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1" name="Freeform 608"/>
            <p:cNvSpPr>
              <a:spLocks/>
            </p:cNvSpPr>
            <p:nvPr/>
          </p:nvSpPr>
          <p:spPr bwMode="gray">
            <a:xfrm>
              <a:off x="4279" y="2841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0 h 5"/>
                <a:gd name="T8" fmla="*/ 0 w 4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3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2" name="Freeform 609"/>
            <p:cNvSpPr>
              <a:spLocks/>
            </p:cNvSpPr>
            <p:nvPr/>
          </p:nvSpPr>
          <p:spPr bwMode="gray">
            <a:xfrm>
              <a:off x="4258" y="2812"/>
              <a:ext cx="5" cy="9"/>
            </a:xfrm>
            <a:custGeom>
              <a:avLst/>
              <a:gdLst>
                <a:gd name="T0" fmla="*/ 0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3" name="Freeform 610"/>
            <p:cNvSpPr>
              <a:spLocks/>
            </p:cNvSpPr>
            <p:nvPr/>
          </p:nvSpPr>
          <p:spPr bwMode="gray">
            <a:xfrm>
              <a:off x="4268" y="2876"/>
              <a:ext cx="6" cy="9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0 h 6"/>
                <a:gd name="T12" fmla="*/ 0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2"/>
                  </a:moveTo>
                  <a:lnTo>
                    <a:pt x="1" y="4"/>
                  </a:lnTo>
                  <a:lnTo>
                    <a:pt x="4" y="6"/>
                  </a:lnTo>
                  <a:lnTo>
                    <a:pt x="5" y="4"/>
                  </a:lnTo>
                  <a:lnTo>
                    <a:pt x="4" y="3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4" name="Freeform 611"/>
            <p:cNvSpPr>
              <a:spLocks/>
            </p:cNvSpPr>
            <p:nvPr/>
          </p:nvSpPr>
          <p:spPr bwMode="gray">
            <a:xfrm>
              <a:off x="4254" y="2911"/>
              <a:ext cx="14" cy="10"/>
            </a:xfrm>
            <a:custGeom>
              <a:avLst/>
              <a:gdLst>
                <a:gd name="T0" fmla="*/ 2147483647 w 10"/>
                <a:gd name="T1" fmla="*/ 0 h 7"/>
                <a:gd name="T2" fmla="*/ 0 w 10"/>
                <a:gd name="T3" fmla="*/ 2147483647 h 7"/>
                <a:gd name="T4" fmla="*/ 2147483647 w 10"/>
                <a:gd name="T5" fmla="*/ 2147483647 h 7"/>
                <a:gd name="T6" fmla="*/ 2147483647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0 h 7"/>
                <a:gd name="T12" fmla="*/ 2147483647 w 10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7"/>
                <a:gd name="T23" fmla="*/ 10 w 10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7">
                  <a:moveTo>
                    <a:pt x="2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8" y="7"/>
                  </a:lnTo>
                  <a:lnTo>
                    <a:pt x="10" y="3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5" name="Freeform 612"/>
            <p:cNvSpPr>
              <a:spLocks/>
            </p:cNvSpPr>
            <p:nvPr/>
          </p:nvSpPr>
          <p:spPr bwMode="gray">
            <a:xfrm>
              <a:off x="4275" y="2911"/>
              <a:ext cx="38" cy="15"/>
            </a:xfrm>
            <a:custGeom>
              <a:avLst/>
              <a:gdLst>
                <a:gd name="T0" fmla="*/ 2147483647 w 29"/>
                <a:gd name="T1" fmla="*/ 2147483647 h 12"/>
                <a:gd name="T2" fmla="*/ 2147483647 w 29"/>
                <a:gd name="T3" fmla="*/ 2147483647 h 12"/>
                <a:gd name="T4" fmla="*/ 2147483647 w 29"/>
                <a:gd name="T5" fmla="*/ 2147483647 h 12"/>
                <a:gd name="T6" fmla="*/ 2147483647 w 29"/>
                <a:gd name="T7" fmla="*/ 2147483647 h 12"/>
                <a:gd name="T8" fmla="*/ 2147483647 w 29"/>
                <a:gd name="T9" fmla="*/ 2147483647 h 12"/>
                <a:gd name="T10" fmla="*/ 2147483647 w 29"/>
                <a:gd name="T11" fmla="*/ 0 h 12"/>
                <a:gd name="T12" fmla="*/ 2147483647 w 29"/>
                <a:gd name="T13" fmla="*/ 0 h 12"/>
                <a:gd name="T14" fmla="*/ 0 w 29"/>
                <a:gd name="T15" fmla="*/ 2147483647 h 12"/>
                <a:gd name="T16" fmla="*/ 2147483647 w 29"/>
                <a:gd name="T17" fmla="*/ 2147483647 h 12"/>
                <a:gd name="T18" fmla="*/ 2147483647 w 29"/>
                <a:gd name="T19" fmla="*/ 2147483647 h 12"/>
                <a:gd name="T20" fmla="*/ 2147483647 w 29"/>
                <a:gd name="T21" fmla="*/ 2147483647 h 12"/>
                <a:gd name="T22" fmla="*/ 2147483647 w 29"/>
                <a:gd name="T23" fmla="*/ 2147483647 h 12"/>
                <a:gd name="T24" fmla="*/ 2147483647 w 29"/>
                <a:gd name="T25" fmla="*/ 2147483647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2"/>
                <a:gd name="T41" fmla="*/ 29 w 2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2">
                  <a:moveTo>
                    <a:pt x="27" y="12"/>
                  </a:moveTo>
                  <a:lnTo>
                    <a:pt x="29" y="11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6" y="5"/>
                  </a:lnTo>
                  <a:lnTo>
                    <a:pt x="12" y="4"/>
                  </a:lnTo>
                  <a:lnTo>
                    <a:pt x="19" y="5"/>
                  </a:lnTo>
                  <a:lnTo>
                    <a:pt x="27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6" name="Freeform 613"/>
            <p:cNvSpPr>
              <a:spLocks/>
            </p:cNvSpPr>
            <p:nvPr/>
          </p:nvSpPr>
          <p:spPr bwMode="gray">
            <a:xfrm>
              <a:off x="4231" y="2893"/>
              <a:ext cx="20" cy="7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0 h 5"/>
                <a:gd name="T4" fmla="*/ 0 w 15"/>
                <a:gd name="T5" fmla="*/ 2147483647 h 5"/>
                <a:gd name="T6" fmla="*/ 0 w 15"/>
                <a:gd name="T7" fmla="*/ 2147483647 h 5"/>
                <a:gd name="T8" fmla="*/ 2147483647 w 15"/>
                <a:gd name="T9" fmla="*/ 2147483647 h 5"/>
                <a:gd name="T10" fmla="*/ 2147483647 w 15"/>
                <a:gd name="T11" fmla="*/ 2147483647 h 5"/>
                <a:gd name="T12" fmla="*/ 2147483647 w 15"/>
                <a:gd name="T13" fmla="*/ 2147483647 h 5"/>
                <a:gd name="T14" fmla="*/ 2147483647 w 15"/>
                <a:gd name="T15" fmla="*/ 2147483647 h 5"/>
                <a:gd name="T16" fmla="*/ 2147483647 w 15"/>
                <a:gd name="T17" fmla="*/ 2147483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"/>
                <a:gd name="T29" fmla="*/ 15 w 1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">
                  <a:moveTo>
                    <a:pt x="6" y="2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9" y="3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7" name="Freeform 614"/>
            <p:cNvSpPr>
              <a:spLocks/>
            </p:cNvSpPr>
            <p:nvPr/>
          </p:nvSpPr>
          <p:spPr bwMode="gray">
            <a:xfrm>
              <a:off x="4209" y="2932"/>
              <a:ext cx="9" cy="17"/>
            </a:xfrm>
            <a:custGeom>
              <a:avLst/>
              <a:gdLst>
                <a:gd name="T0" fmla="*/ 0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2147483647 w 7"/>
                <a:gd name="T7" fmla="*/ 2147483647 h 13"/>
                <a:gd name="T8" fmla="*/ 2147483647 w 7"/>
                <a:gd name="T9" fmla="*/ 0 h 13"/>
                <a:gd name="T10" fmla="*/ 2147483647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0 w 7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3"/>
                <a:gd name="T29" fmla="*/ 7 w 7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3">
                  <a:moveTo>
                    <a:pt x="0" y="12"/>
                  </a:moveTo>
                  <a:lnTo>
                    <a:pt x="2" y="13"/>
                  </a:lnTo>
                  <a:lnTo>
                    <a:pt x="5" y="9"/>
                  </a:lnTo>
                  <a:lnTo>
                    <a:pt x="7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8" name="Freeform 615"/>
            <p:cNvSpPr>
              <a:spLocks/>
            </p:cNvSpPr>
            <p:nvPr/>
          </p:nvSpPr>
          <p:spPr bwMode="gray">
            <a:xfrm>
              <a:off x="4205" y="2938"/>
              <a:ext cx="6" cy="5"/>
            </a:xfrm>
            <a:custGeom>
              <a:avLst/>
              <a:gdLst>
                <a:gd name="T0" fmla="*/ 2147483647 w 5"/>
                <a:gd name="T1" fmla="*/ 0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2147483647 w 5"/>
                <a:gd name="T9" fmla="*/ 2147483647 h 4"/>
                <a:gd name="T10" fmla="*/ 2147483647 w 5"/>
                <a:gd name="T11" fmla="*/ 0 h 4"/>
                <a:gd name="T12" fmla="*/ 2147483647 w 5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19" name="Freeform 616"/>
            <p:cNvSpPr>
              <a:spLocks/>
            </p:cNvSpPr>
            <p:nvPr/>
          </p:nvSpPr>
          <p:spPr bwMode="gray">
            <a:xfrm>
              <a:off x="4329" y="2947"/>
              <a:ext cx="8" cy="7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2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0" name="Freeform 617"/>
            <p:cNvSpPr>
              <a:spLocks/>
            </p:cNvSpPr>
            <p:nvPr/>
          </p:nvSpPr>
          <p:spPr bwMode="gray">
            <a:xfrm>
              <a:off x="4313" y="2969"/>
              <a:ext cx="7" cy="11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0 w 5"/>
                <a:gd name="T5" fmla="*/ 2147483647 h 9"/>
                <a:gd name="T6" fmla="*/ 0 w 5"/>
                <a:gd name="T7" fmla="*/ 2147483647 h 9"/>
                <a:gd name="T8" fmla="*/ 2147483647 w 5"/>
                <a:gd name="T9" fmla="*/ 2147483647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3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7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1" name="Freeform 618"/>
            <p:cNvSpPr>
              <a:spLocks/>
            </p:cNvSpPr>
            <p:nvPr/>
          </p:nvSpPr>
          <p:spPr bwMode="gray">
            <a:xfrm>
              <a:off x="4295" y="2977"/>
              <a:ext cx="5" cy="5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0 h 4"/>
                <a:gd name="T6" fmla="*/ 0 w 4"/>
                <a:gd name="T7" fmla="*/ 0 h 4"/>
                <a:gd name="T8" fmla="*/ 0 w 4"/>
                <a:gd name="T9" fmla="*/ 2147483647 h 4"/>
                <a:gd name="T10" fmla="*/ 2147483647 w 4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2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2" name="Freeform 619"/>
            <p:cNvSpPr>
              <a:spLocks/>
            </p:cNvSpPr>
            <p:nvPr/>
          </p:nvSpPr>
          <p:spPr bwMode="gray">
            <a:xfrm>
              <a:off x="4349" y="295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1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3" name="Freeform 620"/>
            <p:cNvSpPr>
              <a:spLocks/>
            </p:cNvSpPr>
            <p:nvPr/>
          </p:nvSpPr>
          <p:spPr bwMode="gray">
            <a:xfrm>
              <a:off x="4353" y="2947"/>
              <a:ext cx="5" cy="7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0 h 6"/>
                <a:gd name="T4" fmla="*/ 0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4" name="Freeform 621"/>
            <p:cNvSpPr>
              <a:spLocks/>
            </p:cNvSpPr>
            <p:nvPr/>
          </p:nvSpPr>
          <p:spPr bwMode="gray">
            <a:xfrm>
              <a:off x="4269" y="2890"/>
              <a:ext cx="8" cy="5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2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5" y="3"/>
                  </a:lnTo>
                  <a:lnTo>
                    <a:pt x="6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5" name="Freeform 622"/>
            <p:cNvSpPr>
              <a:spLocks/>
            </p:cNvSpPr>
            <p:nvPr/>
          </p:nvSpPr>
          <p:spPr bwMode="gray">
            <a:xfrm>
              <a:off x="4299" y="2892"/>
              <a:ext cx="7" cy="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6" name="Freeform 623"/>
            <p:cNvSpPr>
              <a:spLocks/>
            </p:cNvSpPr>
            <p:nvPr/>
          </p:nvSpPr>
          <p:spPr bwMode="gray">
            <a:xfrm>
              <a:off x="4363" y="2880"/>
              <a:ext cx="16" cy="1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8"/>
                <a:gd name="T17" fmla="*/ 12 w 1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8">
                  <a:moveTo>
                    <a:pt x="12" y="6"/>
                  </a:moveTo>
                  <a:lnTo>
                    <a:pt x="6" y="1"/>
                  </a:lnTo>
                  <a:lnTo>
                    <a:pt x="0" y="0"/>
                  </a:lnTo>
                  <a:lnTo>
                    <a:pt x="8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7" name="Freeform 624"/>
            <p:cNvSpPr>
              <a:spLocks/>
            </p:cNvSpPr>
            <p:nvPr/>
          </p:nvSpPr>
          <p:spPr bwMode="gray">
            <a:xfrm>
              <a:off x="5030" y="2548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2147483647 h 3"/>
                <a:gd name="T4" fmla="*/ 2147483647 w 4"/>
                <a:gd name="T5" fmla="*/ 2147483647 h 3"/>
                <a:gd name="T6" fmla="*/ 2147483647 w 4"/>
                <a:gd name="T7" fmla="*/ 0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2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8" name="Freeform 625"/>
            <p:cNvSpPr>
              <a:spLocks/>
            </p:cNvSpPr>
            <p:nvPr/>
          </p:nvSpPr>
          <p:spPr bwMode="gray">
            <a:xfrm>
              <a:off x="3420" y="1288"/>
              <a:ext cx="15" cy="7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0 h 6"/>
                <a:gd name="T12" fmla="*/ 2147483647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11" y="0"/>
                  </a:moveTo>
                  <a:lnTo>
                    <a:pt x="12" y="4"/>
                  </a:lnTo>
                  <a:lnTo>
                    <a:pt x="7" y="6"/>
                  </a:ln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29" name="Freeform 626"/>
            <p:cNvSpPr>
              <a:spLocks/>
            </p:cNvSpPr>
            <p:nvPr/>
          </p:nvSpPr>
          <p:spPr bwMode="gray">
            <a:xfrm>
              <a:off x="3408" y="1301"/>
              <a:ext cx="18" cy="5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2147483647 h 4"/>
                <a:gd name="T4" fmla="*/ 2147483647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7" y="0"/>
                  </a:moveTo>
                  <a:lnTo>
                    <a:pt x="14" y="3"/>
                  </a:lnTo>
                  <a:lnTo>
                    <a:pt x="8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0" name="Freeform 627"/>
            <p:cNvSpPr>
              <a:spLocks/>
            </p:cNvSpPr>
            <p:nvPr/>
          </p:nvSpPr>
          <p:spPr bwMode="gray">
            <a:xfrm>
              <a:off x="3392" y="1307"/>
              <a:ext cx="27" cy="5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2147483647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0 w 20"/>
                <a:gd name="T13" fmla="*/ 2147483647 h 4"/>
                <a:gd name="T14" fmla="*/ 2147483647 w 20"/>
                <a:gd name="T15" fmla="*/ 2147483647 h 4"/>
                <a:gd name="T16" fmla="*/ 2147483647 w 20"/>
                <a:gd name="T17" fmla="*/ 2147483647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10" y="0"/>
                  </a:moveTo>
                  <a:lnTo>
                    <a:pt x="14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1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1" name="Freeform 628"/>
            <p:cNvSpPr>
              <a:spLocks/>
            </p:cNvSpPr>
            <p:nvPr/>
          </p:nvSpPr>
          <p:spPr bwMode="gray">
            <a:xfrm>
              <a:off x="3400" y="1319"/>
              <a:ext cx="23" cy="8"/>
            </a:xfrm>
            <a:custGeom>
              <a:avLst/>
              <a:gdLst>
                <a:gd name="T0" fmla="*/ 0 w 17"/>
                <a:gd name="T1" fmla="*/ 0 h 6"/>
                <a:gd name="T2" fmla="*/ 2147483647 w 17"/>
                <a:gd name="T3" fmla="*/ 0 h 6"/>
                <a:gd name="T4" fmla="*/ 2147483647 w 17"/>
                <a:gd name="T5" fmla="*/ 2147483647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6"/>
                <a:gd name="T26" fmla="*/ 17 w 1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6">
                  <a:moveTo>
                    <a:pt x="0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2" y="5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2" name="Freeform 629"/>
            <p:cNvSpPr>
              <a:spLocks/>
            </p:cNvSpPr>
            <p:nvPr/>
          </p:nvSpPr>
          <p:spPr bwMode="gray">
            <a:xfrm>
              <a:off x="3382" y="1318"/>
              <a:ext cx="38" cy="14"/>
            </a:xfrm>
            <a:custGeom>
              <a:avLst/>
              <a:gdLst>
                <a:gd name="T0" fmla="*/ 2147483647 w 29"/>
                <a:gd name="T1" fmla="*/ 0 h 11"/>
                <a:gd name="T2" fmla="*/ 2147483647 w 29"/>
                <a:gd name="T3" fmla="*/ 2147483647 h 11"/>
                <a:gd name="T4" fmla="*/ 2147483647 w 29"/>
                <a:gd name="T5" fmla="*/ 2147483647 h 11"/>
                <a:gd name="T6" fmla="*/ 2147483647 w 29"/>
                <a:gd name="T7" fmla="*/ 2147483647 h 11"/>
                <a:gd name="T8" fmla="*/ 2147483647 w 29"/>
                <a:gd name="T9" fmla="*/ 2147483647 h 11"/>
                <a:gd name="T10" fmla="*/ 2147483647 w 29"/>
                <a:gd name="T11" fmla="*/ 2147483647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2147483647 w 29"/>
                <a:gd name="T19" fmla="*/ 2147483647 h 11"/>
                <a:gd name="T20" fmla="*/ 2147483647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0 w 29"/>
                <a:gd name="T27" fmla="*/ 2147483647 h 11"/>
                <a:gd name="T28" fmla="*/ 2147483647 w 29"/>
                <a:gd name="T29" fmla="*/ 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1"/>
                <a:gd name="T47" fmla="*/ 29 w 29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1">
                  <a:moveTo>
                    <a:pt x="3" y="0"/>
                  </a:moveTo>
                  <a:lnTo>
                    <a:pt x="9" y="2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24" y="6"/>
                  </a:lnTo>
                  <a:lnTo>
                    <a:pt x="29" y="8"/>
                  </a:lnTo>
                  <a:lnTo>
                    <a:pt x="28" y="10"/>
                  </a:lnTo>
                  <a:lnTo>
                    <a:pt x="23" y="11"/>
                  </a:lnTo>
                  <a:lnTo>
                    <a:pt x="19" y="8"/>
                  </a:lnTo>
                  <a:lnTo>
                    <a:pt x="13" y="8"/>
                  </a:lnTo>
                  <a:lnTo>
                    <a:pt x="8" y="6"/>
                  </a:lnTo>
                  <a:lnTo>
                    <a:pt x="7" y="5"/>
                  </a:lnTo>
                  <a:lnTo>
                    <a:pt x="1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3" name="Freeform 630"/>
            <p:cNvSpPr>
              <a:spLocks/>
            </p:cNvSpPr>
            <p:nvPr/>
          </p:nvSpPr>
          <p:spPr bwMode="gray">
            <a:xfrm>
              <a:off x="3374" y="1310"/>
              <a:ext cx="7" cy="2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6 h 2"/>
                <a:gd name="T6" fmla="*/ 2147483647 w 5"/>
                <a:gd name="T7" fmla="*/ 2147483646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4" name="Freeform 631"/>
            <p:cNvSpPr>
              <a:spLocks/>
            </p:cNvSpPr>
            <p:nvPr/>
          </p:nvSpPr>
          <p:spPr bwMode="gray">
            <a:xfrm>
              <a:off x="3411" y="1314"/>
              <a:ext cx="12" cy="2"/>
            </a:xfrm>
            <a:custGeom>
              <a:avLst/>
              <a:gdLst>
                <a:gd name="T0" fmla="*/ 0 w 9"/>
                <a:gd name="T1" fmla="*/ 2147483646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2147483647 w 9"/>
                <a:gd name="T9" fmla="*/ 2147483646 h 2"/>
                <a:gd name="T10" fmla="*/ 0 w 9"/>
                <a:gd name="T11" fmla="*/ 2147483646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1"/>
                  </a:moveTo>
                  <a:lnTo>
                    <a:pt x="4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4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5" name="Freeform 632"/>
            <p:cNvSpPr>
              <a:spLocks/>
            </p:cNvSpPr>
            <p:nvPr/>
          </p:nvSpPr>
          <p:spPr bwMode="gray">
            <a:xfrm>
              <a:off x="3423" y="1319"/>
              <a:ext cx="7" cy="4"/>
            </a:xfrm>
            <a:custGeom>
              <a:avLst/>
              <a:gdLst>
                <a:gd name="T0" fmla="*/ 0 w 6"/>
                <a:gd name="T1" fmla="*/ 2147483647 h 3"/>
                <a:gd name="T2" fmla="*/ 0 w 6"/>
                <a:gd name="T3" fmla="*/ 0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6" name="Freeform 633"/>
            <p:cNvSpPr>
              <a:spLocks/>
            </p:cNvSpPr>
            <p:nvPr/>
          </p:nvSpPr>
          <p:spPr bwMode="gray">
            <a:xfrm>
              <a:off x="3426" y="1324"/>
              <a:ext cx="8" cy="6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0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0" y="2"/>
                  </a:moveTo>
                  <a:lnTo>
                    <a:pt x="3" y="0"/>
                  </a:lnTo>
                  <a:lnTo>
                    <a:pt x="6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7" name="Freeform 634"/>
            <p:cNvSpPr>
              <a:spLocks/>
            </p:cNvSpPr>
            <p:nvPr/>
          </p:nvSpPr>
          <p:spPr bwMode="gray">
            <a:xfrm>
              <a:off x="3414" y="1335"/>
              <a:ext cx="12" cy="2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6 h 2"/>
                <a:gd name="T8" fmla="*/ 0 w 9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0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8" name="Freeform 635"/>
            <p:cNvSpPr>
              <a:spLocks/>
            </p:cNvSpPr>
            <p:nvPr/>
          </p:nvSpPr>
          <p:spPr bwMode="gray">
            <a:xfrm>
              <a:off x="3376" y="1324"/>
              <a:ext cx="16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2147483647 h 5"/>
                <a:gd name="T6" fmla="*/ 2147483647 w 11"/>
                <a:gd name="T7" fmla="*/ 2147483647 h 5"/>
                <a:gd name="T8" fmla="*/ 0 w 11"/>
                <a:gd name="T9" fmla="*/ 2147483647 h 5"/>
                <a:gd name="T10" fmla="*/ 0 w 11"/>
                <a:gd name="T11" fmla="*/ 0 h 5"/>
                <a:gd name="T12" fmla="*/ 2147483647 w 11"/>
                <a:gd name="T13" fmla="*/ 0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9" y="1"/>
                  </a:moveTo>
                  <a:lnTo>
                    <a:pt x="11" y="3"/>
                  </a:lnTo>
                  <a:lnTo>
                    <a:pt x="10" y="4"/>
                  </a:lnTo>
                  <a:lnTo>
                    <a:pt x="5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39" name="Freeform 636"/>
            <p:cNvSpPr>
              <a:spLocks/>
            </p:cNvSpPr>
            <p:nvPr/>
          </p:nvSpPr>
          <p:spPr bwMode="gray">
            <a:xfrm>
              <a:off x="3392" y="1331"/>
              <a:ext cx="15" cy="4"/>
            </a:xfrm>
            <a:custGeom>
              <a:avLst/>
              <a:gdLst>
                <a:gd name="T0" fmla="*/ 0 w 11"/>
                <a:gd name="T1" fmla="*/ 2147483647 h 3"/>
                <a:gd name="T2" fmla="*/ 2147483647 w 11"/>
                <a:gd name="T3" fmla="*/ 0 h 3"/>
                <a:gd name="T4" fmla="*/ 2147483647 w 11"/>
                <a:gd name="T5" fmla="*/ 0 h 3"/>
                <a:gd name="T6" fmla="*/ 2147483647 w 11"/>
                <a:gd name="T7" fmla="*/ 2147483647 h 3"/>
                <a:gd name="T8" fmla="*/ 2147483647 w 11"/>
                <a:gd name="T9" fmla="*/ 2147483647 h 3"/>
                <a:gd name="T10" fmla="*/ 0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0" y="2"/>
                  </a:moveTo>
                  <a:lnTo>
                    <a:pt x="4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7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0" name="Freeform 637"/>
            <p:cNvSpPr>
              <a:spLocks/>
            </p:cNvSpPr>
            <p:nvPr/>
          </p:nvSpPr>
          <p:spPr bwMode="gray">
            <a:xfrm>
              <a:off x="3397" y="1342"/>
              <a:ext cx="11" cy="10"/>
            </a:xfrm>
            <a:custGeom>
              <a:avLst/>
              <a:gdLst>
                <a:gd name="T0" fmla="*/ 2147483647 w 8"/>
                <a:gd name="T1" fmla="*/ 0 h 7"/>
                <a:gd name="T2" fmla="*/ 2147483647 w 8"/>
                <a:gd name="T3" fmla="*/ 2147483647 h 7"/>
                <a:gd name="T4" fmla="*/ 2147483647 w 8"/>
                <a:gd name="T5" fmla="*/ 2147483647 h 7"/>
                <a:gd name="T6" fmla="*/ 2147483647 w 8"/>
                <a:gd name="T7" fmla="*/ 2147483647 h 7"/>
                <a:gd name="T8" fmla="*/ 0 w 8"/>
                <a:gd name="T9" fmla="*/ 2147483647 h 7"/>
                <a:gd name="T10" fmla="*/ 2147483647 w 8"/>
                <a:gd name="T11" fmla="*/ 2147483647 h 7"/>
                <a:gd name="T12" fmla="*/ 2147483647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1" name="Freeform 638"/>
            <p:cNvSpPr>
              <a:spLocks/>
            </p:cNvSpPr>
            <p:nvPr/>
          </p:nvSpPr>
          <p:spPr bwMode="gray">
            <a:xfrm>
              <a:off x="3421" y="1358"/>
              <a:ext cx="11" cy="1"/>
            </a:xfrm>
            <a:custGeom>
              <a:avLst/>
              <a:gdLst>
                <a:gd name="T0" fmla="*/ 0 w 8"/>
                <a:gd name="T1" fmla="*/ 2147483646 h 1"/>
                <a:gd name="T2" fmla="*/ 2147483647 w 8"/>
                <a:gd name="T3" fmla="*/ 0 h 1"/>
                <a:gd name="T4" fmla="*/ 2147483647 w 8"/>
                <a:gd name="T5" fmla="*/ 0 h 1"/>
                <a:gd name="T6" fmla="*/ 2147483647 w 8"/>
                <a:gd name="T7" fmla="*/ 2147483646 h 1"/>
                <a:gd name="T8" fmla="*/ 2147483647 w 8"/>
                <a:gd name="T9" fmla="*/ 2147483646 h 1"/>
                <a:gd name="T10" fmla="*/ 0 w 8"/>
                <a:gd name="T11" fmla="*/ 2147483646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"/>
                <a:gd name="T20" fmla="*/ 8 w 8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2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2" name="Freeform 639"/>
            <p:cNvSpPr>
              <a:spLocks/>
            </p:cNvSpPr>
            <p:nvPr/>
          </p:nvSpPr>
          <p:spPr bwMode="gray">
            <a:xfrm>
              <a:off x="3354" y="1342"/>
              <a:ext cx="15" cy="7"/>
            </a:xfrm>
            <a:custGeom>
              <a:avLst/>
              <a:gdLst>
                <a:gd name="T0" fmla="*/ 2147483647 w 12"/>
                <a:gd name="T1" fmla="*/ 0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0 w 12"/>
                <a:gd name="T11" fmla="*/ 2147483647 h 5"/>
                <a:gd name="T12" fmla="*/ 2147483647 w 12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8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5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3" name="Freeform 640"/>
            <p:cNvSpPr>
              <a:spLocks/>
            </p:cNvSpPr>
            <p:nvPr/>
          </p:nvSpPr>
          <p:spPr bwMode="gray">
            <a:xfrm>
              <a:off x="3373" y="1335"/>
              <a:ext cx="5" cy="3"/>
            </a:xfrm>
            <a:custGeom>
              <a:avLst/>
              <a:gdLst>
                <a:gd name="T0" fmla="*/ 2147483647 w 4"/>
                <a:gd name="T1" fmla="*/ 0 h 3"/>
                <a:gd name="T2" fmla="*/ 0 w 4"/>
                <a:gd name="T3" fmla="*/ 0 h 3"/>
                <a:gd name="T4" fmla="*/ 0 w 4"/>
                <a:gd name="T5" fmla="*/ 2147483646 h 3"/>
                <a:gd name="T6" fmla="*/ 2147483647 w 4"/>
                <a:gd name="T7" fmla="*/ 2147483646 h 3"/>
                <a:gd name="T8" fmla="*/ 2147483647 w 4"/>
                <a:gd name="T9" fmla="*/ 2147483646 h 3"/>
                <a:gd name="T10" fmla="*/ 2147483647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4" name="Freeform 641"/>
            <p:cNvSpPr>
              <a:spLocks/>
            </p:cNvSpPr>
            <p:nvPr/>
          </p:nvSpPr>
          <p:spPr bwMode="gray">
            <a:xfrm>
              <a:off x="3381" y="1337"/>
              <a:ext cx="9" cy="4"/>
            </a:xfrm>
            <a:custGeom>
              <a:avLst/>
              <a:gdLst>
                <a:gd name="T0" fmla="*/ 2147483647 w 7"/>
                <a:gd name="T1" fmla="*/ 0 h 3"/>
                <a:gd name="T2" fmla="*/ 2147483647 w 7"/>
                <a:gd name="T3" fmla="*/ 2147483647 h 3"/>
                <a:gd name="T4" fmla="*/ 0 w 7"/>
                <a:gd name="T5" fmla="*/ 2147483647 h 3"/>
                <a:gd name="T6" fmla="*/ 0 w 7"/>
                <a:gd name="T7" fmla="*/ 2147483647 h 3"/>
                <a:gd name="T8" fmla="*/ 2147483647 w 7"/>
                <a:gd name="T9" fmla="*/ 2147483647 h 3"/>
                <a:gd name="T10" fmla="*/ 2147483647 w 7"/>
                <a:gd name="T11" fmla="*/ 2147483647 h 3"/>
                <a:gd name="T12" fmla="*/ 2147483647 w 7"/>
                <a:gd name="T13" fmla="*/ 0 h 3"/>
                <a:gd name="T14" fmla="*/ 2147483647 w 7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3"/>
                <a:gd name="T26" fmla="*/ 7 w 7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3">
                  <a:moveTo>
                    <a:pt x="2" y="0"/>
                  </a:moveTo>
                  <a:lnTo>
                    <a:pt x="3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5" name="Freeform 642"/>
            <p:cNvSpPr>
              <a:spLocks/>
            </p:cNvSpPr>
            <p:nvPr/>
          </p:nvSpPr>
          <p:spPr bwMode="gray">
            <a:xfrm>
              <a:off x="3386" y="1342"/>
              <a:ext cx="8" cy="5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2147483647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6" name="Freeform 643"/>
            <p:cNvSpPr>
              <a:spLocks/>
            </p:cNvSpPr>
            <p:nvPr/>
          </p:nvSpPr>
          <p:spPr bwMode="gray">
            <a:xfrm>
              <a:off x="3373" y="1344"/>
              <a:ext cx="3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6 h 3"/>
                <a:gd name="T4" fmla="*/ 2147483647 w 2"/>
                <a:gd name="T5" fmla="*/ 2147483646 h 3"/>
                <a:gd name="T6" fmla="*/ 2147483647 w 2"/>
                <a:gd name="T7" fmla="*/ 2147483646 h 3"/>
                <a:gd name="T8" fmla="*/ 2147483647 w 2"/>
                <a:gd name="T9" fmla="*/ 0 h 3"/>
                <a:gd name="T10" fmla="*/ 0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7" name="Freeform 644"/>
            <p:cNvSpPr>
              <a:spLocks/>
            </p:cNvSpPr>
            <p:nvPr/>
          </p:nvSpPr>
          <p:spPr bwMode="gray">
            <a:xfrm>
              <a:off x="3284" y="1323"/>
              <a:ext cx="59" cy="33"/>
            </a:xfrm>
            <a:custGeom>
              <a:avLst/>
              <a:gdLst>
                <a:gd name="T0" fmla="*/ 2147483647 w 45"/>
                <a:gd name="T1" fmla="*/ 0 h 25"/>
                <a:gd name="T2" fmla="*/ 2147483647 w 45"/>
                <a:gd name="T3" fmla="*/ 2147483647 h 25"/>
                <a:gd name="T4" fmla="*/ 2147483647 w 45"/>
                <a:gd name="T5" fmla="*/ 2147483647 h 25"/>
                <a:gd name="T6" fmla="*/ 2147483647 w 45"/>
                <a:gd name="T7" fmla="*/ 2147483647 h 25"/>
                <a:gd name="T8" fmla="*/ 2147483647 w 45"/>
                <a:gd name="T9" fmla="*/ 2147483647 h 25"/>
                <a:gd name="T10" fmla="*/ 2147483647 w 45"/>
                <a:gd name="T11" fmla="*/ 2147483647 h 25"/>
                <a:gd name="T12" fmla="*/ 2147483647 w 45"/>
                <a:gd name="T13" fmla="*/ 2147483647 h 25"/>
                <a:gd name="T14" fmla="*/ 2147483647 w 45"/>
                <a:gd name="T15" fmla="*/ 2147483647 h 25"/>
                <a:gd name="T16" fmla="*/ 2147483647 w 45"/>
                <a:gd name="T17" fmla="*/ 2147483647 h 25"/>
                <a:gd name="T18" fmla="*/ 2147483647 w 45"/>
                <a:gd name="T19" fmla="*/ 2147483647 h 25"/>
                <a:gd name="T20" fmla="*/ 2147483647 w 45"/>
                <a:gd name="T21" fmla="*/ 2147483647 h 25"/>
                <a:gd name="T22" fmla="*/ 2147483647 w 45"/>
                <a:gd name="T23" fmla="*/ 2147483647 h 25"/>
                <a:gd name="T24" fmla="*/ 2147483647 w 45"/>
                <a:gd name="T25" fmla="*/ 2147483647 h 25"/>
                <a:gd name="T26" fmla="*/ 2147483647 w 45"/>
                <a:gd name="T27" fmla="*/ 2147483647 h 25"/>
                <a:gd name="T28" fmla="*/ 2147483647 w 45"/>
                <a:gd name="T29" fmla="*/ 2147483647 h 25"/>
                <a:gd name="T30" fmla="*/ 2147483647 w 45"/>
                <a:gd name="T31" fmla="*/ 2147483647 h 25"/>
                <a:gd name="T32" fmla="*/ 2147483647 w 45"/>
                <a:gd name="T33" fmla="*/ 2147483647 h 25"/>
                <a:gd name="T34" fmla="*/ 2147483647 w 45"/>
                <a:gd name="T35" fmla="*/ 2147483647 h 25"/>
                <a:gd name="T36" fmla="*/ 2147483647 w 45"/>
                <a:gd name="T37" fmla="*/ 2147483647 h 25"/>
                <a:gd name="T38" fmla="*/ 2147483647 w 45"/>
                <a:gd name="T39" fmla="*/ 2147483647 h 25"/>
                <a:gd name="T40" fmla="*/ 2147483647 w 45"/>
                <a:gd name="T41" fmla="*/ 2147483647 h 25"/>
                <a:gd name="T42" fmla="*/ 2147483647 w 45"/>
                <a:gd name="T43" fmla="*/ 2147483647 h 25"/>
                <a:gd name="T44" fmla="*/ 0 w 45"/>
                <a:gd name="T45" fmla="*/ 2147483647 h 25"/>
                <a:gd name="T46" fmla="*/ 2147483647 w 45"/>
                <a:gd name="T47" fmla="*/ 2147483647 h 25"/>
                <a:gd name="T48" fmla="*/ 2147483647 w 45"/>
                <a:gd name="T49" fmla="*/ 2147483647 h 25"/>
                <a:gd name="T50" fmla="*/ 0 w 45"/>
                <a:gd name="T51" fmla="*/ 2147483647 h 25"/>
                <a:gd name="T52" fmla="*/ 0 w 45"/>
                <a:gd name="T53" fmla="*/ 2147483647 h 25"/>
                <a:gd name="T54" fmla="*/ 2147483647 w 45"/>
                <a:gd name="T55" fmla="*/ 2147483647 h 25"/>
                <a:gd name="T56" fmla="*/ 2147483647 w 45"/>
                <a:gd name="T57" fmla="*/ 2147483647 h 25"/>
                <a:gd name="T58" fmla="*/ 2147483647 w 45"/>
                <a:gd name="T59" fmla="*/ 2147483647 h 25"/>
                <a:gd name="T60" fmla="*/ 2147483647 w 45"/>
                <a:gd name="T61" fmla="*/ 2147483647 h 25"/>
                <a:gd name="T62" fmla="*/ 2147483647 w 45"/>
                <a:gd name="T63" fmla="*/ 2147483647 h 25"/>
                <a:gd name="T64" fmla="*/ 2147483647 w 45"/>
                <a:gd name="T65" fmla="*/ 0 h 25"/>
                <a:gd name="T66" fmla="*/ 2147483647 w 45"/>
                <a:gd name="T67" fmla="*/ 0 h 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5"/>
                <a:gd name="T103" fmla="*/ 0 h 25"/>
                <a:gd name="T104" fmla="*/ 45 w 45"/>
                <a:gd name="T105" fmla="*/ 25 h 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5" h="25">
                  <a:moveTo>
                    <a:pt x="40" y="0"/>
                  </a:moveTo>
                  <a:lnTo>
                    <a:pt x="42" y="1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10"/>
                  </a:lnTo>
                  <a:lnTo>
                    <a:pt x="43" y="11"/>
                  </a:lnTo>
                  <a:lnTo>
                    <a:pt x="36" y="11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6" y="14"/>
                  </a:lnTo>
                  <a:lnTo>
                    <a:pt x="35" y="16"/>
                  </a:lnTo>
                  <a:lnTo>
                    <a:pt x="21" y="16"/>
                  </a:lnTo>
                  <a:lnTo>
                    <a:pt x="22" y="18"/>
                  </a:lnTo>
                  <a:lnTo>
                    <a:pt x="21" y="21"/>
                  </a:lnTo>
                  <a:lnTo>
                    <a:pt x="14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3" y="22"/>
                  </a:lnTo>
                  <a:lnTo>
                    <a:pt x="12" y="21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4" y="8"/>
                  </a:lnTo>
                  <a:lnTo>
                    <a:pt x="25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1"/>
                  </a:lnTo>
                  <a:lnTo>
                    <a:pt x="3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8" name="Freeform 645"/>
            <p:cNvSpPr>
              <a:spLocks/>
            </p:cNvSpPr>
            <p:nvPr/>
          </p:nvSpPr>
          <p:spPr bwMode="gray">
            <a:xfrm>
              <a:off x="3255" y="1324"/>
              <a:ext cx="58" cy="16"/>
            </a:xfrm>
            <a:custGeom>
              <a:avLst/>
              <a:gdLst>
                <a:gd name="T0" fmla="*/ 2147483647 w 44"/>
                <a:gd name="T1" fmla="*/ 2147483647 h 12"/>
                <a:gd name="T2" fmla="*/ 2147483647 w 44"/>
                <a:gd name="T3" fmla="*/ 2147483647 h 12"/>
                <a:gd name="T4" fmla="*/ 2147483647 w 44"/>
                <a:gd name="T5" fmla="*/ 2147483647 h 12"/>
                <a:gd name="T6" fmla="*/ 2147483647 w 44"/>
                <a:gd name="T7" fmla="*/ 2147483647 h 12"/>
                <a:gd name="T8" fmla="*/ 2147483647 w 44"/>
                <a:gd name="T9" fmla="*/ 0 h 12"/>
                <a:gd name="T10" fmla="*/ 2147483647 w 44"/>
                <a:gd name="T11" fmla="*/ 2147483647 h 12"/>
                <a:gd name="T12" fmla="*/ 2147483647 w 44"/>
                <a:gd name="T13" fmla="*/ 2147483647 h 12"/>
                <a:gd name="T14" fmla="*/ 0 w 44"/>
                <a:gd name="T15" fmla="*/ 2147483647 h 12"/>
                <a:gd name="T16" fmla="*/ 0 w 44"/>
                <a:gd name="T17" fmla="*/ 2147483647 h 12"/>
                <a:gd name="T18" fmla="*/ 2147483647 w 44"/>
                <a:gd name="T19" fmla="*/ 2147483647 h 12"/>
                <a:gd name="T20" fmla="*/ 2147483647 w 44"/>
                <a:gd name="T21" fmla="*/ 2147483647 h 12"/>
                <a:gd name="T22" fmla="*/ 2147483647 w 44"/>
                <a:gd name="T23" fmla="*/ 2147483647 h 12"/>
                <a:gd name="T24" fmla="*/ 2147483647 w 44"/>
                <a:gd name="T25" fmla="*/ 2147483647 h 12"/>
                <a:gd name="T26" fmla="*/ 2147483647 w 44"/>
                <a:gd name="T27" fmla="*/ 2147483647 h 12"/>
                <a:gd name="T28" fmla="*/ 2147483647 w 44"/>
                <a:gd name="T29" fmla="*/ 2147483647 h 12"/>
                <a:gd name="T30" fmla="*/ 2147483647 w 44"/>
                <a:gd name="T31" fmla="*/ 2147483647 h 12"/>
                <a:gd name="T32" fmla="*/ 2147483647 w 44"/>
                <a:gd name="T33" fmla="*/ 2147483647 h 12"/>
                <a:gd name="T34" fmla="*/ 2147483647 w 44"/>
                <a:gd name="T35" fmla="*/ 2147483647 h 12"/>
                <a:gd name="T36" fmla="*/ 2147483647 w 44"/>
                <a:gd name="T37" fmla="*/ 2147483647 h 12"/>
                <a:gd name="T38" fmla="*/ 2147483647 w 44"/>
                <a:gd name="T39" fmla="*/ 2147483647 h 12"/>
                <a:gd name="T40" fmla="*/ 2147483647 w 44"/>
                <a:gd name="T41" fmla="*/ 2147483647 h 12"/>
                <a:gd name="T42" fmla="*/ 2147483647 w 44"/>
                <a:gd name="T43" fmla="*/ 2147483647 h 12"/>
                <a:gd name="T44" fmla="*/ 2147483647 w 44"/>
                <a:gd name="T45" fmla="*/ 2147483647 h 12"/>
                <a:gd name="T46" fmla="*/ 2147483647 w 44"/>
                <a:gd name="T47" fmla="*/ 2147483647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"/>
                <a:gd name="T73" fmla="*/ 0 h 12"/>
                <a:gd name="T74" fmla="*/ 44 w 44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" h="12">
                  <a:moveTo>
                    <a:pt x="44" y="4"/>
                  </a:moveTo>
                  <a:lnTo>
                    <a:pt x="40" y="1"/>
                  </a:lnTo>
                  <a:lnTo>
                    <a:pt x="32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1" y="10"/>
                  </a:lnTo>
                  <a:lnTo>
                    <a:pt x="5" y="10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6" y="12"/>
                  </a:lnTo>
                  <a:lnTo>
                    <a:pt x="19" y="11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8" y="5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49" name="Freeform 646"/>
            <p:cNvSpPr>
              <a:spLocks/>
            </p:cNvSpPr>
            <p:nvPr/>
          </p:nvSpPr>
          <p:spPr bwMode="gray">
            <a:xfrm>
              <a:off x="3322" y="1347"/>
              <a:ext cx="9" cy="7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2147483647 w 7"/>
                <a:gd name="T9" fmla="*/ 0 h 5"/>
                <a:gd name="T10" fmla="*/ 0 w 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1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4"/>
                  </a:lnTo>
                  <a:lnTo>
                    <a:pt x="5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0" name="Freeform 647"/>
            <p:cNvSpPr>
              <a:spLocks/>
            </p:cNvSpPr>
            <p:nvPr/>
          </p:nvSpPr>
          <p:spPr bwMode="gray">
            <a:xfrm>
              <a:off x="3329" y="1353"/>
              <a:ext cx="13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2147483647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0 h 5"/>
                <a:gd name="T10" fmla="*/ 2147483647 w 10"/>
                <a:gd name="T11" fmla="*/ 2147483647 h 5"/>
                <a:gd name="T12" fmla="*/ 0 w 10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0" y="2"/>
                  </a:moveTo>
                  <a:lnTo>
                    <a:pt x="6" y="4"/>
                  </a:lnTo>
                  <a:lnTo>
                    <a:pt x="10" y="5"/>
                  </a:lnTo>
                  <a:lnTo>
                    <a:pt x="10" y="1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1" name="Freeform 648"/>
            <p:cNvSpPr>
              <a:spLocks/>
            </p:cNvSpPr>
            <p:nvPr/>
          </p:nvSpPr>
          <p:spPr bwMode="gray">
            <a:xfrm>
              <a:off x="3313" y="1353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2147483647 h 3"/>
                <a:gd name="T8" fmla="*/ 0 w 7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3"/>
                  </a:moveTo>
                  <a:lnTo>
                    <a:pt x="2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2" name="Freeform 649"/>
            <p:cNvSpPr>
              <a:spLocks/>
            </p:cNvSpPr>
            <p:nvPr/>
          </p:nvSpPr>
          <p:spPr bwMode="gray">
            <a:xfrm>
              <a:off x="3336" y="1316"/>
              <a:ext cx="6" cy="4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2147483647 h 3"/>
                <a:gd name="T4" fmla="*/ 0 w 4"/>
                <a:gd name="T5" fmla="*/ 2147483647 h 3"/>
                <a:gd name="T6" fmla="*/ 2147483647 w 4"/>
                <a:gd name="T7" fmla="*/ 0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3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2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3" name="Freeform 650"/>
            <p:cNvSpPr>
              <a:spLocks/>
            </p:cNvSpPr>
            <p:nvPr/>
          </p:nvSpPr>
          <p:spPr bwMode="gray">
            <a:xfrm>
              <a:off x="3345" y="1541"/>
              <a:ext cx="71" cy="71"/>
            </a:xfrm>
            <a:custGeom>
              <a:avLst/>
              <a:gdLst>
                <a:gd name="T0" fmla="*/ 2147483647 w 54"/>
                <a:gd name="T1" fmla="*/ 2147483647 h 55"/>
                <a:gd name="T2" fmla="*/ 2147483647 w 54"/>
                <a:gd name="T3" fmla="*/ 2147483647 h 55"/>
                <a:gd name="T4" fmla="*/ 2147483647 w 54"/>
                <a:gd name="T5" fmla="*/ 2147483647 h 55"/>
                <a:gd name="T6" fmla="*/ 2147483647 w 54"/>
                <a:gd name="T7" fmla="*/ 2147483647 h 55"/>
                <a:gd name="T8" fmla="*/ 2147483647 w 54"/>
                <a:gd name="T9" fmla="*/ 2147483647 h 55"/>
                <a:gd name="T10" fmla="*/ 2147483647 w 54"/>
                <a:gd name="T11" fmla="*/ 2147483647 h 55"/>
                <a:gd name="T12" fmla="*/ 2147483647 w 54"/>
                <a:gd name="T13" fmla="*/ 2147483647 h 55"/>
                <a:gd name="T14" fmla="*/ 2147483647 w 54"/>
                <a:gd name="T15" fmla="*/ 2147483647 h 55"/>
                <a:gd name="T16" fmla="*/ 2147483647 w 54"/>
                <a:gd name="T17" fmla="*/ 2147483647 h 55"/>
                <a:gd name="T18" fmla="*/ 2147483647 w 54"/>
                <a:gd name="T19" fmla="*/ 2147483647 h 55"/>
                <a:gd name="T20" fmla="*/ 2147483647 w 54"/>
                <a:gd name="T21" fmla="*/ 2147483647 h 55"/>
                <a:gd name="T22" fmla="*/ 2147483647 w 54"/>
                <a:gd name="T23" fmla="*/ 2147483647 h 55"/>
                <a:gd name="T24" fmla="*/ 2147483647 w 54"/>
                <a:gd name="T25" fmla="*/ 2147483647 h 55"/>
                <a:gd name="T26" fmla="*/ 2147483647 w 54"/>
                <a:gd name="T27" fmla="*/ 2147483647 h 55"/>
                <a:gd name="T28" fmla="*/ 2147483647 w 54"/>
                <a:gd name="T29" fmla="*/ 2147483647 h 55"/>
                <a:gd name="T30" fmla="*/ 2147483647 w 54"/>
                <a:gd name="T31" fmla="*/ 2147483647 h 55"/>
                <a:gd name="T32" fmla="*/ 2147483647 w 54"/>
                <a:gd name="T33" fmla="*/ 2147483647 h 55"/>
                <a:gd name="T34" fmla="*/ 2147483647 w 54"/>
                <a:gd name="T35" fmla="*/ 2147483647 h 55"/>
                <a:gd name="T36" fmla="*/ 0 w 54"/>
                <a:gd name="T37" fmla="*/ 2147483647 h 55"/>
                <a:gd name="T38" fmla="*/ 2147483647 w 54"/>
                <a:gd name="T39" fmla="*/ 2147483647 h 55"/>
                <a:gd name="T40" fmla="*/ 2147483647 w 54"/>
                <a:gd name="T41" fmla="*/ 2147483647 h 55"/>
                <a:gd name="T42" fmla="*/ 2147483647 w 54"/>
                <a:gd name="T43" fmla="*/ 2147483647 h 55"/>
                <a:gd name="T44" fmla="*/ 2147483647 w 54"/>
                <a:gd name="T45" fmla="*/ 2147483647 h 55"/>
                <a:gd name="T46" fmla="*/ 2147483647 w 54"/>
                <a:gd name="T47" fmla="*/ 2147483647 h 55"/>
                <a:gd name="T48" fmla="*/ 2147483647 w 54"/>
                <a:gd name="T49" fmla="*/ 2147483647 h 55"/>
                <a:gd name="T50" fmla="*/ 2147483647 w 54"/>
                <a:gd name="T51" fmla="*/ 2147483647 h 55"/>
                <a:gd name="T52" fmla="*/ 2147483647 w 54"/>
                <a:gd name="T53" fmla="*/ 2147483647 h 55"/>
                <a:gd name="T54" fmla="*/ 2147483647 w 54"/>
                <a:gd name="T55" fmla="*/ 0 h 55"/>
                <a:gd name="T56" fmla="*/ 2147483647 w 54"/>
                <a:gd name="T57" fmla="*/ 2147483647 h 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4"/>
                <a:gd name="T88" fmla="*/ 0 h 55"/>
                <a:gd name="T89" fmla="*/ 54 w 54"/>
                <a:gd name="T90" fmla="*/ 55 h 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4" h="55">
                  <a:moveTo>
                    <a:pt x="45" y="4"/>
                  </a:moveTo>
                  <a:lnTo>
                    <a:pt x="41" y="13"/>
                  </a:lnTo>
                  <a:lnTo>
                    <a:pt x="36" y="14"/>
                  </a:lnTo>
                  <a:lnTo>
                    <a:pt x="35" y="30"/>
                  </a:lnTo>
                  <a:lnTo>
                    <a:pt x="38" y="36"/>
                  </a:lnTo>
                  <a:lnTo>
                    <a:pt x="54" y="47"/>
                  </a:lnTo>
                  <a:lnTo>
                    <a:pt x="53" y="51"/>
                  </a:lnTo>
                  <a:lnTo>
                    <a:pt x="45" y="53"/>
                  </a:lnTo>
                  <a:lnTo>
                    <a:pt x="36" y="55"/>
                  </a:lnTo>
                  <a:lnTo>
                    <a:pt x="27" y="50"/>
                  </a:lnTo>
                  <a:lnTo>
                    <a:pt x="19" y="50"/>
                  </a:lnTo>
                  <a:lnTo>
                    <a:pt x="19" y="45"/>
                  </a:lnTo>
                  <a:lnTo>
                    <a:pt x="22" y="39"/>
                  </a:lnTo>
                  <a:lnTo>
                    <a:pt x="17" y="38"/>
                  </a:lnTo>
                  <a:lnTo>
                    <a:pt x="10" y="36"/>
                  </a:lnTo>
                  <a:lnTo>
                    <a:pt x="9" y="33"/>
                  </a:lnTo>
                  <a:lnTo>
                    <a:pt x="5" y="37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2" y="24"/>
                  </a:lnTo>
                  <a:lnTo>
                    <a:pt x="8" y="23"/>
                  </a:lnTo>
                  <a:lnTo>
                    <a:pt x="11" y="19"/>
                  </a:lnTo>
                  <a:lnTo>
                    <a:pt x="12" y="14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8" y="1"/>
                  </a:lnTo>
                  <a:lnTo>
                    <a:pt x="37" y="0"/>
                  </a:lnTo>
                  <a:lnTo>
                    <a:pt x="45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4" name="Freeform 651"/>
            <p:cNvSpPr>
              <a:spLocks/>
            </p:cNvSpPr>
            <p:nvPr/>
          </p:nvSpPr>
          <p:spPr bwMode="gray">
            <a:xfrm>
              <a:off x="3352" y="1590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0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4" y="0"/>
                  </a:moveTo>
                  <a:lnTo>
                    <a:pt x="11" y="4"/>
                  </a:lnTo>
                  <a:lnTo>
                    <a:pt x="10" y="6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5" name="Freeform 652"/>
            <p:cNvSpPr>
              <a:spLocks/>
            </p:cNvSpPr>
            <p:nvPr/>
          </p:nvSpPr>
          <p:spPr bwMode="gray">
            <a:xfrm>
              <a:off x="3622" y="1544"/>
              <a:ext cx="9" cy="4"/>
            </a:xfrm>
            <a:custGeom>
              <a:avLst/>
              <a:gdLst>
                <a:gd name="T0" fmla="*/ 2147483647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0 h 3"/>
                <a:gd name="T6" fmla="*/ 2147483647 w 7"/>
                <a:gd name="T7" fmla="*/ 0 h 3"/>
                <a:gd name="T8" fmla="*/ 0 w 7"/>
                <a:gd name="T9" fmla="*/ 0 h 3"/>
                <a:gd name="T10" fmla="*/ 2147483647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2" y="3"/>
                  </a:moveTo>
                  <a:lnTo>
                    <a:pt x="6" y="2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6" name="Freeform 653"/>
            <p:cNvSpPr>
              <a:spLocks/>
            </p:cNvSpPr>
            <p:nvPr/>
          </p:nvSpPr>
          <p:spPr bwMode="gray">
            <a:xfrm>
              <a:off x="3480" y="1307"/>
              <a:ext cx="28" cy="21"/>
            </a:xfrm>
            <a:custGeom>
              <a:avLst/>
              <a:gdLst>
                <a:gd name="T0" fmla="*/ 2147483647 w 22"/>
                <a:gd name="T1" fmla="*/ 0 h 16"/>
                <a:gd name="T2" fmla="*/ 2147483647 w 22"/>
                <a:gd name="T3" fmla="*/ 0 h 16"/>
                <a:gd name="T4" fmla="*/ 2147483647 w 22"/>
                <a:gd name="T5" fmla="*/ 2147483647 h 16"/>
                <a:gd name="T6" fmla="*/ 2147483647 w 22"/>
                <a:gd name="T7" fmla="*/ 2147483647 h 16"/>
                <a:gd name="T8" fmla="*/ 2147483647 w 22"/>
                <a:gd name="T9" fmla="*/ 2147483647 h 16"/>
                <a:gd name="T10" fmla="*/ 2147483647 w 22"/>
                <a:gd name="T11" fmla="*/ 2147483647 h 16"/>
                <a:gd name="T12" fmla="*/ 2147483647 w 22"/>
                <a:gd name="T13" fmla="*/ 2147483647 h 16"/>
                <a:gd name="T14" fmla="*/ 2147483647 w 22"/>
                <a:gd name="T15" fmla="*/ 2147483647 h 16"/>
                <a:gd name="T16" fmla="*/ 2147483647 w 22"/>
                <a:gd name="T17" fmla="*/ 2147483647 h 16"/>
                <a:gd name="T18" fmla="*/ 2147483647 w 22"/>
                <a:gd name="T19" fmla="*/ 2147483647 h 16"/>
                <a:gd name="T20" fmla="*/ 2147483647 w 22"/>
                <a:gd name="T21" fmla="*/ 2147483647 h 16"/>
                <a:gd name="T22" fmla="*/ 0 w 22"/>
                <a:gd name="T23" fmla="*/ 2147483647 h 16"/>
                <a:gd name="T24" fmla="*/ 2147483647 w 22"/>
                <a:gd name="T25" fmla="*/ 2147483647 h 16"/>
                <a:gd name="T26" fmla="*/ 2147483647 w 22"/>
                <a:gd name="T27" fmla="*/ 2147483647 h 16"/>
                <a:gd name="T28" fmla="*/ 2147483647 w 22"/>
                <a:gd name="T29" fmla="*/ 2147483647 h 16"/>
                <a:gd name="T30" fmla="*/ 2147483647 w 22"/>
                <a:gd name="T31" fmla="*/ 2147483647 h 16"/>
                <a:gd name="T32" fmla="*/ 2147483647 w 22"/>
                <a:gd name="T33" fmla="*/ 0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6"/>
                <a:gd name="T53" fmla="*/ 22 w 2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6">
                  <a:moveTo>
                    <a:pt x="14" y="0"/>
                  </a:moveTo>
                  <a:lnTo>
                    <a:pt x="19" y="0"/>
                  </a:lnTo>
                  <a:lnTo>
                    <a:pt x="21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3" y="11"/>
                  </a:lnTo>
                  <a:lnTo>
                    <a:pt x="12" y="13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4" y="8"/>
                  </a:lnTo>
                  <a:lnTo>
                    <a:pt x="3" y="6"/>
                  </a:lnTo>
                  <a:lnTo>
                    <a:pt x="7" y="3"/>
                  </a:lnTo>
                  <a:lnTo>
                    <a:pt x="13" y="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7" name="Freeform 654"/>
            <p:cNvSpPr>
              <a:spLocks/>
            </p:cNvSpPr>
            <p:nvPr/>
          </p:nvSpPr>
          <p:spPr bwMode="gray">
            <a:xfrm>
              <a:off x="3442" y="1327"/>
              <a:ext cx="31" cy="14"/>
            </a:xfrm>
            <a:custGeom>
              <a:avLst/>
              <a:gdLst>
                <a:gd name="T0" fmla="*/ 2147483647 w 24"/>
                <a:gd name="T1" fmla="*/ 0 h 11"/>
                <a:gd name="T2" fmla="*/ 2147483647 w 24"/>
                <a:gd name="T3" fmla="*/ 2147483647 h 11"/>
                <a:gd name="T4" fmla="*/ 2147483647 w 24"/>
                <a:gd name="T5" fmla="*/ 2147483647 h 11"/>
                <a:gd name="T6" fmla="*/ 2147483647 w 24"/>
                <a:gd name="T7" fmla="*/ 2147483647 h 11"/>
                <a:gd name="T8" fmla="*/ 2147483647 w 24"/>
                <a:gd name="T9" fmla="*/ 2147483647 h 11"/>
                <a:gd name="T10" fmla="*/ 2147483647 w 24"/>
                <a:gd name="T11" fmla="*/ 2147483647 h 11"/>
                <a:gd name="T12" fmla="*/ 2147483647 w 24"/>
                <a:gd name="T13" fmla="*/ 2147483647 h 11"/>
                <a:gd name="T14" fmla="*/ 0 w 24"/>
                <a:gd name="T15" fmla="*/ 2147483647 h 11"/>
                <a:gd name="T16" fmla="*/ 0 w 24"/>
                <a:gd name="T17" fmla="*/ 2147483647 h 11"/>
                <a:gd name="T18" fmla="*/ 2147483647 w 24"/>
                <a:gd name="T19" fmla="*/ 2147483647 h 11"/>
                <a:gd name="T20" fmla="*/ 2147483647 w 24"/>
                <a:gd name="T21" fmla="*/ 2147483647 h 11"/>
                <a:gd name="T22" fmla="*/ 2147483647 w 24"/>
                <a:gd name="T23" fmla="*/ 2147483647 h 11"/>
                <a:gd name="T24" fmla="*/ 2147483647 w 24"/>
                <a:gd name="T25" fmla="*/ 0 h 11"/>
                <a:gd name="T26" fmla="*/ 2147483647 w 24"/>
                <a:gd name="T27" fmla="*/ 0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"/>
                <a:gd name="T43" fmla="*/ 0 h 11"/>
                <a:gd name="T44" fmla="*/ 24 w 24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" h="11">
                  <a:moveTo>
                    <a:pt x="24" y="0"/>
                  </a:moveTo>
                  <a:lnTo>
                    <a:pt x="24" y="3"/>
                  </a:lnTo>
                  <a:lnTo>
                    <a:pt x="17" y="3"/>
                  </a:lnTo>
                  <a:lnTo>
                    <a:pt x="16" y="5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4"/>
                  </a:lnTo>
                  <a:lnTo>
                    <a:pt x="3" y="1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8" name="Freeform 655"/>
            <p:cNvSpPr>
              <a:spLocks/>
            </p:cNvSpPr>
            <p:nvPr/>
          </p:nvSpPr>
          <p:spPr bwMode="gray">
            <a:xfrm>
              <a:off x="3454" y="1319"/>
              <a:ext cx="14" cy="5"/>
            </a:xfrm>
            <a:custGeom>
              <a:avLst/>
              <a:gdLst>
                <a:gd name="T0" fmla="*/ 2147483647 w 11"/>
                <a:gd name="T1" fmla="*/ 0 h 4"/>
                <a:gd name="T2" fmla="*/ 2147483647 w 11"/>
                <a:gd name="T3" fmla="*/ 2147483647 h 4"/>
                <a:gd name="T4" fmla="*/ 2147483647 w 11"/>
                <a:gd name="T5" fmla="*/ 2147483647 h 4"/>
                <a:gd name="T6" fmla="*/ 0 w 11"/>
                <a:gd name="T7" fmla="*/ 2147483647 h 4"/>
                <a:gd name="T8" fmla="*/ 0 w 11"/>
                <a:gd name="T9" fmla="*/ 2147483647 h 4"/>
                <a:gd name="T10" fmla="*/ 2147483647 w 11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"/>
                <a:gd name="T20" fmla="*/ 11 w 1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">
                  <a:moveTo>
                    <a:pt x="8" y="0"/>
                  </a:moveTo>
                  <a:lnTo>
                    <a:pt x="11" y="2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59" name="Freeform 656"/>
            <p:cNvSpPr>
              <a:spLocks/>
            </p:cNvSpPr>
            <p:nvPr/>
          </p:nvSpPr>
          <p:spPr bwMode="gray">
            <a:xfrm>
              <a:off x="3477" y="1292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2147483646 h 3"/>
                <a:gd name="T6" fmla="*/ 2147483647 w 10"/>
                <a:gd name="T7" fmla="*/ 2147483646 h 3"/>
                <a:gd name="T8" fmla="*/ 0 w 10"/>
                <a:gd name="T9" fmla="*/ 214748364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3"/>
                <a:gd name="T17" fmla="*/ 10 w 10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3">
                  <a:moveTo>
                    <a:pt x="0" y="1"/>
                  </a:moveTo>
                  <a:lnTo>
                    <a:pt x="9" y="0"/>
                  </a:lnTo>
                  <a:lnTo>
                    <a:pt x="10" y="3"/>
                  </a:lnTo>
                  <a:lnTo>
                    <a:pt x="6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0" name="Freeform 657"/>
            <p:cNvSpPr>
              <a:spLocks/>
            </p:cNvSpPr>
            <p:nvPr/>
          </p:nvSpPr>
          <p:spPr bwMode="gray">
            <a:xfrm>
              <a:off x="3429" y="1304"/>
              <a:ext cx="9" cy="3"/>
            </a:xfrm>
            <a:custGeom>
              <a:avLst/>
              <a:gdLst>
                <a:gd name="T0" fmla="*/ 0 w 7"/>
                <a:gd name="T1" fmla="*/ 2147483647 h 2"/>
                <a:gd name="T2" fmla="*/ 0 w 7"/>
                <a:gd name="T3" fmla="*/ 2147483647 h 2"/>
                <a:gd name="T4" fmla="*/ 2147483647 w 7"/>
                <a:gd name="T5" fmla="*/ 0 h 2"/>
                <a:gd name="T6" fmla="*/ 2147483647 w 7"/>
                <a:gd name="T7" fmla="*/ 2147483647 h 2"/>
                <a:gd name="T8" fmla="*/ 2147483647 w 7"/>
                <a:gd name="T9" fmla="*/ 2147483647 h 2"/>
                <a:gd name="T10" fmla="*/ 0 w 7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2"/>
                <a:gd name="T20" fmla="*/ 7 w 7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4" y="0"/>
                  </a:lnTo>
                  <a:lnTo>
                    <a:pt x="7" y="1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1" name="Freeform 658"/>
            <p:cNvSpPr>
              <a:spLocks/>
            </p:cNvSpPr>
            <p:nvPr/>
          </p:nvSpPr>
          <p:spPr bwMode="gray">
            <a:xfrm>
              <a:off x="3454" y="1309"/>
              <a:ext cx="7" cy="2"/>
            </a:xfrm>
            <a:custGeom>
              <a:avLst/>
              <a:gdLst>
                <a:gd name="T0" fmla="*/ 0 w 6"/>
                <a:gd name="T1" fmla="*/ 2147483646 h 2"/>
                <a:gd name="T2" fmla="*/ 2147483647 w 6"/>
                <a:gd name="T3" fmla="*/ 0 h 2"/>
                <a:gd name="T4" fmla="*/ 2147483647 w 6"/>
                <a:gd name="T5" fmla="*/ 2147483646 h 2"/>
                <a:gd name="T6" fmla="*/ 2147483647 w 6"/>
                <a:gd name="T7" fmla="*/ 2147483646 h 2"/>
                <a:gd name="T8" fmla="*/ 0 w 6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1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2" name="Freeform 659"/>
            <p:cNvSpPr>
              <a:spLocks/>
            </p:cNvSpPr>
            <p:nvPr/>
          </p:nvSpPr>
          <p:spPr bwMode="gray">
            <a:xfrm>
              <a:off x="3414" y="1340"/>
              <a:ext cx="23" cy="12"/>
            </a:xfrm>
            <a:custGeom>
              <a:avLst/>
              <a:gdLst>
                <a:gd name="T0" fmla="*/ 2147483647 w 17"/>
                <a:gd name="T1" fmla="*/ 0 h 9"/>
                <a:gd name="T2" fmla="*/ 2147483647 w 17"/>
                <a:gd name="T3" fmla="*/ 2147483647 h 9"/>
                <a:gd name="T4" fmla="*/ 2147483647 w 17"/>
                <a:gd name="T5" fmla="*/ 2147483647 h 9"/>
                <a:gd name="T6" fmla="*/ 2147483647 w 17"/>
                <a:gd name="T7" fmla="*/ 2147483647 h 9"/>
                <a:gd name="T8" fmla="*/ 2147483647 w 17"/>
                <a:gd name="T9" fmla="*/ 2147483647 h 9"/>
                <a:gd name="T10" fmla="*/ 2147483647 w 17"/>
                <a:gd name="T11" fmla="*/ 2147483647 h 9"/>
                <a:gd name="T12" fmla="*/ 2147483647 w 17"/>
                <a:gd name="T13" fmla="*/ 2147483647 h 9"/>
                <a:gd name="T14" fmla="*/ 2147483647 w 17"/>
                <a:gd name="T15" fmla="*/ 2147483647 h 9"/>
                <a:gd name="T16" fmla="*/ 2147483647 w 17"/>
                <a:gd name="T17" fmla="*/ 2147483647 h 9"/>
                <a:gd name="T18" fmla="*/ 2147483647 w 17"/>
                <a:gd name="T19" fmla="*/ 2147483647 h 9"/>
                <a:gd name="T20" fmla="*/ 0 w 17"/>
                <a:gd name="T21" fmla="*/ 0 h 9"/>
                <a:gd name="T22" fmla="*/ 2147483647 w 17"/>
                <a:gd name="T23" fmla="*/ 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9"/>
                <a:gd name="T38" fmla="*/ 17 w 17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9">
                  <a:moveTo>
                    <a:pt x="7" y="0"/>
                  </a:moveTo>
                  <a:lnTo>
                    <a:pt x="11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2" y="3"/>
                  </a:lnTo>
                  <a:lnTo>
                    <a:pt x="5" y="6"/>
                  </a:lnTo>
                  <a:lnTo>
                    <a:pt x="5" y="9"/>
                  </a:lnTo>
                  <a:lnTo>
                    <a:pt x="2" y="8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3" name="Freeform 660"/>
            <p:cNvSpPr>
              <a:spLocks/>
            </p:cNvSpPr>
            <p:nvPr/>
          </p:nvSpPr>
          <p:spPr bwMode="gray">
            <a:xfrm>
              <a:off x="3432" y="1353"/>
              <a:ext cx="13" cy="5"/>
            </a:xfrm>
            <a:custGeom>
              <a:avLst/>
              <a:gdLst>
                <a:gd name="T0" fmla="*/ 2147483647 w 10"/>
                <a:gd name="T1" fmla="*/ 0 h 4"/>
                <a:gd name="T2" fmla="*/ 2147483647 w 10"/>
                <a:gd name="T3" fmla="*/ 2147483647 h 4"/>
                <a:gd name="T4" fmla="*/ 2147483647 w 10"/>
                <a:gd name="T5" fmla="*/ 2147483647 h 4"/>
                <a:gd name="T6" fmla="*/ 2147483647 w 10"/>
                <a:gd name="T7" fmla="*/ 2147483647 h 4"/>
                <a:gd name="T8" fmla="*/ 2147483647 w 10"/>
                <a:gd name="T9" fmla="*/ 2147483647 h 4"/>
                <a:gd name="T10" fmla="*/ 0 w 10"/>
                <a:gd name="T11" fmla="*/ 2147483647 h 4"/>
                <a:gd name="T12" fmla="*/ 0 w 10"/>
                <a:gd name="T13" fmla="*/ 0 h 4"/>
                <a:gd name="T14" fmla="*/ 2147483647 w 10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4"/>
                <a:gd name="T26" fmla="*/ 10 w 10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4">
                  <a:moveTo>
                    <a:pt x="7" y="0"/>
                  </a:moveTo>
                  <a:lnTo>
                    <a:pt x="9" y="1"/>
                  </a:lnTo>
                  <a:lnTo>
                    <a:pt x="10" y="3"/>
                  </a:lnTo>
                  <a:lnTo>
                    <a:pt x="6" y="4"/>
                  </a:lnTo>
                  <a:lnTo>
                    <a:pt x="3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4" name="Freeform 661"/>
            <p:cNvSpPr>
              <a:spLocks/>
            </p:cNvSpPr>
            <p:nvPr/>
          </p:nvSpPr>
          <p:spPr bwMode="gray">
            <a:xfrm>
              <a:off x="3572" y="1534"/>
              <a:ext cx="17" cy="13"/>
            </a:xfrm>
            <a:custGeom>
              <a:avLst/>
              <a:gdLst>
                <a:gd name="T0" fmla="*/ 2147483647 w 14"/>
                <a:gd name="T1" fmla="*/ 2147483647 h 10"/>
                <a:gd name="T2" fmla="*/ 0 w 14"/>
                <a:gd name="T3" fmla="*/ 2147483647 h 10"/>
                <a:gd name="T4" fmla="*/ 0 w 14"/>
                <a:gd name="T5" fmla="*/ 2147483647 h 10"/>
                <a:gd name="T6" fmla="*/ 2147483647 w 14"/>
                <a:gd name="T7" fmla="*/ 0 h 10"/>
                <a:gd name="T8" fmla="*/ 2147483647 w 14"/>
                <a:gd name="T9" fmla="*/ 2147483647 h 10"/>
                <a:gd name="T10" fmla="*/ 2147483647 w 14"/>
                <a:gd name="T11" fmla="*/ 2147483647 h 10"/>
                <a:gd name="T12" fmla="*/ 2147483647 w 14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0"/>
                <a:gd name="T23" fmla="*/ 14 w 14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0">
                  <a:moveTo>
                    <a:pt x="4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4"/>
                  </a:lnTo>
                  <a:lnTo>
                    <a:pt x="9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5" name="Freeform 662"/>
            <p:cNvSpPr>
              <a:spLocks/>
            </p:cNvSpPr>
            <p:nvPr/>
          </p:nvSpPr>
          <p:spPr bwMode="gray">
            <a:xfrm>
              <a:off x="3767" y="1491"/>
              <a:ext cx="8" cy="4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4" y="3"/>
                  </a:moveTo>
                  <a:lnTo>
                    <a:pt x="6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6" name="Freeform 663"/>
            <p:cNvSpPr>
              <a:spLocks/>
            </p:cNvSpPr>
            <p:nvPr/>
          </p:nvSpPr>
          <p:spPr bwMode="gray">
            <a:xfrm>
              <a:off x="3719" y="1515"/>
              <a:ext cx="9" cy="3"/>
            </a:xfrm>
            <a:custGeom>
              <a:avLst/>
              <a:gdLst>
                <a:gd name="T0" fmla="*/ 2147483647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0 w 7"/>
                <a:gd name="T7" fmla="*/ 2147483647 h 2"/>
                <a:gd name="T8" fmla="*/ 2147483647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3" y="0"/>
                  </a:moveTo>
                  <a:lnTo>
                    <a:pt x="7" y="0"/>
                  </a:lnTo>
                  <a:lnTo>
                    <a:pt x="4" y="2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7" name="Freeform 664"/>
            <p:cNvSpPr>
              <a:spLocks/>
            </p:cNvSpPr>
            <p:nvPr/>
          </p:nvSpPr>
          <p:spPr bwMode="gray">
            <a:xfrm>
              <a:off x="3729" y="1515"/>
              <a:ext cx="8" cy="3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0 h 2"/>
                <a:gd name="T6" fmla="*/ 0 w 6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8" name="Freeform 665"/>
            <p:cNvSpPr>
              <a:spLocks/>
            </p:cNvSpPr>
            <p:nvPr/>
          </p:nvSpPr>
          <p:spPr bwMode="gray">
            <a:xfrm>
              <a:off x="3740" y="1518"/>
              <a:ext cx="6" cy="3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1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1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69" name="Freeform 666"/>
            <p:cNvSpPr>
              <a:spLocks/>
            </p:cNvSpPr>
            <p:nvPr/>
          </p:nvSpPr>
          <p:spPr bwMode="gray">
            <a:xfrm>
              <a:off x="3756" y="1515"/>
              <a:ext cx="8" cy="2"/>
            </a:xfrm>
            <a:custGeom>
              <a:avLst/>
              <a:gdLst>
                <a:gd name="T0" fmla="*/ 2147483647 w 6"/>
                <a:gd name="T1" fmla="*/ 0 h 2"/>
                <a:gd name="T2" fmla="*/ 2147483647 w 6"/>
                <a:gd name="T3" fmla="*/ 0 h 2"/>
                <a:gd name="T4" fmla="*/ 2147483647 w 6"/>
                <a:gd name="T5" fmla="*/ 2147483646 h 2"/>
                <a:gd name="T6" fmla="*/ 0 w 6"/>
                <a:gd name="T7" fmla="*/ 2147483646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1" y="0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0" name="Freeform 667"/>
            <p:cNvSpPr>
              <a:spLocks/>
            </p:cNvSpPr>
            <p:nvPr/>
          </p:nvSpPr>
          <p:spPr bwMode="gray">
            <a:xfrm>
              <a:off x="3676" y="1547"/>
              <a:ext cx="12" cy="8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2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1" name="Freeform 668"/>
            <p:cNvSpPr>
              <a:spLocks/>
            </p:cNvSpPr>
            <p:nvPr/>
          </p:nvSpPr>
          <p:spPr bwMode="gray">
            <a:xfrm>
              <a:off x="3651" y="1559"/>
              <a:ext cx="14" cy="8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0 w 11"/>
                <a:gd name="T9" fmla="*/ 2147483647 h 6"/>
                <a:gd name="T10" fmla="*/ 0 w 11"/>
                <a:gd name="T11" fmla="*/ 2147483647 h 6"/>
                <a:gd name="T12" fmla="*/ 2147483647 w 11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0"/>
                  </a:moveTo>
                  <a:lnTo>
                    <a:pt x="11" y="1"/>
                  </a:lnTo>
                  <a:lnTo>
                    <a:pt x="11" y="3"/>
                  </a:lnTo>
                  <a:lnTo>
                    <a:pt x="6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2" name="Freeform 669"/>
            <p:cNvSpPr>
              <a:spLocks/>
            </p:cNvSpPr>
            <p:nvPr/>
          </p:nvSpPr>
          <p:spPr bwMode="gray">
            <a:xfrm>
              <a:off x="3646" y="1539"/>
              <a:ext cx="7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3" name="Freeform 670"/>
            <p:cNvSpPr>
              <a:spLocks/>
            </p:cNvSpPr>
            <p:nvPr/>
          </p:nvSpPr>
          <p:spPr bwMode="gray">
            <a:xfrm>
              <a:off x="3639" y="1531"/>
              <a:ext cx="8" cy="7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0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1" y="0"/>
                  </a:lnTo>
                  <a:lnTo>
                    <a:pt x="6" y="1"/>
                  </a:lnTo>
                  <a:lnTo>
                    <a:pt x="6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4" name="Freeform 671"/>
            <p:cNvSpPr>
              <a:spLocks/>
            </p:cNvSpPr>
            <p:nvPr/>
          </p:nvSpPr>
          <p:spPr bwMode="gray">
            <a:xfrm>
              <a:off x="3780" y="2135"/>
              <a:ext cx="3" cy="1"/>
            </a:xfrm>
            <a:custGeom>
              <a:avLst/>
              <a:gdLst>
                <a:gd name="T0" fmla="*/ 0 w 3"/>
                <a:gd name="T1" fmla="*/ 0 h 1"/>
                <a:gd name="T2" fmla="*/ 2147483646 w 3"/>
                <a:gd name="T3" fmla="*/ 0 h 1"/>
                <a:gd name="T4" fmla="*/ 0 w 3"/>
                <a:gd name="T5" fmla="*/ 0 h 1"/>
                <a:gd name="T6" fmla="*/ 0 60000 65536"/>
                <a:gd name="T7" fmla="*/ 0 60000 65536"/>
                <a:gd name="T8" fmla="*/ 0 60000 65536"/>
                <a:gd name="T9" fmla="*/ 0 w 3"/>
                <a:gd name="T10" fmla="*/ 0 h 1"/>
                <a:gd name="T11" fmla="*/ 3 w 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5" name="Freeform 672"/>
            <p:cNvSpPr>
              <a:spLocks/>
            </p:cNvSpPr>
            <p:nvPr/>
          </p:nvSpPr>
          <p:spPr bwMode="gray">
            <a:xfrm>
              <a:off x="3783" y="2071"/>
              <a:ext cx="392" cy="203"/>
            </a:xfrm>
            <a:custGeom>
              <a:avLst/>
              <a:gdLst>
                <a:gd name="T0" fmla="*/ 2147483647 w 300"/>
                <a:gd name="T1" fmla="*/ 2147483647 h 156"/>
                <a:gd name="T2" fmla="*/ 2147483647 w 300"/>
                <a:gd name="T3" fmla="*/ 2147483647 h 156"/>
                <a:gd name="T4" fmla="*/ 2147483647 w 300"/>
                <a:gd name="T5" fmla="*/ 2147483647 h 156"/>
                <a:gd name="T6" fmla="*/ 2147483647 w 300"/>
                <a:gd name="T7" fmla="*/ 2147483647 h 156"/>
                <a:gd name="T8" fmla="*/ 2147483647 w 300"/>
                <a:gd name="T9" fmla="*/ 2147483647 h 156"/>
                <a:gd name="T10" fmla="*/ 2147483647 w 300"/>
                <a:gd name="T11" fmla="*/ 2147483647 h 156"/>
                <a:gd name="T12" fmla="*/ 2147483647 w 300"/>
                <a:gd name="T13" fmla="*/ 2147483647 h 156"/>
                <a:gd name="T14" fmla="*/ 2147483647 w 300"/>
                <a:gd name="T15" fmla="*/ 2147483647 h 156"/>
                <a:gd name="T16" fmla="*/ 2147483647 w 300"/>
                <a:gd name="T17" fmla="*/ 2147483647 h 156"/>
                <a:gd name="T18" fmla="*/ 2147483647 w 300"/>
                <a:gd name="T19" fmla="*/ 2147483647 h 156"/>
                <a:gd name="T20" fmla="*/ 2147483647 w 300"/>
                <a:gd name="T21" fmla="*/ 2147483647 h 156"/>
                <a:gd name="T22" fmla="*/ 2147483647 w 300"/>
                <a:gd name="T23" fmla="*/ 2147483647 h 156"/>
                <a:gd name="T24" fmla="*/ 2147483647 w 300"/>
                <a:gd name="T25" fmla="*/ 2147483647 h 156"/>
                <a:gd name="T26" fmla="*/ 2147483647 w 300"/>
                <a:gd name="T27" fmla="*/ 2147483647 h 156"/>
                <a:gd name="T28" fmla="*/ 2147483647 w 300"/>
                <a:gd name="T29" fmla="*/ 2147483647 h 156"/>
                <a:gd name="T30" fmla="*/ 2147483647 w 300"/>
                <a:gd name="T31" fmla="*/ 2147483647 h 156"/>
                <a:gd name="T32" fmla="*/ 2147483647 w 300"/>
                <a:gd name="T33" fmla="*/ 2147483647 h 156"/>
                <a:gd name="T34" fmla="*/ 2147483647 w 300"/>
                <a:gd name="T35" fmla="*/ 2147483647 h 156"/>
                <a:gd name="T36" fmla="*/ 2147483647 w 300"/>
                <a:gd name="T37" fmla="*/ 2147483647 h 156"/>
                <a:gd name="T38" fmla="*/ 2147483647 w 300"/>
                <a:gd name="T39" fmla="*/ 2147483647 h 156"/>
                <a:gd name="T40" fmla="*/ 2147483647 w 300"/>
                <a:gd name="T41" fmla="*/ 2147483647 h 156"/>
                <a:gd name="T42" fmla="*/ 2147483647 w 300"/>
                <a:gd name="T43" fmla="*/ 2147483647 h 156"/>
                <a:gd name="T44" fmla="*/ 2147483647 w 300"/>
                <a:gd name="T45" fmla="*/ 2147483647 h 156"/>
                <a:gd name="T46" fmla="*/ 2147483647 w 300"/>
                <a:gd name="T47" fmla="*/ 2147483647 h 156"/>
                <a:gd name="T48" fmla="*/ 2147483647 w 300"/>
                <a:gd name="T49" fmla="*/ 2147483647 h 156"/>
                <a:gd name="T50" fmla="*/ 2147483647 w 300"/>
                <a:gd name="T51" fmla="*/ 2147483647 h 156"/>
                <a:gd name="T52" fmla="*/ 2147483647 w 300"/>
                <a:gd name="T53" fmla="*/ 2147483647 h 156"/>
                <a:gd name="T54" fmla="*/ 2147483647 w 300"/>
                <a:gd name="T55" fmla="*/ 2147483647 h 156"/>
                <a:gd name="T56" fmla="*/ 2147483647 w 300"/>
                <a:gd name="T57" fmla="*/ 2147483647 h 156"/>
                <a:gd name="T58" fmla="*/ 2147483647 w 300"/>
                <a:gd name="T59" fmla="*/ 2147483647 h 156"/>
                <a:gd name="T60" fmla="*/ 2147483647 w 300"/>
                <a:gd name="T61" fmla="*/ 2147483647 h 156"/>
                <a:gd name="T62" fmla="*/ 2147483647 w 300"/>
                <a:gd name="T63" fmla="*/ 2147483647 h 156"/>
                <a:gd name="T64" fmla="*/ 2147483647 w 300"/>
                <a:gd name="T65" fmla="*/ 2147483647 h 156"/>
                <a:gd name="T66" fmla="*/ 2147483647 w 300"/>
                <a:gd name="T67" fmla="*/ 2147483647 h 156"/>
                <a:gd name="T68" fmla="*/ 2147483647 w 300"/>
                <a:gd name="T69" fmla="*/ 2147483647 h 156"/>
                <a:gd name="T70" fmla="*/ 2147483647 w 300"/>
                <a:gd name="T71" fmla="*/ 2147483647 h 156"/>
                <a:gd name="T72" fmla="*/ 2147483647 w 300"/>
                <a:gd name="T73" fmla="*/ 2147483647 h 156"/>
                <a:gd name="T74" fmla="*/ 2147483647 w 300"/>
                <a:gd name="T75" fmla="*/ 2147483647 h 156"/>
                <a:gd name="T76" fmla="*/ 2147483647 w 300"/>
                <a:gd name="T77" fmla="*/ 2147483647 h 156"/>
                <a:gd name="T78" fmla="*/ 2147483647 w 300"/>
                <a:gd name="T79" fmla="*/ 2147483647 h 156"/>
                <a:gd name="T80" fmla="*/ 2147483647 w 300"/>
                <a:gd name="T81" fmla="*/ 2147483647 h 1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0"/>
                <a:gd name="T124" fmla="*/ 0 h 156"/>
                <a:gd name="T125" fmla="*/ 300 w 300"/>
                <a:gd name="T126" fmla="*/ 156 h 1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0" h="156">
                  <a:moveTo>
                    <a:pt x="0" y="49"/>
                  </a:moveTo>
                  <a:lnTo>
                    <a:pt x="3" y="44"/>
                  </a:lnTo>
                  <a:lnTo>
                    <a:pt x="19" y="40"/>
                  </a:lnTo>
                  <a:lnTo>
                    <a:pt x="26" y="29"/>
                  </a:lnTo>
                  <a:lnTo>
                    <a:pt x="31" y="29"/>
                  </a:lnTo>
                  <a:lnTo>
                    <a:pt x="38" y="20"/>
                  </a:lnTo>
                  <a:lnTo>
                    <a:pt x="44" y="20"/>
                  </a:lnTo>
                  <a:lnTo>
                    <a:pt x="52" y="27"/>
                  </a:lnTo>
                  <a:lnTo>
                    <a:pt x="60" y="26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7" y="33"/>
                  </a:lnTo>
                  <a:lnTo>
                    <a:pt x="85" y="33"/>
                  </a:lnTo>
                  <a:lnTo>
                    <a:pt x="85" y="38"/>
                  </a:lnTo>
                  <a:lnTo>
                    <a:pt x="97" y="36"/>
                  </a:lnTo>
                  <a:lnTo>
                    <a:pt x="98" y="26"/>
                  </a:lnTo>
                  <a:lnTo>
                    <a:pt x="95" y="15"/>
                  </a:lnTo>
                  <a:lnTo>
                    <a:pt x="102" y="8"/>
                  </a:lnTo>
                  <a:lnTo>
                    <a:pt x="107" y="0"/>
                  </a:lnTo>
                  <a:lnTo>
                    <a:pt x="130" y="8"/>
                  </a:lnTo>
                  <a:lnTo>
                    <a:pt x="146" y="32"/>
                  </a:lnTo>
                  <a:lnTo>
                    <a:pt x="163" y="24"/>
                  </a:lnTo>
                  <a:lnTo>
                    <a:pt x="188" y="33"/>
                  </a:lnTo>
                  <a:lnTo>
                    <a:pt x="190" y="39"/>
                  </a:lnTo>
                  <a:lnTo>
                    <a:pt x="201" y="44"/>
                  </a:lnTo>
                  <a:lnTo>
                    <a:pt x="205" y="47"/>
                  </a:lnTo>
                  <a:lnTo>
                    <a:pt x="219" y="44"/>
                  </a:lnTo>
                  <a:lnTo>
                    <a:pt x="229" y="45"/>
                  </a:lnTo>
                  <a:lnTo>
                    <a:pt x="240" y="37"/>
                  </a:lnTo>
                  <a:lnTo>
                    <a:pt x="245" y="29"/>
                  </a:lnTo>
                  <a:lnTo>
                    <a:pt x="253" y="30"/>
                  </a:lnTo>
                  <a:lnTo>
                    <a:pt x="262" y="39"/>
                  </a:lnTo>
                  <a:lnTo>
                    <a:pt x="273" y="37"/>
                  </a:lnTo>
                  <a:lnTo>
                    <a:pt x="272" y="41"/>
                  </a:lnTo>
                  <a:lnTo>
                    <a:pt x="266" y="56"/>
                  </a:lnTo>
                  <a:lnTo>
                    <a:pt x="261" y="61"/>
                  </a:lnTo>
                  <a:lnTo>
                    <a:pt x="260" y="68"/>
                  </a:lnTo>
                  <a:lnTo>
                    <a:pt x="266" y="71"/>
                  </a:lnTo>
                  <a:lnTo>
                    <a:pt x="269" y="67"/>
                  </a:lnTo>
                  <a:lnTo>
                    <a:pt x="276" y="71"/>
                  </a:lnTo>
                  <a:lnTo>
                    <a:pt x="281" y="65"/>
                  </a:lnTo>
                  <a:lnTo>
                    <a:pt x="296" y="70"/>
                  </a:lnTo>
                  <a:lnTo>
                    <a:pt x="300" y="81"/>
                  </a:lnTo>
                  <a:lnTo>
                    <a:pt x="296" y="84"/>
                  </a:lnTo>
                  <a:lnTo>
                    <a:pt x="290" y="82"/>
                  </a:lnTo>
                  <a:lnTo>
                    <a:pt x="282" y="83"/>
                  </a:lnTo>
                  <a:lnTo>
                    <a:pt x="283" y="89"/>
                  </a:lnTo>
                  <a:lnTo>
                    <a:pt x="276" y="91"/>
                  </a:lnTo>
                  <a:lnTo>
                    <a:pt x="273" y="86"/>
                  </a:lnTo>
                  <a:lnTo>
                    <a:pt x="268" y="88"/>
                  </a:lnTo>
                  <a:lnTo>
                    <a:pt x="264" y="102"/>
                  </a:lnTo>
                  <a:lnTo>
                    <a:pt x="259" y="103"/>
                  </a:lnTo>
                  <a:lnTo>
                    <a:pt x="254" y="98"/>
                  </a:lnTo>
                  <a:lnTo>
                    <a:pt x="243" y="110"/>
                  </a:lnTo>
                  <a:lnTo>
                    <a:pt x="229" y="106"/>
                  </a:lnTo>
                  <a:lnTo>
                    <a:pt x="222" y="117"/>
                  </a:lnTo>
                  <a:lnTo>
                    <a:pt x="228" y="122"/>
                  </a:lnTo>
                  <a:lnTo>
                    <a:pt x="225" y="129"/>
                  </a:lnTo>
                  <a:lnTo>
                    <a:pt x="217" y="132"/>
                  </a:lnTo>
                  <a:lnTo>
                    <a:pt x="209" y="141"/>
                  </a:lnTo>
                  <a:lnTo>
                    <a:pt x="198" y="147"/>
                  </a:lnTo>
                  <a:lnTo>
                    <a:pt x="189" y="148"/>
                  </a:lnTo>
                  <a:lnTo>
                    <a:pt x="181" y="144"/>
                  </a:lnTo>
                  <a:lnTo>
                    <a:pt x="167" y="154"/>
                  </a:lnTo>
                  <a:lnTo>
                    <a:pt x="161" y="156"/>
                  </a:lnTo>
                  <a:lnTo>
                    <a:pt x="153" y="152"/>
                  </a:lnTo>
                  <a:lnTo>
                    <a:pt x="142" y="151"/>
                  </a:lnTo>
                  <a:lnTo>
                    <a:pt x="133" y="141"/>
                  </a:lnTo>
                  <a:lnTo>
                    <a:pt x="117" y="139"/>
                  </a:lnTo>
                  <a:lnTo>
                    <a:pt x="105" y="142"/>
                  </a:lnTo>
                  <a:lnTo>
                    <a:pt x="100" y="139"/>
                  </a:lnTo>
                  <a:lnTo>
                    <a:pt x="97" y="141"/>
                  </a:lnTo>
                  <a:lnTo>
                    <a:pt x="94" y="144"/>
                  </a:lnTo>
                  <a:lnTo>
                    <a:pt x="85" y="144"/>
                  </a:lnTo>
                  <a:lnTo>
                    <a:pt x="78" y="135"/>
                  </a:lnTo>
                  <a:lnTo>
                    <a:pt x="79" y="124"/>
                  </a:lnTo>
                  <a:lnTo>
                    <a:pt x="47" y="109"/>
                  </a:lnTo>
                  <a:lnTo>
                    <a:pt x="36" y="106"/>
                  </a:lnTo>
                  <a:lnTo>
                    <a:pt x="29" y="97"/>
                  </a:lnTo>
                  <a:lnTo>
                    <a:pt x="35" y="89"/>
                  </a:lnTo>
                  <a:lnTo>
                    <a:pt x="21" y="66"/>
                  </a:lnTo>
                  <a:lnTo>
                    <a:pt x="10" y="66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6" name="Freeform 673"/>
            <p:cNvSpPr>
              <a:spLocks/>
            </p:cNvSpPr>
            <p:nvPr/>
          </p:nvSpPr>
          <p:spPr bwMode="gray">
            <a:xfrm>
              <a:off x="4226" y="1521"/>
              <a:ext cx="7" cy="3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"/>
                <a:gd name="T20" fmla="*/ 6 w 6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7" name="Freeform 674"/>
            <p:cNvSpPr>
              <a:spLocks/>
            </p:cNvSpPr>
            <p:nvPr/>
          </p:nvSpPr>
          <p:spPr bwMode="gray">
            <a:xfrm>
              <a:off x="4073" y="1505"/>
              <a:ext cx="24" cy="10"/>
            </a:xfrm>
            <a:custGeom>
              <a:avLst/>
              <a:gdLst>
                <a:gd name="T0" fmla="*/ 2147483647 w 18"/>
                <a:gd name="T1" fmla="*/ 0 h 8"/>
                <a:gd name="T2" fmla="*/ 2147483647 w 18"/>
                <a:gd name="T3" fmla="*/ 0 h 8"/>
                <a:gd name="T4" fmla="*/ 2147483647 w 18"/>
                <a:gd name="T5" fmla="*/ 0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0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8"/>
                <a:gd name="T35" fmla="*/ 18 w 1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8">
                  <a:moveTo>
                    <a:pt x="5" y="0"/>
                  </a:moveTo>
                  <a:lnTo>
                    <a:pt x="11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8" y="8"/>
                  </a:lnTo>
                  <a:lnTo>
                    <a:pt x="3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8" name="Freeform 675"/>
            <p:cNvSpPr>
              <a:spLocks/>
            </p:cNvSpPr>
            <p:nvPr/>
          </p:nvSpPr>
          <p:spPr bwMode="gray">
            <a:xfrm>
              <a:off x="4121" y="1508"/>
              <a:ext cx="10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0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w 8"/>
                <a:gd name="T11" fmla="*/ 2147483647 h 5"/>
                <a:gd name="T12" fmla="*/ 2147483647 w 8"/>
                <a:gd name="T13" fmla="*/ 2147483647 h 5"/>
                <a:gd name="T14" fmla="*/ 2147483647 w 8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6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4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3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79" name="Freeform 676"/>
            <p:cNvSpPr>
              <a:spLocks/>
            </p:cNvSpPr>
            <p:nvPr/>
          </p:nvSpPr>
          <p:spPr bwMode="gray">
            <a:xfrm>
              <a:off x="4360" y="1510"/>
              <a:ext cx="14" cy="11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0 w 11"/>
                <a:gd name="T7" fmla="*/ 0 h 8"/>
                <a:gd name="T8" fmla="*/ 2147483647 w 11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8"/>
                <a:gd name="T17" fmla="*/ 11 w 11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8">
                  <a:moveTo>
                    <a:pt x="5" y="1"/>
                  </a:moveTo>
                  <a:lnTo>
                    <a:pt x="11" y="6"/>
                  </a:lnTo>
                  <a:lnTo>
                    <a:pt x="10" y="8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0" name="Freeform 677"/>
            <p:cNvSpPr>
              <a:spLocks/>
            </p:cNvSpPr>
            <p:nvPr/>
          </p:nvSpPr>
          <p:spPr bwMode="gray">
            <a:xfrm>
              <a:off x="4384" y="1581"/>
              <a:ext cx="9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6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1" name="Freeform 678"/>
            <p:cNvSpPr>
              <a:spLocks/>
            </p:cNvSpPr>
            <p:nvPr/>
          </p:nvSpPr>
          <p:spPr bwMode="gray">
            <a:xfrm>
              <a:off x="4396" y="1574"/>
              <a:ext cx="5" cy="3"/>
            </a:xfrm>
            <a:custGeom>
              <a:avLst/>
              <a:gdLst>
                <a:gd name="T0" fmla="*/ 2147483647 w 4"/>
                <a:gd name="T1" fmla="*/ 0 h 2"/>
                <a:gd name="T2" fmla="*/ 2147483647 w 4"/>
                <a:gd name="T3" fmla="*/ 0 h 2"/>
                <a:gd name="T4" fmla="*/ 2147483647 w 4"/>
                <a:gd name="T5" fmla="*/ 2147483647 h 2"/>
                <a:gd name="T6" fmla="*/ 0 w 4"/>
                <a:gd name="T7" fmla="*/ 2147483647 h 2"/>
                <a:gd name="T8" fmla="*/ 2147483647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0"/>
                  </a:moveTo>
                  <a:lnTo>
                    <a:pt x="4" y="0"/>
                  </a:lnTo>
                  <a:lnTo>
                    <a:pt x="4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2" name="Freeform 679"/>
            <p:cNvSpPr>
              <a:spLocks/>
            </p:cNvSpPr>
            <p:nvPr/>
          </p:nvSpPr>
          <p:spPr bwMode="gray">
            <a:xfrm>
              <a:off x="4389" y="2005"/>
              <a:ext cx="10" cy="9"/>
            </a:xfrm>
            <a:custGeom>
              <a:avLst/>
              <a:gdLst>
                <a:gd name="T0" fmla="*/ 0 w 8"/>
                <a:gd name="T1" fmla="*/ 2147483647 h 7"/>
                <a:gd name="T2" fmla="*/ 0 w 8"/>
                <a:gd name="T3" fmla="*/ 2147483647 h 7"/>
                <a:gd name="T4" fmla="*/ 2147483647 w 8"/>
                <a:gd name="T5" fmla="*/ 0 h 7"/>
                <a:gd name="T6" fmla="*/ 2147483647 w 8"/>
                <a:gd name="T7" fmla="*/ 0 h 7"/>
                <a:gd name="T8" fmla="*/ 2147483647 w 8"/>
                <a:gd name="T9" fmla="*/ 2147483647 h 7"/>
                <a:gd name="T10" fmla="*/ 2147483647 w 8"/>
                <a:gd name="T11" fmla="*/ 2147483647 h 7"/>
                <a:gd name="T12" fmla="*/ 0 w 8"/>
                <a:gd name="T13" fmla="*/ 214748364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3" name="Freeform 680"/>
            <p:cNvSpPr>
              <a:spLocks/>
            </p:cNvSpPr>
            <p:nvPr/>
          </p:nvSpPr>
          <p:spPr bwMode="gray">
            <a:xfrm>
              <a:off x="4379" y="2005"/>
              <a:ext cx="7" cy="5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1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4" name="Freeform 681"/>
            <p:cNvSpPr>
              <a:spLocks/>
            </p:cNvSpPr>
            <p:nvPr/>
          </p:nvSpPr>
          <p:spPr bwMode="gray">
            <a:xfrm>
              <a:off x="4396" y="2331"/>
              <a:ext cx="9" cy="1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6" y="1"/>
                  </a:moveTo>
                  <a:lnTo>
                    <a:pt x="5" y="5"/>
                  </a:lnTo>
                  <a:lnTo>
                    <a:pt x="1" y="8"/>
                  </a:lnTo>
                  <a:lnTo>
                    <a:pt x="0" y="6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5" name="Freeform 682"/>
            <p:cNvSpPr>
              <a:spLocks/>
            </p:cNvSpPr>
            <p:nvPr/>
          </p:nvSpPr>
          <p:spPr bwMode="gray">
            <a:xfrm>
              <a:off x="4228" y="2251"/>
              <a:ext cx="80" cy="91"/>
            </a:xfrm>
            <a:custGeom>
              <a:avLst/>
              <a:gdLst>
                <a:gd name="T0" fmla="*/ 2147483647 w 61"/>
                <a:gd name="T1" fmla="*/ 2147483647 h 70"/>
                <a:gd name="T2" fmla="*/ 2147483647 w 61"/>
                <a:gd name="T3" fmla="*/ 2147483647 h 70"/>
                <a:gd name="T4" fmla="*/ 2147483647 w 61"/>
                <a:gd name="T5" fmla="*/ 2147483647 h 70"/>
                <a:gd name="T6" fmla="*/ 2147483647 w 61"/>
                <a:gd name="T7" fmla="*/ 2147483647 h 70"/>
                <a:gd name="T8" fmla="*/ 2147483647 w 61"/>
                <a:gd name="T9" fmla="*/ 2147483647 h 70"/>
                <a:gd name="T10" fmla="*/ 2147483647 w 61"/>
                <a:gd name="T11" fmla="*/ 2147483647 h 70"/>
                <a:gd name="T12" fmla="*/ 2147483647 w 61"/>
                <a:gd name="T13" fmla="*/ 2147483647 h 70"/>
                <a:gd name="T14" fmla="*/ 2147483647 w 61"/>
                <a:gd name="T15" fmla="*/ 2147483647 h 70"/>
                <a:gd name="T16" fmla="*/ 2147483647 w 61"/>
                <a:gd name="T17" fmla="*/ 2147483647 h 70"/>
                <a:gd name="T18" fmla="*/ 2147483647 w 61"/>
                <a:gd name="T19" fmla="*/ 2147483647 h 70"/>
                <a:gd name="T20" fmla="*/ 2147483647 w 61"/>
                <a:gd name="T21" fmla="*/ 2147483647 h 70"/>
                <a:gd name="T22" fmla="*/ 2147483647 w 61"/>
                <a:gd name="T23" fmla="*/ 2147483647 h 70"/>
                <a:gd name="T24" fmla="*/ 2147483647 w 61"/>
                <a:gd name="T25" fmla="*/ 2147483647 h 70"/>
                <a:gd name="T26" fmla="*/ 2147483647 w 61"/>
                <a:gd name="T27" fmla="*/ 2147483647 h 70"/>
                <a:gd name="T28" fmla="*/ 2147483647 w 61"/>
                <a:gd name="T29" fmla="*/ 2147483647 h 70"/>
                <a:gd name="T30" fmla="*/ 2147483647 w 61"/>
                <a:gd name="T31" fmla="*/ 2147483647 h 70"/>
                <a:gd name="T32" fmla="*/ 2147483647 w 61"/>
                <a:gd name="T33" fmla="*/ 2147483647 h 70"/>
                <a:gd name="T34" fmla="*/ 2147483647 w 61"/>
                <a:gd name="T35" fmla="*/ 2147483647 h 70"/>
                <a:gd name="T36" fmla="*/ 2147483647 w 61"/>
                <a:gd name="T37" fmla="*/ 2147483647 h 70"/>
                <a:gd name="T38" fmla="*/ 2147483647 w 61"/>
                <a:gd name="T39" fmla="*/ 2147483647 h 70"/>
                <a:gd name="T40" fmla="*/ 2147483647 w 61"/>
                <a:gd name="T41" fmla="*/ 2147483647 h 70"/>
                <a:gd name="T42" fmla="*/ 2147483647 w 61"/>
                <a:gd name="T43" fmla="*/ 2147483647 h 70"/>
                <a:gd name="T44" fmla="*/ 0 w 61"/>
                <a:gd name="T45" fmla="*/ 2147483647 h 70"/>
                <a:gd name="T46" fmla="*/ 2147483647 w 61"/>
                <a:gd name="T47" fmla="*/ 2147483647 h 70"/>
                <a:gd name="T48" fmla="*/ 2147483647 w 61"/>
                <a:gd name="T49" fmla="*/ 2147483647 h 70"/>
                <a:gd name="T50" fmla="*/ 2147483647 w 61"/>
                <a:gd name="T51" fmla="*/ 2147483647 h 70"/>
                <a:gd name="T52" fmla="*/ 2147483647 w 61"/>
                <a:gd name="T53" fmla="*/ 2147483647 h 70"/>
                <a:gd name="T54" fmla="*/ 2147483647 w 61"/>
                <a:gd name="T55" fmla="*/ 2147483647 h 70"/>
                <a:gd name="T56" fmla="*/ 2147483647 w 61"/>
                <a:gd name="T57" fmla="*/ 2147483647 h 70"/>
                <a:gd name="T58" fmla="*/ 2147483647 w 61"/>
                <a:gd name="T59" fmla="*/ 2147483647 h 70"/>
                <a:gd name="T60" fmla="*/ 2147483647 w 61"/>
                <a:gd name="T61" fmla="*/ 2147483647 h 70"/>
                <a:gd name="T62" fmla="*/ 2147483647 w 61"/>
                <a:gd name="T63" fmla="*/ 2147483647 h 70"/>
                <a:gd name="T64" fmla="*/ 2147483647 w 61"/>
                <a:gd name="T65" fmla="*/ 0 h 70"/>
                <a:gd name="T66" fmla="*/ 2147483647 w 61"/>
                <a:gd name="T67" fmla="*/ 2147483647 h 70"/>
                <a:gd name="T68" fmla="*/ 2147483647 w 61"/>
                <a:gd name="T69" fmla="*/ 2147483647 h 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"/>
                <a:gd name="T106" fmla="*/ 0 h 70"/>
                <a:gd name="T107" fmla="*/ 61 w 61"/>
                <a:gd name="T108" fmla="*/ 70 h 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" h="70">
                  <a:moveTo>
                    <a:pt x="61" y="5"/>
                  </a:moveTo>
                  <a:lnTo>
                    <a:pt x="55" y="13"/>
                  </a:lnTo>
                  <a:lnTo>
                    <a:pt x="52" y="19"/>
                  </a:lnTo>
                  <a:lnTo>
                    <a:pt x="53" y="25"/>
                  </a:lnTo>
                  <a:lnTo>
                    <a:pt x="46" y="34"/>
                  </a:lnTo>
                  <a:lnTo>
                    <a:pt x="38" y="40"/>
                  </a:lnTo>
                  <a:lnTo>
                    <a:pt x="32" y="41"/>
                  </a:lnTo>
                  <a:lnTo>
                    <a:pt x="30" y="44"/>
                  </a:lnTo>
                  <a:lnTo>
                    <a:pt x="30" y="51"/>
                  </a:lnTo>
                  <a:lnTo>
                    <a:pt x="34" y="52"/>
                  </a:lnTo>
                  <a:lnTo>
                    <a:pt x="40" y="57"/>
                  </a:lnTo>
                  <a:lnTo>
                    <a:pt x="26" y="61"/>
                  </a:lnTo>
                  <a:lnTo>
                    <a:pt x="19" y="69"/>
                  </a:lnTo>
                  <a:lnTo>
                    <a:pt x="18" y="69"/>
                  </a:lnTo>
                  <a:lnTo>
                    <a:pt x="13" y="70"/>
                  </a:lnTo>
                  <a:lnTo>
                    <a:pt x="9" y="70"/>
                  </a:lnTo>
                  <a:lnTo>
                    <a:pt x="5" y="65"/>
                  </a:lnTo>
                  <a:lnTo>
                    <a:pt x="11" y="59"/>
                  </a:lnTo>
                  <a:lnTo>
                    <a:pt x="10" y="53"/>
                  </a:lnTo>
                  <a:lnTo>
                    <a:pt x="10" y="48"/>
                  </a:lnTo>
                  <a:lnTo>
                    <a:pt x="6" y="47"/>
                  </a:lnTo>
                  <a:lnTo>
                    <a:pt x="3" y="46"/>
                  </a:lnTo>
                  <a:lnTo>
                    <a:pt x="0" y="43"/>
                  </a:lnTo>
                  <a:lnTo>
                    <a:pt x="5" y="34"/>
                  </a:lnTo>
                  <a:lnTo>
                    <a:pt x="17" y="29"/>
                  </a:lnTo>
                  <a:lnTo>
                    <a:pt x="24" y="15"/>
                  </a:lnTo>
                  <a:lnTo>
                    <a:pt x="28" y="16"/>
                  </a:lnTo>
                  <a:lnTo>
                    <a:pt x="28" y="23"/>
                  </a:lnTo>
                  <a:lnTo>
                    <a:pt x="36" y="22"/>
                  </a:lnTo>
                  <a:lnTo>
                    <a:pt x="39" y="19"/>
                  </a:lnTo>
                  <a:lnTo>
                    <a:pt x="37" y="10"/>
                  </a:lnTo>
                  <a:lnTo>
                    <a:pt x="44" y="10"/>
                  </a:lnTo>
                  <a:lnTo>
                    <a:pt x="54" y="0"/>
                  </a:lnTo>
                  <a:lnTo>
                    <a:pt x="58" y="3"/>
                  </a:lnTo>
                  <a:lnTo>
                    <a:pt x="61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6" name="Freeform 683"/>
            <p:cNvSpPr>
              <a:spLocks/>
            </p:cNvSpPr>
            <p:nvPr/>
          </p:nvSpPr>
          <p:spPr bwMode="gray">
            <a:xfrm>
              <a:off x="4252" y="2325"/>
              <a:ext cx="40" cy="70"/>
            </a:xfrm>
            <a:custGeom>
              <a:avLst/>
              <a:gdLst>
                <a:gd name="T0" fmla="*/ 2147483647 w 31"/>
                <a:gd name="T1" fmla="*/ 2147483647 h 54"/>
                <a:gd name="T2" fmla="*/ 2147483647 w 31"/>
                <a:gd name="T3" fmla="*/ 2147483647 h 54"/>
                <a:gd name="T4" fmla="*/ 2147483647 w 31"/>
                <a:gd name="T5" fmla="*/ 0 h 54"/>
                <a:gd name="T6" fmla="*/ 2147483647 w 31"/>
                <a:gd name="T7" fmla="*/ 2147483647 h 54"/>
                <a:gd name="T8" fmla="*/ 2147483647 w 31"/>
                <a:gd name="T9" fmla="*/ 2147483647 h 54"/>
                <a:gd name="T10" fmla="*/ 2147483647 w 31"/>
                <a:gd name="T11" fmla="*/ 2147483647 h 54"/>
                <a:gd name="T12" fmla="*/ 2147483647 w 31"/>
                <a:gd name="T13" fmla="*/ 2147483647 h 54"/>
                <a:gd name="T14" fmla="*/ 2147483647 w 31"/>
                <a:gd name="T15" fmla="*/ 2147483647 h 54"/>
                <a:gd name="T16" fmla="*/ 2147483647 w 31"/>
                <a:gd name="T17" fmla="*/ 2147483647 h 54"/>
                <a:gd name="T18" fmla="*/ 2147483647 w 31"/>
                <a:gd name="T19" fmla="*/ 2147483647 h 54"/>
                <a:gd name="T20" fmla="*/ 2147483647 w 31"/>
                <a:gd name="T21" fmla="*/ 2147483647 h 54"/>
                <a:gd name="T22" fmla="*/ 2147483647 w 31"/>
                <a:gd name="T23" fmla="*/ 2147483647 h 54"/>
                <a:gd name="T24" fmla="*/ 2147483647 w 31"/>
                <a:gd name="T25" fmla="*/ 2147483647 h 54"/>
                <a:gd name="T26" fmla="*/ 2147483647 w 31"/>
                <a:gd name="T27" fmla="*/ 2147483647 h 54"/>
                <a:gd name="T28" fmla="*/ 2147483647 w 31"/>
                <a:gd name="T29" fmla="*/ 2147483647 h 54"/>
                <a:gd name="T30" fmla="*/ 2147483647 w 31"/>
                <a:gd name="T31" fmla="*/ 2147483647 h 54"/>
                <a:gd name="T32" fmla="*/ 2147483647 w 31"/>
                <a:gd name="T33" fmla="*/ 2147483647 h 54"/>
                <a:gd name="T34" fmla="*/ 2147483647 w 31"/>
                <a:gd name="T35" fmla="*/ 2147483647 h 54"/>
                <a:gd name="T36" fmla="*/ 2147483647 w 31"/>
                <a:gd name="T37" fmla="*/ 2147483647 h 54"/>
                <a:gd name="T38" fmla="*/ 2147483647 w 31"/>
                <a:gd name="T39" fmla="*/ 2147483647 h 54"/>
                <a:gd name="T40" fmla="*/ 2147483647 w 31"/>
                <a:gd name="T41" fmla="*/ 2147483647 h 54"/>
                <a:gd name="T42" fmla="*/ 2147483647 w 31"/>
                <a:gd name="T43" fmla="*/ 2147483647 h 54"/>
                <a:gd name="T44" fmla="*/ 2147483647 w 31"/>
                <a:gd name="T45" fmla="*/ 2147483647 h 54"/>
                <a:gd name="T46" fmla="*/ 0 w 31"/>
                <a:gd name="T47" fmla="*/ 2147483647 h 54"/>
                <a:gd name="T48" fmla="*/ 2147483647 w 31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1"/>
                <a:gd name="T76" fmla="*/ 0 h 54"/>
                <a:gd name="T77" fmla="*/ 31 w 31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1" h="54">
                  <a:moveTo>
                    <a:pt x="1" y="12"/>
                  </a:moveTo>
                  <a:lnTo>
                    <a:pt x="8" y="4"/>
                  </a:lnTo>
                  <a:lnTo>
                    <a:pt x="22" y="0"/>
                  </a:lnTo>
                  <a:lnTo>
                    <a:pt x="24" y="5"/>
                  </a:lnTo>
                  <a:lnTo>
                    <a:pt x="29" y="15"/>
                  </a:lnTo>
                  <a:lnTo>
                    <a:pt x="29" y="23"/>
                  </a:lnTo>
                  <a:lnTo>
                    <a:pt x="31" y="35"/>
                  </a:lnTo>
                  <a:lnTo>
                    <a:pt x="29" y="43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9"/>
                  </a:lnTo>
                  <a:lnTo>
                    <a:pt x="16" y="50"/>
                  </a:lnTo>
                  <a:lnTo>
                    <a:pt x="10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1" y="48"/>
                  </a:lnTo>
                  <a:lnTo>
                    <a:pt x="3" y="45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5" y="15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7" name="Freeform 684"/>
            <p:cNvSpPr>
              <a:spLocks/>
            </p:cNvSpPr>
            <p:nvPr/>
          </p:nvSpPr>
          <p:spPr bwMode="gray">
            <a:xfrm>
              <a:off x="4259" y="1531"/>
              <a:ext cx="6" cy="3"/>
            </a:xfrm>
            <a:custGeom>
              <a:avLst/>
              <a:gdLst>
                <a:gd name="T0" fmla="*/ 2147483647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0 h 2"/>
                <a:gd name="T8" fmla="*/ 2147483647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8" name="Freeform 685"/>
            <p:cNvSpPr>
              <a:spLocks/>
            </p:cNvSpPr>
            <p:nvPr/>
          </p:nvSpPr>
          <p:spPr bwMode="gray">
            <a:xfrm>
              <a:off x="4244" y="1526"/>
              <a:ext cx="7" cy="5"/>
            </a:xfrm>
            <a:custGeom>
              <a:avLst/>
              <a:gdLst>
                <a:gd name="T0" fmla="*/ 2147483647 w 5"/>
                <a:gd name="T1" fmla="*/ 2147483647 h 4"/>
                <a:gd name="T2" fmla="*/ 0 w 5"/>
                <a:gd name="T3" fmla="*/ 2147483647 h 4"/>
                <a:gd name="T4" fmla="*/ 2147483647 w 5"/>
                <a:gd name="T5" fmla="*/ 2147483647 h 4"/>
                <a:gd name="T6" fmla="*/ 2147483647 w 5"/>
                <a:gd name="T7" fmla="*/ 0 h 4"/>
                <a:gd name="T8" fmla="*/ 2147483647 w 5"/>
                <a:gd name="T9" fmla="*/ 2147483647 h 4"/>
                <a:gd name="T10" fmla="*/ 2147483647 w 5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2" y="4"/>
                  </a:move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89" name="Freeform 686"/>
            <p:cNvSpPr>
              <a:spLocks/>
            </p:cNvSpPr>
            <p:nvPr/>
          </p:nvSpPr>
          <p:spPr bwMode="gray">
            <a:xfrm>
              <a:off x="4490" y="1564"/>
              <a:ext cx="11" cy="10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2147483647 w 8"/>
                <a:gd name="T15" fmla="*/ 2147483647 h 8"/>
                <a:gd name="T16" fmla="*/ 0 w 8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8"/>
                <a:gd name="T29" fmla="*/ 8 w 8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8">
                  <a:moveTo>
                    <a:pt x="0" y="3"/>
                  </a:moveTo>
                  <a:lnTo>
                    <a:pt x="1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6" y="6"/>
                  </a:lnTo>
                  <a:lnTo>
                    <a:pt x="2" y="8"/>
                  </a:lnTo>
                  <a:lnTo>
                    <a:pt x="2" y="6"/>
                  </a:lnTo>
                  <a:lnTo>
                    <a:pt x="5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0" name="Freeform 687"/>
            <p:cNvSpPr>
              <a:spLocks/>
            </p:cNvSpPr>
            <p:nvPr/>
          </p:nvSpPr>
          <p:spPr bwMode="gray">
            <a:xfrm>
              <a:off x="4497" y="1475"/>
              <a:ext cx="56" cy="23"/>
            </a:xfrm>
            <a:custGeom>
              <a:avLst/>
              <a:gdLst>
                <a:gd name="T0" fmla="*/ 0 w 43"/>
                <a:gd name="T1" fmla="*/ 0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2147483647 h 17"/>
                <a:gd name="T28" fmla="*/ 2147483647 w 43"/>
                <a:gd name="T29" fmla="*/ 2147483647 h 17"/>
                <a:gd name="T30" fmla="*/ 0 w 43"/>
                <a:gd name="T31" fmla="*/ 0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3"/>
                <a:gd name="T49" fmla="*/ 0 h 17"/>
                <a:gd name="T50" fmla="*/ 43 w 43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3" h="17">
                  <a:moveTo>
                    <a:pt x="0" y="0"/>
                  </a:moveTo>
                  <a:lnTo>
                    <a:pt x="3" y="1"/>
                  </a:lnTo>
                  <a:lnTo>
                    <a:pt x="8" y="3"/>
                  </a:lnTo>
                  <a:lnTo>
                    <a:pt x="21" y="3"/>
                  </a:lnTo>
                  <a:lnTo>
                    <a:pt x="23" y="5"/>
                  </a:lnTo>
                  <a:lnTo>
                    <a:pt x="31" y="6"/>
                  </a:lnTo>
                  <a:lnTo>
                    <a:pt x="40" y="8"/>
                  </a:lnTo>
                  <a:lnTo>
                    <a:pt x="43" y="10"/>
                  </a:lnTo>
                  <a:lnTo>
                    <a:pt x="41" y="14"/>
                  </a:lnTo>
                  <a:lnTo>
                    <a:pt x="32" y="17"/>
                  </a:lnTo>
                  <a:lnTo>
                    <a:pt x="23" y="16"/>
                  </a:lnTo>
                  <a:lnTo>
                    <a:pt x="14" y="11"/>
                  </a:lnTo>
                  <a:lnTo>
                    <a:pt x="8" y="9"/>
                  </a:lnTo>
                  <a:lnTo>
                    <a:pt x="7" y="6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1" name="Freeform 688"/>
            <p:cNvSpPr>
              <a:spLocks/>
            </p:cNvSpPr>
            <p:nvPr/>
          </p:nvSpPr>
          <p:spPr bwMode="gray">
            <a:xfrm>
              <a:off x="4524" y="1447"/>
              <a:ext cx="9" cy="2"/>
            </a:xfrm>
            <a:custGeom>
              <a:avLst/>
              <a:gdLst>
                <a:gd name="T0" fmla="*/ 0 w 7"/>
                <a:gd name="T1" fmla="*/ 2147483646 h 2"/>
                <a:gd name="T2" fmla="*/ 0 w 7"/>
                <a:gd name="T3" fmla="*/ 2147483646 h 2"/>
                <a:gd name="T4" fmla="*/ 2147483647 w 7"/>
                <a:gd name="T5" fmla="*/ 0 h 2"/>
                <a:gd name="T6" fmla="*/ 2147483647 w 7"/>
                <a:gd name="T7" fmla="*/ 2147483646 h 2"/>
                <a:gd name="T8" fmla="*/ 0 w 7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2" name="Freeform 689"/>
            <p:cNvSpPr>
              <a:spLocks/>
            </p:cNvSpPr>
            <p:nvPr/>
          </p:nvSpPr>
          <p:spPr bwMode="gray">
            <a:xfrm>
              <a:off x="4574" y="1463"/>
              <a:ext cx="5" cy="2"/>
            </a:xfrm>
            <a:custGeom>
              <a:avLst/>
              <a:gdLst>
                <a:gd name="T0" fmla="*/ 0 w 4"/>
                <a:gd name="T1" fmla="*/ 0 h 2"/>
                <a:gd name="T2" fmla="*/ 2147483647 w 4"/>
                <a:gd name="T3" fmla="*/ 0 h 2"/>
                <a:gd name="T4" fmla="*/ 2147483647 w 4"/>
                <a:gd name="T5" fmla="*/ 2147483646 h 2"/>
                <a:gd name="T6" fmla="*/ 0 w 4"/>
                <a:gd name="T7" fmla="*/ 2147483646 h 2"/>
                <a:gd name="T8" fmla="*/ 0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3" name="Freeform 690"/>
            <p:cNvSpPr>
              <a:spLocks/>
            </p:cNvSpPr>
            <p:nvPr/>
          </p:nvSpPr>
          <p:spPr bwMode="gray">
            <a:xfrm>
              <a:off x="4489" y="2221"/>
              <a:ext cx="11" cy="11"/>
            </a:xfrm>
            <a:custGeom>
              <a:avLst/>
              <a:gdLst>
                <a:gd name="T0" fmla="*/ 0 w 8"/>
                <a:gd name="T1" fmla="*/ 2147483647 h 8"/>
                <a:gd name="T2" fmla="*/ 2147483647 w 8"/>
                <a:gd name="T3" fmla="*/ 0 h 8"/>
                <a:gd name="T4" fmla="*/ 2147483647 w 8"/>
                <a:gd name="T5" fmla="*/ 0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w 8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0" y="8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1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4" name="Freeform 691"/>
            <p:cNvSpPr>
              <a:spLocks/>
            </p:cNvSpPr>
            <p:nvPr/>
          </p:nvSpPr>
          <p:spPr bwMode="gray">
            <a:xfrm>
              <a:off x="4503" y="2203"/>
              <a:ext cx="26" cy="20"/>
            </a:xfrm>
            <a:custGeom>
              <a:avLst/>
              <a:gdLst>
                <a:gd name="T0" fmla="*/ 0 w 20"/>
                <a:gd name="T1" fmla="*/ 2147483647 h 16"/>
                <a:gd name="T2" fmla="*/ 2147483647 w 20"/>
                <a:gd name="T3" fmla="*/ 2147483647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2147483647 w 20"/>
                <a:gd name="T9" fmla="*/ 2147483647 h 16"/>
                <a:gd name="T10" fmla="*/ 2147483647 w 20"/>
                <a:gd name="T11" fmla="*/ 0 h 16"/>
                <a:gd name="T12" fmla="*/ 2147483647 w 20"/>
                <a:gd name="T13" fmla="*/ 2147483647 h 16"/>
                <a:gd name="T14" fmla="*/ 2147483647 w 20"/>
                <a:gd name="T15" fmla="*/ 2147483647 h 16"/>
                <a:gd name="T16" fmla="*/ 2147483647 w 20"/>
                <a:gd name="T17" fmla="*/ 2147483647 h 16"/>
                <a:gd name="T18" fmla="*/ 0 w 20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6"/>
                <a:gd name="T32" fmla="*/ 20 w 20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6">
                  <a:moveTo>
                    <a:pt x="0" y="16"/>
                  </a:moveTo>
                  <a:lnTo>
                    <a:pt x="1" y="12"/>
                  </a:lnTo>
                  <a:lnTo>
                    <a:pt x="9" y="2"/>
                  </a:lnTo>
                  <a:lnTo>
                    <a:pt x="10" y="4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14" y="6"/>
                  </a:lnTo>
                  <a:lnTo>
                    <a:pt x="7" y="9"/>
                  </a:lnTo>
                  <a:lnTo>
                    <a:pt x="2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5" name="Freeform 692"/>
            <p:cNvSpPr>
              <a:spLocks/>
            </p:cNvSpPr>
            <p:nvPr/>
          </p:nvSpPr>
          <p:spPr bwMode="gray">
            <a:xfrm>
              <a:off x="4500" y="2232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0 w 4"/>
                <a:gd name="T3" fmla="*/ 0 h 2"/>
                <a:gd name="T4" fmla="*/ 2147483647 w 4"/>
                <a:gd name="T5" fmla="*/ 0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6" name="Freeform 693"/>
            <p:cNvSpPr>
              <a:spLocks/>
            </p:cNvSpPr>
            <p:nvPr/>
          </p:nvSpPr>
          <p:spPr bwMode="gray">
            <a:xfrm>
              <a:off x="4533" y="2190"/>
              <a:ext cx="16" cy="10"/>
            </a:xfrm>
            <a:custGeom>
              <a:avLst/>
              <a:gdLst>
                <a:gd name="T0" fmla="*/ 0 w 12"/>
                <a:gd name="T1" fmla="*/ 2147483647 h 8"/>
                <a:gd name="T2" fmla="*/ 2147483647 w 12"/>
                <a:gd name="T3" fmla="*/ 0 h 8"/>
                <a:gd name="T4" fmla="*/ 2147483647 w 12"/>
                <a:gd name="T5" fmla="*/ 0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0 w 12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8"/>
                <a:gd name="T23" fmla="*/ 12 w 1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8">
                  <a:moveTo>
                    <a:pt x="0" y="8"/>
                  </a:moveTo>
                  <a:lnTo>
                    <a:pt x="7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5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7" name="Freeform 694"/>
            <p:cNvSpPr>
              <a:spLocks/>
            </p:cNvSpPr>
            <p:nvPr/>
          </p:nvSpPr>
          <p:spPr bwMode="gray">
            <a:xfrm>
              <a:off x="4561" y="2170"/>
              <a:ext cx="9" cy="10"/>
            </a:xfrm>
            <a:custGeom>
              <a:avLst/>
              <a:gdLst>
                <a:gd name="T0" fmla="*/ 0 w 7"/>
                <a:gd name="T1" fmla="*/ 2147483647 h 8"/>
                <a:gd name="T2" fmla="*/ 2147483647 w 7"/>
                <a:gd name="T3" fmla="*/ 0 h 8"/>
                <a:gd name="T4" fmla="*/ 2147483647 w 7"/>
                <a:gd name="T5" fmla="*/ 2147483647 h 8"/>
                <a:gd name="T6" fmla="*/ 2147483647 w 7"/>
                <a:gd name="T7" fmla="*/ 2147483647 h 8"/>
                <a:gd name="T8" fmla="*/ 2147483647 w 7"/>
                <a:gd name="T9" fmla="*/ 2147483647 h 8"/>
                <a:gd name="T10" fmla="*/ 0 w 7"/>
                <a:gd name="T11" fmla="*/ 2147483647 h 8"/>
                <a:gd name="T12" fmla="*/ 0 w 7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0" y="5"/>
                  </a:moveTo>
                  <a:lnTo>
                    <a:pt x="5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3" y="7"/>
                  </a:lnTo>
                  <a:lnTo>
                    <a:pt x="0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8" name="Freeform 695"/>
            <p:cNvSpPr>
              <a:spLocks/>
            </p:cNvSpPr>
            <p:nvPr/>
          </p:nvSpPr>
          <p:spPr bwMode="gray">
            <a:xfrm>
              <a:off x="4602" y="2101"/>
              <a:ext cx="12" cy="13"/>
            </a:xfrm>
            <a:custGeom>
              <a:avLst/>
              <a:gdLst>
                <a:gd name="T0" fmla="*/ 2147483647 w 9"/>
                <a:gd name="T1" fmla="*/ 0 h 10"/>
                <a:gd name="T2" fmla="*/ 2147483647 w 9"/>
                <a:gd name="T3" fmla="*/ 0 h 10"/>
                <a:gd name="T4" fmla="*/ 2147483647 w 9"/>
                <a:gd name="T5" fmla="*/ 2147483647 h 10"/>
                <a:gd name="T6" fmla="*/ 2147483647 w 9"/>
                <a:gd name="T7" fmla="*/ 2147483647 h 10"/>
                <a:gd name="T8" fmla="*/ 0 w 9"/>
                <a:gd name="T9" fmla="*/ 2147483647 h 10"/>
                <a:gd name="T10" fmla="*/ 2147483647 w 9"/>
                <a:gd name="T11" fmla="*/ 2147483647 h 10"/>
                <a:gd name="T12" fmla="*/ 2147483647 w 9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0"/>
                <a:gd name="T23" fmla="*/ 9 w 9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0">
                  <a:moveTo>
                    <a:pt x="8" y="0"/>
                  </a:moveTo>
                  <a:lnTo>
                    <a:pt x="9" y="0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499" name="Freeform 696"/>
            <p:cNvSpPr>
              <a:spLocks/>
            </p:cNvSpPr>
            <p:nvPr/>
          </p:nvSpPr>
          <p:spPr bwMode="gray">
            <a:xfrm>
              <a:off x="4596" y="2121"/>
              <a:ext cx="5" cy="9"/>
            </a:xfrm>
            <a:custGeom>
              <a:avLst/>
              <a:gdLst>
                <a:gd name="T0" fmla="*/ 2147483647 w 4"/>
                <a:gd name="T1" fmla="*/ 0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0 w 4"/>
                <a:gd name="T7" fmla="*/ 2147483647 h 6"/>
                <a:gd name="T8" fmla="*/ 2147483647 w 4"/>
                <a:gd name="T9" fmla="*/ 0 h 6"/>
                <a:gd name="T10" fmla="*/ 2147483647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4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0" name="Freeform 697"/>
            <p:cNvSpPr>
              <a:spLocks/>
            </p:cNvSpPr>
            <p:nvPr/>
          </p:nvSpPr>
          <p:spPr bwMode="gray">
            <a:xfrm>
              <a:off x="4590" y="2135"/>
              <a:ext cx="5" cy="7"/>
            </a:xfrm>
            <a:custGeom>
              <a:avLst/>
              <a:gdLst>
                <a:gd name="T0" fmla="*/ 0 w 4"/>
                <a:gd name="T1" fmla="*/ 2147483647 h 5"/>
                <a:gd name="T2" fmla="*/ 2147483647 w 4"/>
                <a:gd name="T3" fmla="*/ 0 h 5"/>
                <a:gd name="T4" fmla="*/ 2147483647 w 4"/>
                <a:gd name="T5" fmla="*/ 0 h 5"/>
                <a:gd name="T6" fmla="*/ 2147483647 w 4"/>
                <a:gd name="T7" fmla="*/ 2147483647 h 5"/>
                <a:gd name="T8" fmla="*/ 2147483647 w 4"/>
                <a:gd name="T9" fmla="*/ 2147483647 h 5"/>
                <a:gd name="T10" fmla="*/ 0 w 4"/>
                <a:gd name="T11" fmla="*/ 2147483647 h 5"/>
                <a:gd name="T12" fmla="*/ 0 w 4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1" name="Freeform 698"/>
            <p:cNvSpPr>
              <a:spLocks/>
            </p:cNvSpPr>
            <p:nvPr/>
          </p:nvSpPr>
          <p:spPr bwMode="gray">
            <a:xfrm>
              <a:off x="4579" y="2147"/>
              <a:ext cx="4" cy="6"/>
            </a:xfrm>
            <a:custGeom>
              <a:avLst/>
              <a:gdLst>
                <a:gd name="T0" fmla="*/ 0 w 3"/>
                <a:gd name="T1" fmla="*/ 2147483647 h 4"/>
                <a:gd name="T2" fmla="*/ 0 w 3"/>
                <a:gd name="T3" fmla="*/ 2147483647 h 4"/>
                <a:gd name="T4" fmla="*/ 2147483647 w 3"/>
                <a:gd name="T5" fmla="*/ 0 h 4"/>
                <a:gd name="T6" fmla="*/ 2147483647 w 3"/>
                <a:gd name="T7" fmla="*/ 2147483647 h 4"/>
                <a:gd name="T8" fmla="*/ 2147483647 w 3"/>
                <a:gd name="T9" fmla="*/ 2147483647 h 4"/>
                <a:gd name="T10" fmla="*/ 0 w 3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2" name="Freeform 699"/>
            <p:cNvSpPr>
              <a:spLocks/>
            </p:cNvSpPr>
            <p:nvPr/>
          </p:nvSpPr>
          <p:spPr bwMode="gray">
            <a:xfrm>
              <a:off x="4443" y="2023"/>
              <a:ext cx="34" cy="169"/>
            </a:xfrm>
            <a:custGeom>
              <a:avLst/>
              <a:gdLst>
                <a:gd name="T0" fmla="*/ 2147483647 w 27"/>
                <a:gd name="T1" fmla="*/ 2147483647 h 130"/>
                <a:gd name="T2" fmla="*/ 2147483647 w 27"/>
                <a:gd name="T3" fmla="*/ 2147483647 h 130"/>
                <a:gd name="T4" fmla="*/ 2147483647 w 27"/>
                <a:gd name="T5" fmla="*/ 2147483647 h 130"/>
                <a:gd name="T6" fmla="*/ 2147483647 w 27"/>
                <a:gd name="T7" fmla="*/ 2147483647 h 130"/>
                <a:gd name="T8" fmla="*/ 2147483647 w 27"/>
                <a:gd name="T9" fmla="*/ 2147483647 h 130"/>
                <a:gd name="T10" fmla="*/ 2147483647 w 27"/>
                <a:gd name="T11" fmla="*/ 2147483647 h 130"/>
                <a:gd name="T12" fmla="*/ 2147483647 w 27"/>
                <a:gd name="T13" fmla="*/ 2147483647 h 130"/>
                <a:gd name="T14" fmla="*/ 2147483647 w 27"/>
                <a:gd name="T15" fmla="*/ 2147483647 h 130"/>
                <a:gd name="T16" fmla="*/ 2147483647 w 27"/>
                <a:gd name="T17" fmla="*/ 2147483647 h 130"/>
                <a:gd name="T18" fmla="*/ 2147483647 w 27"/>
                <a:gd name="T19" fmla="*/ 2147483647 h 130"/>
                <a:gd name="T20" fmla="*/ 2147483647 w 27"/>
                <a:gd name="T21" fmla="*/ 2147483647 h 130"/>
                <a:gd name="T22" fmla="*/ 2147483647 w 27"/>
                <a:gd name="T23" fmla="*/ 2147483647 h 130"/>
                <a:gd name="T24" fmla="*/ 2147483647 w 27"/>
                <a:gd name="T25" fmla="*/ 2147483647 h 130"/>
                <a:gd name="T26" fmla="*/ 2147483647 w 27"/>
                <a:gd name="T27" fmla="*/ 2147483647 h 130"/>
                <a:gd name="T28" fmla="*/ 2147483647 w 27"/>
                <a:gd name="T29" fmla="*/ 2147483647 h 130"/>
                <a:gd name="T30" fmla="*/ 2147483647 w 27"/>
                <a:gd name="T31" fmla="*/ 2147483647 h 130"/>
                <a:gd name="T32" fmla="*/ 2147483647 w 27"/>
                <a:gd name="T33" fmla="*/ 2147483647 h 130"/>
                <a:gd name="T34" fmla="*/ 2147483647 w 27"/>
                <a:gd name="T35" fmla="*/ 2147483647 h 130"/>
                <a:gd name="T36" fmla="*/ 2147483647 w 27"/>
                <a:gd name="T37" fmla="*/ 2147483647 h 130"/>
                <a:gd name="T38" fmla="*/ 2147483647 w 27"/>
                <a:gd name="T39" fmla="*/ 2147483647 h 130"/>
                <a:gd name="T40" fmla="*/ 2147483647 w 27"/>
                <a:gd name="T41" fmla="*/ 2147483647 h 130"/>
                <a:gd name="T42" fmla="*/ 2147483647 w 27"/>
                <a:gd name="T43" fmla="*/ 2147483647 h 130"/>
                <a:gd name="T44" fmla="*/ 2147483647 w 27"/>
                <a:gd name="T45" fmla="*/ 2147483647 h 130"/>
                <a:gd name="T46" fmla="*/ 2147483647 w 27"/>
                <a:gd name="T47" fmla="*/ 2147483647 h 130"/>
                <a:gd name="T48" fmla="*/ 2147483647 w 27"/>
                <a:gd name="T49" fmla="*/ 2147483647 h 130"/>
                <a:gd name="T50" fmla="*/ 2147483647 w 27"/>
                <a:gd name="T51" fmla="*/ 2147483647 h 130"/>
                <a:gd name="T52" fmla="*/ 2147483647 w 27"/>
                <a:gd name="T53" fmla="*/ 2147483647 h 130"/>
                <a:gd name="T54" fmla="*/ 2147483647 w 27"/>
                <a:gd name="T55" fmla="*/ 2147483647 h 130"/>
                <a:gd name="T56" fmla="*/ 2147483647 w 27"/>
                <a:gd name="T57" fmla="*/ 2147483647 h 130"/>
                <a:gd name="T58" fmla="*/ 2147483647 w 27"/>
                <a:gd name="T59" fmla="*/ 2147483647 h 130"/>
                <a:gd name="T60" fmla="*/ 2147483647 w 27"/>
                <a:gd name="T61" fmla="*/ 2147483647 h 130"/>
                <a:gd name="T62" fmla="*/ 2147483647 w 27"/>
                <a:gd name="T63" fmla="*/ 2147483647 h 130"/>
                <a:gd name="T64" fmla="*/ 2147483647 w 27"/>
                <a:gd name="T65" fmla="*/ 2147483647 h 130"/>
                <a:gd name="T66" fmla="*/ 2147483647 w 27"/>
                <a:gd name="T67" fmla="*/ 2147483647 h 130"/>
                <a:gd name="T68" fmla="*/ 2147483647 w 27"/>
                <a:gd name="T69" fmla="*/ 2147483647 h 130"/>
                <a:gd name="T70" fmla="*/ 2147483647 w 27"/>
                <a:gd name="T71" fmla="*/ 2147483647 h 130"/>
                <a:gd name="T72" fmla="*/ 2147483647 w 27"/>
                <a:gd name="T73" fmla="*/ 2147483647 h 130"/>
                <a:gd name="T74" fmla="*/ 2147483647 w 27"/>
                <a:gd name="T75" fmla="*/ 2147483647 h 130"/>
                <a:gd name="T76" fmla="*/ 2147483647 w 27"/>
                <a:gd name="T77" fmla="*/ 2147483647 h 130"/>
                <a:gd name="T78" fmla="*/ 0 w 27"/>
                <a:gd name="T79" fmla="*/ 2147483647 h 130"/>
                <a:gd name="T80" fmla="*/ 2147483647 w 27"/>
                <a:gd name="T81" fmla="*/ 2147483647 h 130"/>
                <a:gd name="T82" fmla="*/ 0 w 27"/>
                <a:gd name="T83" fmla="*/ 2147483647 h 130"/>
                <a:gd name="T84" fmla="*/ 2147483647 w 27"/>
                <a:gd name="T85" fmla="*/ 2147483647 h 130"/>
                <a:gd name="T86" fmla="*/ 0 w 27"/>
                <a:gd name="T87" fmla="*/ 2147483647 h 130"/>
                <a:gd name="T88" fmla="*/ 2147483647 w 27"/>
                <a:gd name="T89" fmla="*/ 2147483647 h 130"/>
                <a:gd name="T90" fmla="*/ 2147483647 w 27"/>
                <a:gd name="T91" fmla="*/ 2147483647 h 130"/>
                <a:gd name="T92" fmla="*/ 2147483647 w 27"/>
                <a:gd name="T93" fmla="*/ 2147483647 h 130"/>
                <a:gd name="T94" fmla="*/ 2147483647 w 27"/>
                <a:gd name="T95" fmla="*/ 2147483647 h 130"/>
                <a:gd name="T96" fmla="*/ 2147483647 w 27"/>
                <a:gd name="T97" fmla="*/ 0 h 130"/>
                <a:gd name="T98" fmla="*/ 2147483647 w 27"/>
                <a:gd name="T99" fmla="*/ 0 h 130"/>
                <a:gd name="T100" fmla="*/ 2147483647 w 27"/>
                <a:gd name="T101" fmla="*/ 2147483647 h 1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"/>
                <a:gd name="T154" fmla="*/ 0 h 130"/>
                <a:gd name="T155" fmla="*/ 27 w 27"/>
                <a:gd name="T156" fmla="*/ 130 h 1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" h="130">
                  <a:moveTo>
                    <a:pt x="11" y="3"/>
                  </a:moveTo>
                  <a:lnTo>
                    <a:pt x="13" y="6"/>
                  </a:lnTo>
                  <a:lnTo>
                    <a:pt x="14" y="15"/>
                  </a:lnTo>
                  <a:lnTo>
                    <a:pt x="14" y="26"/>
                  </a:lnTo>
                  <a:lnTo>
                    <a:pt x="15" y="34"/>
                  </a:lnTo>
                  <a:lnTo>
                    <a:pt x="17" y="52"/>
                  </a:lnTo>
                  <a:lnTo>
                    <a:pt x="20" y="64"/>
                  </a:lnTo>
                  <a:lnTo>
                    <a:pt x="22" y="77"/>
                  </a:lnTo>
                  <a:lnTo>
                    <a:pt x="26" y="82"/>
                  </a:lnTo>
                  <a:lnTo>
                    <a:pt x="27" y="87"/>
                  </a:lnTo>
                  <a:lnTo>
                    <a:pt x="26" y="89"/>
                  </a:lnTo>
                  <a:lnTo>
                    <a:pt x="24" y="88"/>
                  </a:lnTo>
                  <a:lnTo>
                    <a:pt x="24" y="87"/>
                  </a:lnTo>
                  <a:lnTo>
                    <a:pt x="19" y="81"/>
                  </a:lnTo>
                  <a:lnTo>
                    <a:pt x="15" y="80"/>
                  </a:lnTo>
                  <a:lnTo>
                    <a:pt x="13" y="82"/>
                  </a:lnTo>
                  <a:lnTo>
                    <a:pt x="12" y="92"/>
                  </a:lnTo>
                  <a:lnTo>
                    <a:pt x="10" y="95"/>
                  </a:lnTo>
                  <a:lnTo>
                    <a:pt x="10" y="98"/>
                  </a:lnTo>
                  <a:lnTo>
                    <a:pt x="9" y="102"/>
                  </a:lnTo>
                  <a:lnTo>
                    <a:pt x="9" y="111"/>
                  </a:lnTo>
                  <a:lnTo>
                    <a:pt x="12" y="116"/>
                  </a:lnTo>
                  <a:lnTo>
                    <a:pt x="17" y="120"/>
                  </a:lnTo>
                  <a:lnTo>
                    <a:pt x="17" y="126"/>
                  </a:lnTo>
                  <a:lnTo>
                    <a:pt x="14" y="129"/>
                  </a:lnTo>
                  <a:lnTo>
                    <a:pt x="11" y="124"/>
                  </a:lnTo>
                  <a:lnTo>
                    <a:pt x="9" y="122"/>
                  </a:lnTo>
                  <a:lnTo>
                    <a:pt x="6" y="125"/>
                  </a:lnTo>
                  <a:lnTo>
                    <a:pt x="4" y="129"/>
                  </a:lnTo>
                  <a:lnTo>
                    <a:pt x="2" y="130"/>
                  </a:lnTo>
                  <a:lnTo>
                    <a:pt x="2" y="115"/>
                  </a:lnTo>
                  <a:lnTo>
                    <a:pt x="3" y="108"/>
                  </a:lnTo>
                  <a:lnTo>
                    <a:pt x="3" y="99"/>
                  </a:lnTo>
                  <a:lnTo>
                    <a:pt x="2" y="94"/>
                  </a:lnTo>
                  <a:lnTo>
                    <a:pt x="3" y="83"/>
                  </a:lnTo>
                  <a:lnTo>
                    <a:pt x="5" y="76"/>
                  </a:lnTo>
                  <a:lnTo>
                    <a:pt x="4" y="70"/>
                  </a:lnTo>
                  <a:lnTo>
                    <a:pt x="4" y="51"/>
                  </a:lnTo>
                  <a:lnTo>
                    <a:pt x="1" y="47"/>
                  </a:lnTo>
                  <a:lnTo>
                    <a:pt x="0" y="36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1" y="21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6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3" name="Freeform 700"/>
            <p:cNvSpPr>
              <a:spLocks/>
            </p:cNvSpPr>
            <p:nvPr/>
          </p:nvSpPr>
          <p:spPr bwMode="gray">
            <a:xfrm>
              <a:off x="4413" y="2205"/>
              <a:ext cx="76" cy="69"/>
            </a:xfrm>
            <a:custGeom>
              <a:avLst/>
              <a:gdLst>
                <a:gd name="T0" fmla="*/ 2147483647 w 58"/>
                <a:gd name="T1" fmla="*/ 2147483647 h 53"/>
                <a:gd name="T2" fmla="*/ 2147483647 w 58"/>
                <a:gd name="T3" fmla="*/ 0 h 53"/>
                <a:gd name="T4" fmla="*/ 2147483647 w 58"/>
                <a:gd name="T5" fmla="*/ 0 h 53"/>
                <a:gd name="T6" fmla="*/ 2147483647 w 58"/>
                <a:gd name="T7" fmla="*/ 2147483647 h 53"/>
                <a:gd name="T8" fmla="*/ 2147483647 w 58"/>
                <a:gd name="T9" fmla="*/ 2147483647 h 53"/>
                <a:gd name="T10" fmla="*/ 2147483647 w 58"/>
                <a:gd name="T11" fmla="*/ 2147483647 h 53"/>
                <a:gd name="T12" fmla="*/ 2147483647 w 58"/>
                <a:gd name="T13" fmla="*/ 2147483647 h 53"/>
                <a:gd name="T14" fmla="*/ 2147483647 w 58"/>
                <a:gd name="T15" fmla="*/ 2147483647 h 53"/>
                <a:gd name="T16" fmla="*/ 2147483647 w 58"/>
                <a:gd name="T17" fmla="*/ 2147483647 h 53"/>
                <a:gd name="T18" fmla="*/ 2147483647 w 58"/>
                <a:gd name="T19" fmla="*/ 2147483647 h 53"/>
                <a:gd name="T20" fmla="*/ 2147483647 w 58"/>
                <a:gd name="T21" fmla="*/ 2147483647 h 53"/>
                <a:gd name="T22" fmla="*/ 2147483647 w 58"/>
                <a:gd name="T23" fmla="*/ 2147483647 h 53"/>
                <a:gd name="T24" fmla="*/ 2147483647 w 58"/>
                <a:gd name="T25" fmla="*/ 2147483647 h 53"/>
                <a:gd name="T26" fmla="*/ 2147483647 w 58"/>
                <a:gd name="T27" fmla="*/ 2147483647 h 53"/>
                <a:gd name="T28" fmla="*/ 2147483647 w 58"/>
                <a:gd name="T29" fmla="*/ 2147483647 h 53"/>
                <a:gd name="T30" fmla="*/ 2147483647 w 58"/>
                <a:gd name="T31" fmla="*/ 2147483647 h 53"/>
                <a:gd name="T32" fmla="*/ 2147483647 w 58"/>
                <a:gd name="T33" fmla="*/ 2147483647 h 53"/>
                <a:gd name="T34" fmla="*/ 2147483647 w 58"/>
                <a:gd name="T35" fmla="*/ 2147483647 h 53"/>
                <a:gd name="T36" fmla="*/ 2147483647 w 58"/>
                <a:gd name="T37" fmla="*/ 2147483647 h 53"/>
                <a:gd name="T38" fmla="*/ 2147483647 w 58"/>
                <a:gd name="T39" fmla="*/ 2147483647 h 53"/>
                <a:gd name="T40" fmla="*/ 2147483647 w 58"/>
                <a:gd name="T41" fmla="*/ 2147483647 h 53"/>
                <a:gd name="T42" fmla="*/ 2147483647 w 58"/>
                <a:gd name="T43" fmla="*/ 2147483647 h 53"/>
                <a:gd name="T44" fmla="*/ 2147483647 w 58"/>
                <a:gd name="T45" fmla="*/ 2147483647 h 53"/>
                <a:gd name="T46" fmla="*/ 2147483647 w 58"/>
                <a:gd name="T47" fmla="*/ 2147483647 h 53"/>
                <a:gd name="T48" fmla="*/ 2147483647 w 58"/>
                <a:gd name="T49" fmla="*/ 2147483647 h 53"/>
                <a:gd name="T50" fmla="*/ 2147483647 w 58"/>
                <a:gd name="T51" fmla="*/ 2147483647 h 53"/>
                <a:gd name="T52" fmla="*/ 2147483647 w 58"/>
                <a:gd name="T53" fmla="*/ 2147483647 h 53"/>
                <a:gd name="T54" fmla="*/ 2147483647 w 58"/>
                <a:gd name="T55" fmla="*/ 2147483647 h 53"/>
                <a:gd name="T56" fmla="*/ 2147483647 w 58"/>
                <a:gd name="T57" fmla="*/ 2147483647 h 53"/>
                <a:gd name="T58" fmla="*/ 2147483647 w 58"/>
                <a:gd name="T59" fmla="*/ 2147483647 h 53"/>
                <a:gd name="T60" fmla="*/ 2147483647 w 58"/>
                <a:gd name="T61" fmla="*/ 2147483647 h 53"/>
                <a:gd name="T62" fmla="*/ 0 w 58"/>
                <a:gd name="T63" fmla="*/ 2147483647 h 53"/>
                <a:gd name="T64" fmla="*/ 2147483647 w 58"/>
                <a:gd name="T65" fmla="*/ 2147483647 h 53"/>
                <a:gd name="T66" fmla="*/ 2147483647 w 58"/>
                <a:gd name="T67" fmla="*/ 2147483647 h 53"/>
                <a:gd name="T68" fmla="*/ 2147483647 w 58"/>
                <a:gd name="T69" fmla="*/ 2147483647 h 53"/>
                <a:gd name="T70" fmla="*/ 2147483647 w 58"/>
                <a:gd name="T71" fmla="*/ 2147483647 h 53"/>
                <a:gd name="T72" fmla="*/ 2147483647 w 58"/>
                <a:gd name="T73" fmla="*/ 2147483647 h 53"/>
                <a:gd name="T74" fmla="*/ 2147483647 w 58"/>
                <a:gd name="T75" fmla="*/ 2147483647 h 53"/>
                <a:gd name="T76" fmla="*/ 2147483647 w 58"/>
                <a:gd name="T77" fmla="*/ 2147483647 h 53"/>
                <a:gd name="T78" fmla="*/ 2147483647 w 58"/>
                <a:gd name="T79" fmla="*/ 2147483647 h 53"/>
                <a:gd name="T80" fmla="*/ 2147483647 w 58"/>
                <a:gd name="T81" fmla="*/ 2147483647 h 53"/>
                <a:gd name="T82" fmla="*/ 2147483647 w 58"/>
                <a:gd name="T83" fmla="*/ 2147483647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8"/>
                <a:gd name="T127" fmla="*/ 0 h 53"/>
                <a:gd name="T128" fmla="*/ 58 w 58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8" h="53">
                  <a:moveTo>
                    <a:pt x="20" y="5"/>
                  </a:moveTo>
                  <a:lnTo>
                    <a:pt x="21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1" y="11"/>
                  </a:lnTo>
                  <a:lnTo>
                    <a:pt x="35" y="14"/>
                  </a:lnTo>
                  <a:lnTo>
                    <a:pt x="38" y="15"/>
                  </a:lnTo>
                  <a:lnTo>
                    <a:pt x="42" y="19"/>
                  </a:lnTo>
                  <a:lnTo>
                    <a:pt x="46" y="21"/>
                  </a:lnTo>
                  <a:lnTo>
                    <a:pt x="50" y="20"/>
                  </a:lnTo>
                  <a:lnTo>
                    <a:pt x="54" y="16"/>
                  </a:lnTo>
                  <a:lnTo>
                    <a:pt x="54" y="24"/>
                  </a:lnTo>
                  <a:lnTo>
                    <a:pt x="57" y="25"/>
                  </a:lnTo>
                  <a:lnTo>
                    <a:pt x="58" y="29"/>
                  </a:lnTo>
                  <a:lnTo>
                    <a:pt x="54" y="33"/>
                  </a:lnTo>
                  <a:lnTo>
                    <a:pt x="48" y="34"/>
                  </a:lnTo>
                  <a:lnTo>
                    <a:pt x="43" y="35"/>
                  </a:lnTo>
                  <a:lnTo>
                    <a:pt x="38" y="41"/>
                  </a:lnTo>
                  <a:lnTo>
                    <a:pt x="38" y="45"/>
                  </a:lnTo>
                  <a:lnTo>
                    <a:pt x="35" y="46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41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5" y="53"/>
                  </a:lnTo>
                  <a:lnTo>
                    <a:pt x="3" y="45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8" y="36"/>
                  </a:lnTo>
                  <a:lnTo>
                    <a:pt x="8" y="31"/>
                  </a:lnTo>
                  <a:lnTo>
                    <a:pt x="11" y="29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19" y="26"/>
                  </a:lnTo>
                  <a:lnTo>
                    <a:pt x="22" y="19"/>
                  </a:lnTo>
                  <a:lnTo>
                    <a:pt x="22" y="6"/>
                  </a:lnTo>
                  <a:lnTo>
                    <a:pt x="2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4" name="Freeform 701"/>
            <p:cNvSpPr>
              <a:spLocks/>
            </p:cNvSpPr>
            <p:nvPr/>
          </p:nvSpPr>
          <p:spPr bwMode="gray">
            <a:xfrm>
              <a:off x="4311" y="2275"/>
              <a:ext cx="134" cy="135"/>
            </a:xfrm>
            <a:custGeom>
              <a:avLst/>
              <a:gdLst>
                <a:gd name="T0" fmla="*/ 2147483647 w 103"/>
                <a:gd name="T1" fmla="*/ 2147483647 h 103"/>
                <a:gd name="T2" fmla="*/ 2147483647 w 103"/>
                <a:gd name="T3" fmla="*/ 2147483647 h 103"/>
                <a:gd name="T4" fmla="*/ 2147483647 w 103"/>
                <a:gd name="T5" fmla="*/ 2147483647 h 103"/>
                <a:gd name="T6" fmla="*/ 2147483647 w 103"/>
                <a:gd name="T7" fmla="*/ 2147483647 h 103"/>
                <a:gd name="T8" fmla="*/ 2147483647 w 103"/>
                <a:gd name="T9" fmla="*/ 2147483647 h 103"/>
                <a:gd name="T10" fmla="*/ 2147483647 w 103"/>
                <a:gd name="T11" fmla="*/ 2147483647 h 103"/>
                <a:gd name="T12" fmla="*/ 2147483647 w 103"/>
                <a:gd name="T13" fmla="*/ 2147483647 h 103"/>
                <a:gd name="T14" fmla="*/ 2147483647 w 103"/>
                <a:gd name="T15" fmla="*/ 2147483647 h 103"/>
                <a:gd name="T16" fmla="*/ 2147483647 w 103"/>
                <a:gd name="T17" fmla="*/ 2147483647 h 103"/>
                <a:gd name="T18" fmla="*/ 2147483647 w 103"/>
                <a:gd name="T19" fmla="*/ 2147483647 h 103"/>
                <a:gd name="T20" fmla="*/ 2147483647 w 103"/>
                <a:gd name="T21" fmla="*/ 2147483647 h 103"/>
                <a:gd name="T22" fmla="*/ 2147483647 w 103"/>
                <a:gd name="T23" fmla="*/ 2147483647 h 103"/>
                <a:gd name="T24" fmla="*/ 2147483647 w 103"/>
                <a:gd name="T25" fmla="*/ 2147483647 h 103"/>
                <a:gd name="T26" fmla="*/ 2147483647 w 103"/>
                <a:gd name="T27" fmla="*/ 2147483647 h 103"/>
                <a:gd name="T28" fmla="*/ 2147483647 w 103"/>
                <a:gd name="T29" fmla="*/ 2147483647 h 103"/>
                <a:gd name="T30" fmla="*/ 2147483647 w 103"/>
                <a:gd name="T31" fmla="*/ 2147483647 h 103"/>
                <a:gd name="T32" fmla="*/ 2147483647 w 103"/>
                <a:gd name="T33" fmla="*/ 2147483647 h 103"/>
                <a:gd name="T34" fmla="*/ 2147483647 w 103"/>
                <a:gd name="T35" fmla="*/ 2147483647 h 103"/>
                <a:gd name="T36" fmla="*/ 2147483647 w 103"/>
                <a:gd name="T37" fmla="*/ 2147483647 h 103"/>
                <a:gd name="T38" fmla="*/ 2147483647 w 103"/>
                <a:gd name="T39" fmla="*/ 2147483647 h 103"/>
                <a:gd name="T40" fmla="*/ 2147483647 w 103"/>
                <a:gd name="T41" fmla="*/ 2147483647 h 103"/>
                <a:gd name="T42" fmla="*/ 2147483647 w 103"/>
                <a:gd name="T43" fmla="*/ 2147483647 h 103"/>
                <a:gd name="T44" fmla="*/ 2147483647 w 103"/>
                <a:gd name="T45" fmla="*/ 2147483647 h 103"/>
                <a:gd name="T46" fmla="*/ 2147483647 w 103"/>
                <a:gd name="T47" fmla="*/ 2147483647 h 103"/>
                <a:gd name="T48" fmla="*/ 2147483647 w 103"/>
                <a:gd name="T49" fmla="*/ 2147483647 h 103"/>
                <a:gd name="T50" fmla="*/ 2147483647 w 103"/>
                <a:gd name="T51" fmla="*/ 2147483647 h 103"/>
                <a:gd name="T52" fmla="*/ 2147483647 w 103"/>
                <a:gd name="T53" fmla="*/ 2147483647 h 103"/>
                <a:gd name="T54" fmla="*/ 2147483647 w 103"/>
                <a:gd name="T55" fmla="*/ 2147483647 h 103"/>
                <a:gd name="T56" fmla="*/ 2147483647 w 103"/>
                <a:gd name="T57" fmla="*/ 2147483647 h 103"/>
                <a:gd name="T58" fmla="*/ 2147483647 w 103"/>
                <a:gd name="T59" fmla="*/ 2147483647 h 103"/>
                <a:gd name="T60" fmla="*/ 2147483647 w 103"/>
                <a:gd name="T61" fmla="*/ 2147483647 h 103"/>
                <a:gd name="T62" fmla="*/ 2147483647 w 103"/>
                <a:gd name="T63" fmla="*/ 2147483647 h 103"/>
                <a:gd name="T64" fmla="*/ 2147483647 w 103"/>
                <a:gd name="T65" fmla="*/ 2147483647 h 103"/>
                <a:gd name="T66" fmla="*/ 2147483647 w 103"/>
                <a:gd name="T67" fmla="*/ 2147483647 h 103"/>
                <a:gd name="T68" fmla="*/ 2147483647 w 103"/>
                <a:gd name="T69" fmla="*/ 2147483647 h 103"/>
                <a:gd name="T70" fmla="*/ 2147483647 w 103"/>
                <a:gd name="T71" fmla="*/ 2147483647 h 103"/>
                <a:gd name="T72" fmla="*/ 2147483647 w 103"/>
                <a:gd name="T73" fmla="*/ 2147483647 h 103"/>
                <a:gd name="T74" fmla="*/ 2147483647 w 103"/>
                <a:gd name="T75" fmla="*/ 2147483647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3"/>
                <a:gd name="T115" fmla="*/ 0 h 103"/>
                <a:gd name="T116" fmla="*/ 103 w 103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3" h="103">
                  <a:moveTo>
                    <a:pt x="97" y="11"/>
                  </a:moveTo>
                  <a:lnTo>
                    <a:pt x="100" y="14"/>
                  </a:lnTo>
                  <a:lnTo>
                    <a:pt x="102" y="19"/>
                  </a:lnTo>
                  <a:lnTo>
                    <a:pt x="103" y="20"/>
                  </a:lnTo>
                  <a:lnTo>
                    <a:pt x="103" y="27"/>
                  </a:lnTo>
                  <a:lnTo>
                    <a:pt x="99" y="36"/>
                  </a:lnTo>
                  <a:lnTo>
                    <a:pt x="99" y="44"/>
                  </a:lnTo>
                  <a:lnTo>
                    <a:pt x="96" y="44"/>
                  </a:lnTo>
                  <a:lnTo>
                    <a:pt x="93" y="46"/>
                  </a:lnTo>
                  <a:lnTo>
                    <a:pt x="91" y="51"/>
                  </a:lnTo>
                  <a:lnTo>
                    <a:pt x="95" y="56"/>
                  </a:lnTo>
                  <a:lnTo>
                    <a:pt x="89" y="67"/>
                  </a:lnTo>
                  <a:lnTo>
                    <a:pt x="89" y="71"/>
                  </a:lnTo>
                  <a:lnTo>
                    <a:pt x="90" y="75"/>
                  </a:lnTo>
                  <a:lnTo>
                    <a:pt x="84" y="84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78"/>
                  </a:lnTo>
                  <a:lnTo>
                    <a:pt x="81" y="75"/>
                  </a:lnTo>
                  <a:lnTo>
                    <a:pt x="76" y="80"/>
                  </a:lnTo>
                  <a:lnTo>
                    <a:pt x="75" y="87"/>
                  </a:lnTo>
                  <a:lnTo>
                    <a:pt x="72" y="88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6" y="87"/>
                  </a:lnTo>
                  <a:lnTo>
                    <a:pt x="58" y="88"/>
                  </a:lnTo>
                  <a:lnTo>
                    <a:pt x="58" y="83"/>
                  </a:lnTo>
                  <a:lnTo>
                    <a:pt x="54" y="83"/>
                  </a:lnTo>
                  <a:lnTo>
                    <a:pt x="52" y="86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4" y="95"/>
                  </a:lnTo>
                  <a:lnTo>
                    <a:pt x="49" y="95"/>
                  </a:lnTo>
                  <a:lnTo>
                    <a:pt x="48" y="100"/>
                  </a:lnTo>
                  <a:lnTo>
                    <a:pt x="45" y="103"/>
                  </a:lnTo>
                  <a:lnTo>
                    <a:pt x="41" y="100"/>
                  </a:lnTo>
                  <a:lnTo>
                    <a:pt x="40" y="96"/>
                  </a:lnTo>
                  <a:lnTo>
                    <a:pt x="41" y="93"/>
                  </a:lnTo>
                  <a:lnTo>
                    <a:pt x="41" y="88"/>
                  </a:lnTo>
                  <a:lnTo>
                    <a:pt x="35" y="85"/>
                  </a:lnTo>
                  <a:lnTo>
                    <a:pt x="24" y="88"/>
                  </a:lnTo>
                  <a:lnTo>
                    <a:pt x="21" y="92"/>
                  </a:lnTo>
                  <a:lnTo>
                    <a:pt x="12" y="94"/>
                  </a:lnTo>
                  <a:lnTo>
                    <a:pt x="7" y="98"/>
                  </a:lnTo>
                  <a:lnTo>
                    <a:pt x="7" y="95"/>
                  </a:lnTo>
                  <a:lnTo>
                    <a:pt x="1" y="95"/>
                  </a:lnTo>
                  <a:lnTo>
                    <a:pt x="0" y="92"/>
                  </a:lnTo>
                  <a:lnTo>
                    <a:pt x="3" y="89"/>
                  </a:lnTo>
                  <a:lnTo>
                    <a:pt x="7" y="88"/>
                  </a:lnTo>
                  <a:lnTo>
                    <a:pt x="15" y="81"/>
                  </a:lnTo>
                  <a:lnTo>
                    <a:pt x="17" y="77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2" y="78"/>
                  </a:lnTo>
                  <a:lnTo>
                    <a:pt x="37" y="75"/>
                  </a:lnTo>
                  <a:lnTo>
                    <a:pt x="43" y="76"/>
                  </a:lnTo>
                  <a:lnTo>
                    <a:pt x="54" y="60"/>
                  </a:lnTo>
                  <a:lnTo>
                    <a:pt x="54" y="55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5" y="59"/>
                  </a:lnTo>
                  <a:lnTo>
                    <a:pt x="67" y="55"/>
                  </a:lnTo>
                  <a:lnTo>
                    <a:pt x="72" y="52"/>
                  </a:lnTo>
                  <a:lnTo>
                    <a:pt x="79" y="42"/>
                  </a:lnTo>
                  <a:lnTo>
                    <a:pt x="82" y="32"/>
                  </a:lnTo>
                  <a:lnTo>
                    <a:pt x="82" y="13"/>
                  </a:lnTo>
                  <a:lnTo>
                    <a:pt x="86" y="7"/>
                  </a:lnTo>
                  <a:lnTo>
                    <a:pt x="88" y="6"/>
                  </a:lnTo>
                  <a:lnTo>
                    <a:pt x="91" y="10"/>
                  </a:lnTo>
                  <a:lnTo>
                    <a:pt x="95" y="10"/>
                  </a:lnTo>
                  <a:lnTo>
                    <a:pt x="93" y="6"/>
                  </a:lnTo>
                  <a:lnTo>
                    <a:pt x="91" y="2"/>
                  </a:lnTo>
                  <a:lnTo>
                    <a:pt x="95" y="0"/>
                  </a:lnTo>
                  <a:lnTo>
                    <a:pt x="97" y="2"/>
                  </a:lnTo>
                  <a:lnTo>
                    <a:pt x="97" y="11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5" name="Freeform 702"/>
            <p:cNvSpPr>
              <a:spLocks/>
            </p:cNvSpPr>
            <p:nvPr/>
          </p:nvSpPr>
          <p:spPr bwMode="gray">
            <a:xfrm>
              <a:off x="4424" y="1521"/>
              <a:ext cx="40" cy="20"/>
            </a:xfrm>
            <a:custGeom>
              <a:avLst/>
              <a:gdLst>
                <a:gd name="T0" fmla="*/ 2147483647 w 31"/>
                <a:gd name="T1" fmla="*/ 0 h 15"/>
                <a:gd name="T2" fmla="*/ 2147483647 w 31"/>
                <a:gd name="T3" fmla="*/ 0 h 15"/>
                <a:gd name="T4" fmla="*/ 2147483647 w 31"/>
                <a:gd name="T5" fmla="*/ 2147483647 h 15"/>
                <a:gd name="T6" fmla="*/ 2147483647 w 31"/>
                <a:gd name="T7" fmla="*/ 2147483647 h 15"/>
                <a:gd name="T8" fmla="*/ 2147483647 w 31"/>
                <a:gd name="T9" fmla="*/ 2147483647 h 15"/>
                <a:gd name="T10" fmla="*/ 2147483647 w 31"/>
                <a:gd name="T11" fmla="*/ 2147483647 h 15"/>
                <a:gd name="T12" fmla="*/ 2147483647 w 31"/>
                <a:gd name="T13" fmla="*/ 2147483647 h 15"/>
                <a:gd name="T14" fmla="*/ 2147483647 w 31"/>
                <a:gd name="T15" fmla="*/ 2147483647 h 15"/>
                <a:gd name="T16" fmla="*/ 2147483647 w 31"/>
                <a:gd name="T17" fmla="*/ 2147483647 h 15"/>
                <a:gd name="T18" fmla="*/ 0 w 31"/>
                <a:gd name="T19" fmla="*/ 2147483647 h 15"/>
                <a:gd name="T20" fmla="*/ 0 w 31"/>
                <a:gd name="T21" fmla="*/ 2147483647 h 15"/>
                <a:gd name="T22" fmla="*/ 2147483647 w 31"/>
                <a:gd name="T23" fmla="*/ 2147483647 h 15"/>
                <a:gd name="T24" fmla="*/ 2147483647 w 31"/>
                <a:gd name="T25" fmla="*/ 2147483647 h 15"/>
                <a:gd name="T26" fmla="*/ 2147483647 w 31"/>
                <a:gd name="T27" fmla="*/ 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"/>
                <a:gd name="T43" fmla="*/ 0 h 15"/>
                <a:gd name="T44" fmla="*/ 31 w 31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" h="15">
                  <a:moveTo>
                    <a:pt x="8" y="0"/>
                  </a:moveTo>
                  <a:lnTo>
                    <a:pt x="20" y="0"/>
                  </a:lnTo>
                  <a:lnTo>
                    <a:pt x="21" y="2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0" y="15"/>
                  </a:lnTo>
                  <a:lnTo>
                    <a:pt x="17" y="14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3" y="7"/>
                  </a:lnTo>
                  <a:lnTo>
                    <a:pt x="4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6" name="Freeform 703"/>
            <p:cNvSpPr>
              <a:spLocks/>
            </p:cNvSpPr>
            <p:nvPr/>
          </p:nvSpPr>
          <p:spPr bwMode="gray">
            <a:xfrm>
              <a:off x="4419" y="1508"/>
              <a:ext cx="14" cy="14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2147483647 w 11"/>
                <a:gd name="T5" fmla="*/ 2147483647 h 11"/>
                <a:gd name="T6" fmla="*/ 0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0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1"/>
                <a:gd name="T29" fmla="*/ 11 w 11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1">
                  <a:moveTo>
                    <a:pt x="11" y="6"/>
                  </a:moveTo>
                  <a:lnTo>
                    <a:pt x="11" y="8"/>
                  </a:lnTo>
                  <a:lnTo>
                    <a:pt x="5" y="11"/>
                  </a:lnTo>
                  <a:lnTo>
                    <a:pt x="0" y="8"/>
                  </a:lnTo>
                  <a:lnTo>
                    <a:pt x="1" y="3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7" name="Freeform 704"/>
            <p:cNvSpPr>
              <a:spLocks/>
            </p:cNvSpPr>
            <p:nvPr/>
          </p:nvSpPr>
          <p:spPr bwMode="gray">
            <a:xfrm>
              <a:off x="4381" y="1461"/>
              <a:ext cx="102" cy="40"/>
            </a:xfrm>
            <a:custGeom>
              <a:avLst/>
              <a:gdLst>
                <a:gd name="T0" fmla="*/ 2147483647 w 78"/>
                <a:gd name="T1" fmla="*/ 2147483647 h 31"/>
                <a:gd name="T2" fmla="*/ 2147483647 w 78"/>
                <a:gd name="T3" fmla="*/ 2147483647 h 31"/>
                <a:gd name="T4" fmla="*/ 2147483647 w 78"/>
                <a:gd name="T5" fmla="*/ 2147483647 h 31"/>
                <a:gd name="T6" fmla="*/ 2147483647 w 78"/>
                <a:gd name="T7" fmla="*/ 2147483647 h 31"/>
                <a:gd name="T8" fmla="*/ 2147483647 w 78"/>
                <a:gd name="T9" fmla="*/ 2147483647 h 31"/>
                <a:gd name="T10" fmla="*/ 2147483647 w 78"/>
                <a:gd name="T11" fmla="*/ 2147483647 h 31"/>
                <a:gd name="T12" fmla="*/ 2147483647 w 78"/>
                <a:gd name="T13" fmla="*/ 2147483647 h 31"/>
                <a:gd name="T14" fmla="*/ 2147483647 w 78"/>
                <a:gd name="T15" fmla="*/ 2147483647 h 31"/>
                <a:gd name="T16" fmla="*/ 0 w 78"/>
                <a:gd name="T17" fmla="*/ 2147483647 h 31"/>
                <a:gd name="T18" fmla="*/ 2147483647 w 78"/>
                <a:gd name="T19" fmla="*/ 2147483647 h 31"/>
                <a:gd name="T20" fmla="*/ 2147483647 w 78"/>
                <a:gd name="T21" fmla="*/ 2147483647 h 31"/>
                <a:gd name="T22" fmla="*/ 2147483647 w 78"/>
                <a:gd name="T23" fmla="*/ 2147483647 h 31"/>
                <a:gd name="T24" fmla="*/ 2147483647 w 78"/>
                <a:gd name="T25" fmla="*/ 2147483647 h 31"/>
                <a:gd name="T26" fmla="*/ 2147483647 w 78"/>
                <a:gd name="T27" fmla="*/ 2147483647 h 31"/>
                <a:gd name="T28" fmla="*/ 2147483647 w 78"/>
                <a:gd name="T29" fmla="*/ 2147483647 h 31"/>
                <a:gd name="T30" fmla="*/ 2147483647 w 78"/>
                <a:gd name="T31" fmla="*/ 2147483647 h 31"/>
                <a:gd name="T32" fmla="*/ 2147483647 w 78"/>
                <a:gd name="T33" fmla="*/ 2147483647 h 31"/>
                <a:gd name="T34" fmla="*/ 2147483647 w 78"/>
                <a:gd name="T35" fmla="*/ 2147483647 h 31"/>
                <a:gd name="T36" fmla="*/ 2147483647 w 78"/>
                <a:gd name="T37" fmla="*/ 2147483647 h 31"/>
                <a:gd name="T38" fmla="*/ 2147483647 w 78"/>
                <a:gd name="T39" fmla="*/ 2147483647 h 31"/>
                <a:gd name="T40" fmla="*/ 2147483647 w 78"/>
                <a:gd name="T41" fmla="*/ 2147483647 h 31"/>
                <a:gd name="T42" fmla="*/ 2147483647 w 78"/>
                <a:gd name="T43" fmla="*/ 2147483647 h 31"/>
                <a:gd name="T44" fmla="*/ 2147483647 w 78"/>
                <a:gd name="T45" fmla="*/ 2147483647 h 31"/>
                <a:gd name="T46" fmla="*/ 2147483647 w 78"/>
                <a:gd name="T47" fmla="*/ 2147483647 h 31"/>
                <a:gd name="T48" fmla="*/ 2147483647 w 78"/>
                <a:gd name="T49" fmla="*/ 2147483647 h 31"/>
                <a:gd name="T50" fmla="*/ 2147483647 w 78"/>
                <a:gd name="T51" fmla="*/ 2147483647 h 31"/>
                <a:gd name="T52" fmla="*/ 2147483647 w 78"/>
                <a:gd name="T53" fmla="*/ 2147483647 h 31"/>
                <a:gd name="T54" fmla="*/ 2147483647 w 78"/>
                <a:gd name="T55" fmla="*/ 2147483647 h 31"/>
                <a:gd name="T56" fmla="*/ 2147483647 w 78"/>
                <a:gd name="T57" fmla="*/ 2147483647 h 31"/>
                <a:gd name="T58" fmla="*/ 2147483647 w 78"/>
                <a:gd name="T59" fmla="*/ 2147483647 h 31"/>
                <a:gd name="T60" fmla="*/ 2147483647 w 78"/>
                <a:gd name="T61" fmla="*/ 2147483647 h 31"/>
                <a:gd name="T62" fmla="*/ 2147483647 w 78"/>
                <a:gd name="T63" fmla="*/ 2147483647 h 31"/>
                <a:gd name="T64" fmla="*/ 2147483647 w 78"/>
                <a:gd name="T65" fmla="*/ 2147483647 h 31"/>
                <a:gd name="T66" fmla="*/ 2147483647 w 78"/>
                <a:gd name="T67" fmla="*/ 2147483647 h 31"/>
                <a:gd name="T68" fmla="*/ 2147483647 w 78"/>
                <a:gd name="T69" fmla="*/ 2147483647 h 31"/>
                <a:gd name="T70" fmla="*/ 2147483647 w 78"/>
                <a:gd name="T71" fmla="*/ 2147483647 h 31"/>
                <a:gd name="T72" fmla="*/ 2147483647 w 78"/>
                <a:gd name="T73" fmla="*/ 2147483647 h 31"/>
                <a:gd name="T74" fmla="*/ 2147483647 w 78"/>
                <a:gd name="T75" fmla="*/ 2147483647 h 31"/>
                <a:gd name="T76" fmla="*/ 2147483647 w 78"/>
                <a:gd name="T77" fmla="*/ 2147483647 h 31"/>
                <a:gd name="T78" fmla="*/ 2147483647 w 78"/>
                <a:gd name="T79" fmla="*/ 2147483647 h 31"/>
                <a:gd name="T80" fmla="*/ 2147483647 w 78"/>
                <a:gd name="T81" fmla="*/ 2147483647 h 31"/>
                <a:gd name="T82" fmla="*/ 2147483647 w 78"/>
                <a:gd name="T83" fmla="*/ 2147483647 h 31"/>
                <a:gd name="T84" fmla="*/ 2147483647 w 78"/>
                <a:gd name="T85" fmla="*/ 2147483647 h 31"/>
                <a:gd name="T86" fmla="*/ 2147483647 w 78"/>
                <a:gd name="T87" fmla="*/ 2147483647 h 31"/>
                <a:gd name="T88" fmla="*/ 2147483647 w 78"/>
                <a:gd name="T89" fmla="*/ 2147483647 h 31"/>
                <a:gd name="T90" fmla="*/ 2147483647 w 78"/>
                <a:gd name="T91" fmla="*/ 2147483647 h 31"/>
                <a:gd name="T92" fmla="*/ 2147483647 w 78"/>
                <a:gd name="T93" fmla="*/ 0 h 31"/>
                <a:gd name="T94" fmla="*/ 2147483647 w 78"/>
                <a:gd name="T95" fmla="*/ 2147483647 h 31"/>
                <a:gd name="T96" fmla="*/ 2147483647 w 78"/>
                <a:gd name="T97" fmla="*/ 2147483647 h 31"/>
                <a:gd name="T98" fmla="*/ 2147483647 w 78"/>
                <a:gd name="T99" fmla="*/ 2147483647 h 31"/>
                <a:gd name="T100" fmla="*/ 2147483647 w 78"/>
                <a:gd name="T101" fmla="*/ 2147483647 h 31"/>
                <a:gd name="T102" fmla="*/ 2147483647 w 78"/>
                <a:gd name="T103" fmla="*/ 2147483647 h 31"/>
                <a:gd name="T104" fmla="*/ 2147483647 w 78"/>
                <a:gd name="T105" fmla="*/ 2147483647 h 31"/>
                <a:gd name="T106" fmla="*/ 2147483647 w 78"/>
                <a:gd name="T107" fmla="*/ 2147483647 h 31"/>
                <a:gd name="T108" fmla="*/ 2147483647 w 78"/>
                <a:gd name="T109" fmla="*/ 2147483647 h 31"/>
                <a:gd name="T110" fmla="*/ 2147483647 w 78"/>
                <a:gd name="T111" fmla="*/ 2147483647 h 31"/>
                <a:gd name="T112" fmla="*/ 2147483647 w 78"/>
                <a:gd name="T113" fmla="*/ 2147483647 h 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"/>
                <a:gd name="T172" fmla="*/ 0 h 31"/>
                <a:gd name="T173" fmla="*/ 78 w 78"/>
                <a:gd name="T174" fmla="*/ 31 h 3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" h="31">
                  <a:moveTo>
                    <a:pt x="17" y="1"/>
                  </a:moveTo>
                  <a:lnTo>
                    <a:pt x="11" y="3"/>
                  </a:lnTo>
                  <a:lnTo>
                    <a:pt x="11" y="4"/>
                  </a:lnTo>
                  <a:lnTo>
                    <a:pt x="4" y="5"/>
                  </a:lnTo>
                  <a:lnTo>
                    <a:pt x="6" y="8"/>
                  </a:lnTo>
                  <a:lnTo>
                    <a:pt x="2" y="9"/>
                  </a:lnTo>
                  <a:lnTo>
                    <a:pt x="2" y="10"/>
                  </a:lnTo>
                  <a:lnTo>
                    <a:pt x="3" y="15"/>
                  </a:lnTo>
                  <a:lnTo>
                    <a:pt x="0" y="17"/>
                  </a:lnTo>
                  <a:lnTo>
                    <a:pt x="4" y="23"/>
                  </a:lnTo>
                  <a:lnTo>
                    <a:pt x="8" y="23"/>
                  </a:lnTo>
                  <a:lnTo>
                    <a:pt x="11" y="25"/>
                  </a:lnTo>
                  <a:lnTo>
                    <a:pt x="10" y="27"/>
                  </a:lnTo>
                  <a:lnTo>
                    <a:pt x="22" y="31"/>
                  </a:lnTo>
                  <a:lnTo>
                    <a:pt x="25" y="29"/>
                  </a:lnTo>
                  <a:lnTo>
                    <a:pt x="24" y="24"/>
                  </a:lnTo>
                  <a:lnTo>
                    <a:pt x="26" y="23"/>
                  </a:lnTo>
                  <a:lnTo>
                    <a:pt x="28" y="23"/>
                  </a:lnTo>
                  <a:lnTo>
                    <a:pt x="29" y="26"/>
                  </a:lnTo>
                  <a:lnTo>
                    <a:pt x="37" y="26"/>
                  </a:lnTo>
                  <a:lnTo>
                    <a:pt x="45" y="21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56" y="27"/>
                  </a:lnTo>
                  <a:lnTo>
                    <a:pt x="63" y="23"/>
                  </a:lnTo>
                  <a:lnTo>
                    <a:pt x="58" y="22"/>
                  </a:lnTo>
                  <a:lnTo>
                    <a:pt x="51" y="19"/>
                  </a:lnTo>
                  <a:lnTo>
                    <a:pt x="49" y="14"/>
                  </a:lnTo>
                  <a:lnTo>
                    <a:pt x="53" y="10"/>
                  </a:lnTo>
                  <a:lnTo>
                    <a:pt x="56" y="10"/>
                  </a:lnTo>
                  <a:lnTo>
                    <a:pt x="57" y="12"/>
                  </a:lnTo>
                  <a:lnTo>
                    <a:pt x="54" y="14"/>
                  </a:lnTo>
                  <a:lnTo>
                    <a:pt x="54" y="17"/>
                  </a:lnTo>
                  <a:lnTo>
                    <a:pt x="59" y="20"/>
                  </a:lnTo>
                  <a:lnTo>
                    <a:pt x="64" y="19"/>
                  </a:lnTo>
                  <a:lnTo>
                    <a:pt x="68" y="21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8" y="13"/>
                  </a:lnTo>
                  <a:lnTo>
                    <a:pt x="77" y="11"/>
                  </a:lnTo>
                  <a:lnTo>
                    <a:pt x="70" y="10"/>
                  </a:lnTo>
                  <a:lnTo>
                    <a:pt x="63" y="6"/>
                  </a:lnTo>
                  <a:lnTo>
                    <a:pt x="61" y="7"/>
                  </a:lnTo>
                  <a:lnTo>
                    <a:pt x="55" y="7"/>
                  </a:lnTo>
                  <a:lnTo>
                    <a:pt x="50" y="5"/>
                  </a:lnTo>
                  <a:lnTo>
                    <a:pt x="48" y="2"/>
                  </a:lnTo>
                  <a:lnTo>
                    <a:pt x="45" y="0"/>
                  </a:lnTo>
                  <a:lnTo>
                    <a:pt x="42" y="1"/>
                  </a:lnTo>
                  <a:lnTo>
                    <a:pt x="39" y="4"/>
                  </a:lnTo>
                  <a:lnTo>
                    <a:pt x="39" y="11"/>
                  </a:lnTo>
                  <a:lnTo>
                    <a:pt x="32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8" y="4"/>
                  </a:lnTo>
                  <a:lnTo>
                    <a:pt x="17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8" name="Freeform 705"/>
            <p:cNvSpPr>
              <a:spLocks/>
            </p:cNvSpPr>
            <p:nvPr/>
          </p:nvSpPr>
          <p:spPr bwMode="gray">
            <a:xfrm>
              <a:off x="4755" y="1619"/>
              <a:ext cx="19" cy="12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2147483647 h 9"/>
                <a:gd name="T4" fmla="*/ 0 w 14"/>
                <a:gd name="T5" fmla="*/ 2147483647 h 9"/>
                <a:gd name="T6" fmla="*/ 2147483647 w 14"/>
                <a:gd name="T7" fmla="*/ 2147483647 h 9"/>
                <a:gd name="T8" fmla="*/ 2147483647 w 14"/>
                <a:gd name="T9" fmla="*/ 0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9"/>
                <a:gd name="T26" fmla="*/ 14 w 14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9">
                  <a:moveTo>
                    <a:pt x="11" y="9"/>
                  </a:moveTo>
                  <a:lnTo>
                    <a:pt x="6" y="8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13" y="3"/>
                  </a:lnTo>
                  <a:lnTo>
                    <a:pt x="14" y="7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09" name="Freeform 706"/>
            <p:cNvSpPr>
              <a:spLocks/>
            </p:cNvSpPr>
            <p:nvPr/>
          </p:nvSpPr>
          <p:spPr bwMode="gray">
            <a:xfrm>
              <a:off x="4701" y="1903"/>
              <a:ext cx="16" cy="18"/>
            </a:xfrm>
            <a:custGeom>
              <a:avLst/>
              <a:gdLst>
                <a:gd name="T0" fmla="*/ 0 w 13"/>
                <a:gd name="T1" fmla="*/ 2147483647 h 14"/>
                <a:gd name="T2" fmla="*/ 2147483647 w 13"/>
                <a:gd name="T3" fmla="*/ 2147483647 h 14"/>
                <a:gd name="T4" fmla="*/ 2147483647 w 13"/>
                <a:gd name="T5" fmla="*/ 2147483647 h 14"/>
                <a:gd name="T6" fmla="*/ 2147483647 w 13"/>
                <a:gd name="T7" fmla="*/ 2147483647 h 14"/>
                <a:gd name="T8" fmla="*/ 2147483647 w 13"/>
                <a:gd name="T9" fmla="*/ 0 h 14"/>
                <a:gd name="T10" fmla="*/ 2147483647 w 13"/>
                <a:gd name="T11" fmla="*/ 2147483647 h 14"/>
                <a:gd name="T12" fmla="*/ 2147483647 w 13"/>
                <a:gd name="T13" fmla="*/ 2147483647 h 14"/>
                <a:gd name="T14" fmla="*/ 0 w 13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4"/>
                <a:gd name="T26" fmla="*/ 13 w 13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4">
                  <a:moveTo>
                    <a:pt x="0" y="14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4" y="4"/>
                  </a:lnTo>
                  <a:lnTo>
                    <a:pt x="12" y="0"/>
                  </a:lnTo>
                  <a:lnTo>
                    <a:pt x="13" y="8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0" name="Freeform 707"/>
            <p:cNvSpPr>
              <a:spLocks/>
            </p:cNvSpPr>
            <p:nvPr/>
          </p:nvSpPr>
          <p:spPr bwMode="gray">
            <a:xfrm>
              <a:off x="4729" y="1997"/>
              <a:ext cx="15" cy="18"/>
            </a:xfrm>
            <a:custGeom>
              <a:avLst/>
              <a:gdLst>
                <a:gd name="T0" fmla="*/ 0 w 12"/>
                <a:gd name="T1" fmla="*/ 2147483647 h 14"/>
                <a:gd name="T2" fmla="*/ 2147483647 w 12"/>
                <a:gd name="T3" fmla="*/ 0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w 12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4"/>
                <a:gd name="T23" fmla="*/ 12 w 1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4">
                  <a:moveTo>
                    <a:pt x="0" y="4"/>
                  </a:moveTo>
                  <a:lnTo>
                    <a:pt x="2" y="0"/>
                  </a:lnTo>
                  <a:lnTo>
                    <a:pt x="6" y="3"/>
                  </a:lnTo>
                  <a:lnTo>
                    <a:pt x="11" y="12"/>
                  </a:lnTo>
                  <a:lnTo>
                    <a:pt x="12" y="14"/>
                  </a:lnTo>
                  <a:lnTo>
                    <a:pt x="6" y="1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1" name="Freeform 708"/>
            <p:cNvSpPr>
              <a:spLocks/>
            </p:cNvSpPr>
            <p:nvPr/>
          </p:nvSpPr>
          <p:spPr bwMode="gray">
            <a:xfrm>
              <a:off x="4749" y="2007"/>
              <a:ext cx="13" cy="12"/>
            </a:xfrm>
            <a:custGeom>
              <a:avLst/>
              <a:gdLst>
                <a:gd name="T0" fmla="*/ 0 w 10"/>
                <a:gd name="T1" fmla="*/ 2147483647 h 9"/>
                <a:gd name="T2" fmla="*/ 2147483647 w 10"/>
                <a:gd name="T3" fmla="*/ 0 h 9"/>
                <a:gd name="T4" fmla="*/ 2147483647 w 10"/>
                <a:gd name="T5" fmla="*/ 2147483647 h 9"/>
                <a:gd name="T6" fmla="*/ 2147483647 w 10"/>
                <a:gd name="T7" fmla="*/ 2147483647 h 9"/>
                <a:gd name="T8" fmla="*/ 2147483647 w 10"/>
                <a:gd name="T9" fmla="*/ 2147483647 h 9"/>
                <a:gd name="T10" fmla="*/ 0 w 10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0" y="1"/>
                  </a:moveTo>
                  <a:lnTo>
                    <a:pt x="4" y="0"/>
                  </a:lnTo>
                  <a:lnTo>
                    <a:pt x="10" y="7"/>
                  </a:lnTo>
                  <a:lnTo>
                    <a:pt x="6" y="9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2" name="Freeform 709"/>
            <p:cNvSpPr>
              <a:spLocks/>
            </p:cNvSpPr>
            <p:nvPr/>
          </p:nvSpPr>
          <p:spPr bwMode="gray">
            <a:xfrm>
              <a:off x="4798" y="2063"/>
              <a:ext cx="10" cy="6"/>
            </a:xfrm>
            <a:custGeom>
              <a:avLst/>
              <a:gdLst>
                <a:gd name="T0" fmla="*/ 0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2147483647 h 5"/>
                <a:gd name="T10" fmla="*/ 0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3" name="Freeform 710"/>
            <p:cNvSpPr>
              <a:spLocks/>
            </p:cNvSpPr>
            <p:nvPr/>
          </p:nvSpPr>
          <p:spPr bwMode="gray">
            <a:xfrm>
              <a:off x="4806" y="2075"/>
              <a:ext cx="9" cy="4"/>
            </a:xfrm>
            <a:custGeom>
              <a:avLst/>
              <a:gdLst>
                <a:gd name="T0" fmla="*/ 0 w 7"/>
                <a:gd name="T1" fmla="*/ 0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0 w 7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0" y="0"/>
                  </a:moveTo>
                  <a:lnTo>
                    <a:pt x="5" y="1"/>
                  </a:lnTo>
                  <a:lnTo>
                    <a:pt x="7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4" name="Freeform 711"/>
            <p:cNvSpPr>
              <a:spLocks/>
            </p:cNvSpPr>
            <p:nvPr/>
          </p:nvSpPr>
          <p:spPr bwMode="gray">
            <a:xfrm>
              <a:off x="4656" y="1840"/>
              <a:ext cx="29" cy="25"/>
            </a:xfrm>
            <a:custGeom>
              <a:avLst/>
              <a:gdLst>
                <a:gd name="T0" fmla="*/ 2147483647 w 22"/>
                <a:gd name="T1" fmla="*/ 0 h 19"/>
                <a:gd name="T2" fmla="*/ 2147483647 w 22"/>
                <a:gd name="T3" fmla="*/ 2147483647 h 19"/>
                <a:gd name="T4" fmla="*/ 2147483647 w 22"/>
                <a:gd name="T5" fmla="*/ 2147483647 h 19"/>
                <a:gd name="T6" fmla="*/ 2147483647 w 22"/>
                <a:gd name="T7" fmla="*/ 2147483647 h 19"/>
                <a:gd name="T8" fmla="*/ 2147483647 w 22"/>
                <a:gd name="T9" fmla="*/ 2147483647 h 19"/>
                <a:gd name="T10" fmla="*/ 2147483647 w 22"/>
                <a:gd name="T11" fmla="*/ 2147483647 h 19"/>
                <a:gd name="T12" fmla="*/ 2147483647 w 22"/>
                <a:gd name="T13" fmla="*/ 2147483647 h 19"/>
                <a:gd name="T14" fmla="*/ 0 w 22"/>
                <a:gd name="T15" fmla="*/ 2147483647 h 19"/>
                <a:gd name="T16" fmla="*/ 2147483647 w 22"/>
                <a:gd name="T17" fmla="*/ 2147483647 h 19"/>
                <a:gd name="T18" fmla="*/ 2147483647 w 22"/>
                <a:gd name="T19" fmla="*/ 0 h 19"/>
                <a:gd name="T20" fmla="*/ 2147483647 w 22"/>
                <a:gd name="T21" fmla="*/ 0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19"/>
                <a:gd name="T35" fmla="*/ 22 w 22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19">
                  <a:moveTo>
                    <a:pt x="22" y="0"/>
                  </a:moveTo>
                  <a:lnTo>
                    <a:pt x="21" y="3"/>
                  </a:lnTo>
                  <a:lnTo>
                    <a:pt x="11" y="11"/>
                  </a:lnTo>
                  <a:lnTo>
                    <a:pt x="9" y="19"/>
                  </a:lnTo>
                  <a:lnTo>
                    <a:pt x="5" y="19"/>
                  </a:lnTo>
                  <a:lnTo>
                    <a:pt x="4" y="12"/>
                  </a:lnTo>
                  <a:lnTo>
                    <a:pt x="2" y="11"/>
                  </a:lnTo>
                  <a:lnTo>
                    <a:pt x="0" y="8"/>
                  </a:lnTo>
                  <a:lnTo>
                    <a:pt x="5" y="2"/>
                  </a:lnTo>
                  <a:lnTo>
                    <a:pt x="5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5" name="Freeform 712"/>
            <p:cNvSpPr>
              <a:spLocks/>
            </p:cNvSpPr>
            <p:nvPr/>
          </p:nvSpPr>
          <p:spPr bwMode="gray">
            <a:xfrm>
              <a:off x="5042" y="2046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0 h 8"/>
                <a:gd name="T6" fmla="*/ 2147483647 w 10"/>
                <a:gd name="T7" fmla="*/ 2147483647 h 8"/>
                <a:gd name="T8" fmla="*/ 0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10" y="3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1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6" name="Freeform 713"/>
            <p:cNvSpPr>
              <a:spLocks/>
            </p:cNvSpPr>
            <p:nvPr/>
          </p:nvSpPr>
          <p:spPr bwMode="gray">
            <a:xfrm>
              <a:off x="5024" y="2054"/>
              <a:ext cx="13" cy="13"/>
            </a:xfrm>
            <a:custGeom>
              <a:avLst/>
              <a:gdLst>
                <a:gd name="T0" fmla="*/ 2147483647 w 10"/>
                <a:gd name="T1" fmla="*/ 2147483647 h 10"/>
                <a:gd name="T2" fmla="*/ 2147483647 w 10"/>
                <a:gd name="T3" fmla="*/ 2147483647 h 10"/>
                <a:gd name="T4" fmla="*/ 0 w 10"/>
                <a:gd name="T5" fmla="*/ 2147483647 h 10"/>
                <a:gd name="T6" fmla="*/ 2147483647 w 10"/>
                <a:gd name="T7" fmla="*/ 2147483647 h 10"/>
                <a:gd name="T8" fmla="*/ 2147483647 w 10"/>
                <a:gd name="T9" fmla="*/ 2147483647 h 10"/>
                <a:gd name="T10" fmla="*/ 2147483647 w 10"/>
                <a:gd name="T11" fmla="*/ 0 h 10"/>
                <a:gd name="T12" fmla="*/ 2147483647 w 10"/>
                <a:gd name="T13" fmla="*/ 2147483647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0"/>
                <a:gd name="T23" fmla="*/ 10 w 10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0">
                  <a:moveTo>
                    <a:pt x="10" y="1"/>
                  </a:moveTo>
                  <a:lnTo>
                    <a:pt x="2" y="10"/>
                  </a:lnTo>
                  <a:lnTo>
                    <a:pt x="0" y="9"/>
                  </a:lnTo>
                  <a:lnTo>
                    <a:pt x="3" y="5"/>
                  </a:lnTo>
                  <a:lnTo>
                    <a:pt x="3" y="1"/>
                  </a:lnTo>
                  <a:lnTo>
                    <a:pt x="7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7" name="Freeform 714"/>
            <p:cNvSpPr>
              <a:spLocks/>
            </p:cNvSpPr>
            <p:nvPr/>
          </p:nvSpPr>
          <p:spPr bwMode="gray">
            <a:xfrm>
              <a:off x="4947" y="2079"/>
              <a:ext cx="13" cy="11"/>
            </a:xfrm>
            <a:custGeom>
              <a:avLst/>
              <a:gdLst>
                <a:gd name="T0" fmla="*/ 2147483647 w 10"/>
                <a:gd name="T1" fmla="*/ 2147483647 h 8"/>
                <a:gd name="T2" fmla="*/ 2147483647 w 10"/>
                <a:gd name="T3" fmla="*/ 2147483647 h 8"/>
                <a:gd name="T4" fmla="*/ 2147483647 w 10"/>
                <a:gd name="T5" fmla="*/ 2147483647 h 8"/>
                <a:gd name="T6" fmla="*/ 0 w 10"/>
                <a:gd name="T7" fmla="*/ 2147483647 h 8"/>
                <a:gd name="T8" fmla="*/ 2147483647 w 10"/>
                <a:gd name="T9" fmla="*/ 2147483647 h 8"/>
                <a:gd name="T10" fmla="*/ 2147483647 w 10"/>
                <a:gd name="T11" fmla="*/ 2147483647 h 8"/>
                <a:gd name="T12" fmla="*/ 2147483647 w 10"/>
                <a:gd name="T13" fmla="*/ 0 h 8"/>
                <a:gd name="T14" fmla="*/ 2147483647 w 10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10" y="1"/>
                  </a:moveTo>
                  <a:lnTo>
                    <a:pt x="9" y="3"/>
                  </a:lnTo>
                  <a:lnTo>
                    <a:pt x="3" y="8"/>
                  </a:lnTo>
                  <a:lnTo>
                    <a:pt x="0" y="7"/>
                  </a:lnTo>
                  <a:lnTo>
                    <a:pt x="1" y="5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8" name="Freeform 715"/>
            <p:cNvSpPr>
              <a:spLocks/>
            </p:cNvSpPr>
            <p:nvPr/>
          </p:nvSpPr>
          <p:spPr bwMode="gray">
            <a:xfrm>
              <a:off x="4959" y="2085"/>
              <a:ext cx="12" cy="3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0 h 2"/>
                <a:gd name="T4" fmla="*/ 2147483647 w 9"/>
                <a:gd name="T5" fmla="*/ 0 h 2"/>
                <a:gd name="T6" fmla="*/ 2147483647 w 9"/>
                <a:gd name="T7" fmla="*/ 2147483647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19" name="Freeform 716"/>
            <p:cNvSpPr>
              <a:spLocks/>
            </p:cNvSpPr>
            <p:nvPr/>
          </p:nvSpPr>
          <p:spPr bwMode="gray">
            <a:xfrm>
              <a:off x="4909" y="2090"/>
              <a:ext cx="13" cy="5"/>
            </a:xfrm>
            <a:custGeom>
              <a:avLst/>
              <a:gdLst>
                <a:gd name="T0" fmla="*/ 2147483647 w 10"/>
                <a:gd name="T1" fmla="*/ 2147483646 h 5"/>
                <a:gd name="T2" fmla="*/ 2147483647 w 10"/>
                <a:gd name="T3" fmla="*/ 0 h 5"/>
                <a:gd name="T4" fmla="*/ 2147483647 w 10"/>
                <a:gd name="T5" fmla="*/ 2147483646 h 5"/>
                <a:gd name="T6" fmla="*/ 2147483647 w 10"/>
                <a:gd name="T7" fmla="*/ 2147483646 h 5"/>
                <a:gd name="T8" fmla="*/ 0 w 10"/>
                <a:gd name="T9" fmla="*/ 2147483646 h 5"/>
                <a:gd name="T10" fmla="*/ 2147483647 w 10"/>
                <a:gd name="T11" fmla="*/ 214748364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2" y="1"/>
                  </a:moveTo>
                  <a:lnTo>
                    <a:pt x="5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0" y="4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0" name="Freeform 717"/>
            <p:cNvSpPr>
              <a:spLocks/>
            </p:cNvSpPr>
            <p:nvPr/>
          </p:nvSpPr>
          <p:spPr bwMode="gray">
            <a:xfrm>
              <a:off x="4923" y="2090"/>
              <a:ext cx="8" cy="9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2147483647 h 7"/>
                <a:gd name="T4" fmla="*/ 0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0"/>
                  </a:move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1" name="Freeform 718"/>
            <p:cNvSpPr>
              <a:spLocks/>
            </p:cNvSpPr>
            <p:nvPr/>
          </p:nvSpPr>
          <p:spPr bwMode="gray">
            <a:xfrm>
              <a:off x="5120" y="2012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0 h 5"/>
                <a:gd name="T6" fmla="*/ 0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2" name="Freeform 719"/>
            <p:cNvSpPr>
              <a:spLocks/>
            </p:cNvSpPr>
            <p:nvPr/>
          </p:nvSpPr>
          <p:spPr bwMode="gray">
            <a:xfrm>
              <a:off x="5128" y="2016"/>
              <a:ext cx="4" cy="7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3" name="Freeform 720"/>
            <p:cNvSpPr>
              <a:spLocks/>
            </p:cNvSpPr>
            <p:nvPr/>
          </p:nvSpPr>
          <p:spPr bwMode="gray">
            <a:xfrm>
              <a:off x="4883" y="1582"/>
              <a:ext cx="47" cy="16"/>
            </a:xfrm>
            <a:custGeom>
              <a:avLst/>
              <a:gdLst>
                <a:gd name="T0" fmla="*/ 2147483647 w 36"/>
                <a:gd name="T1" fmla="*/ 0 h 12"/>
                <a:gd name="T2" fmla="*/ 2147483647 w 36"/>
                <a:gd name="T3" fmla="*/ 0 h 12"/>
                <a:gd name="T4" fmla="*/ 2147483647 w 36"/>
                <a:gd name="T5" fmla="*/ 2147483647 h 12"/>
                <a:gd name="T6" fmla="*/ 2147483647 w 36"/>
                <a:gd name="T7" fmla="*/ 2147483647 h 12"/>
                <a:gd name="T8" fmla="*/ 2147483647 w 36"/>
                <a:gd name="T9" fmla="*/ 2147483647 h 12"/>
                <a:gd name="T10" fmla="*/ 2147483647 w 36"/>
                <a:gd name="T11" fmla="*/ 2147483647 h 12"/>
                <a:gd name="T12" fmla="*/ 2147483647 w 36"/>
                <a:gd name="T13" fmla="*/ 2147483647 h 12"/>
                <a:gd name="T14" fmla="*/ 2147483647 w 36"/>
                <a:gd name="T15" fmla="*/ 2147483647 h 12"/>
                <a:gd name="T16" fmla="*/ 2147483647 w 36"/>
                <a:gd name="T17" fmla="*/ 2147483647 h 12"/>
                <a:gd name="T18" fmla="*/ 2147483647 w 36"/>
                <a:gd name="T19" fmla="*/ 2147483647 h 12"/>
                <a:gd name="T20" fmla="*/ 2147483647 w 36"/>
                <a:gd name="T21" fmla="*/ 2147483647 h 12"/>
                <a:gd name="T22" fmla="*/ 2147483647 w 36"/>
                <a:gd name="T23" fmla="*/ 2147483647 h 12"/>
                <a:gd name="T24" fmla="*/ 0 w 36"/>
                <a:gd name="T25" fmla="*/ 2147483647 h 12"/>
                <a:gd name="T26" fmla="*/ 2147483647 w 36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6"/>
                <a:gd name="T43" fmla="*/ 0 h 12"/>
                <a:gd name="T44" fmla="*/ 36 w 36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6" h="12">
                  <a:moveTo>
                    <a:pt x="2" y="0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1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0" y="12"/>
                  </a:lnTo>
                  <a:lnTo>
                    <a:pt x="15" y="12"/>
                  </a:lnTo>
                  <a:lnTo>
                    <a:pt x="8" y="8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4" name="Freeform 721"/>
            <p:cNvSpPr>
              <a:spLocks/>
            </p:cNvSpPr>
            <p:nvPr/>
          </p:nvSpPr>
          <p:spPr bwMode="gray">
            <a:xfrm>
              <a:off x="4872" y="2093"/>
              <a:ext cx="11" cy="7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2147483647 h 5"/>
                <a:gd name="T4" fmla="*/ 2147483647 w 8"/>
                <a:gd name="T5" fmla="*/ 2147483647 h 5"/>
                <a:gd name="T6" fmla="*/ 2147483647 w 8"/>
                <a:gd name="T7" fmla="*/ 2147483647 h 5"/>
                <a:gd name="T8" fmla="*/ 0 w 8"/>
                <a:gd name="T9" fmla="*/ 0 h 5"/>
                <a:gd name="T10" fmla="*/ 214748364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3" y="0"/>
                  </a:moveTo>
                  <a:lnTo>
                    <a:pt x="8" y="4"/>
                  </a:lnTo>
                  <a:lnTo>
                    <a:pt x="5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5" name="Freeform 722"/>
            <p:cNvSpPr>
              <a:spLocks/>
            </p:cNvSpPr>
            <p:nvPr/>
          </p:nvSpPr>
          <p:spPr bwMode="gray">
            <a:xfrm>
              <a:off x="4855" y="2081"/>
              <a:ext cx="9" cy="7"/>
            </a:xfrm>
            <a:custGeom>
              <a:avLst/>
              <a:gdLst>
                <a:gd name="T0" fmla="*/ 2147483647 w 7"/>
                <a:gd name="T1" fmla="*/ 0 h 5"/>
                <a:gd name="T2" fmla="*/ 2147483647 w 7"/>
                <a:gd name="T3" fmla="*/ 0 h 5"/>
                <a:gd name="T4" fmla="*/ 2147483647 w 7"/>
                <a:gd name="T5" fmla="*/ 2147483647 h 5"/>
                <a:gd name="T6" fmla="*/ 2147483647 w 7"/>
                <a:gd name="T7" fmla="*/ 2147483647 h 5"/>
                <a:gd name="T8" fmla="*/ 0 w 7"/>
                <a:gd name="T9" fmla="*/ 2147483647 h 5"/>
                <a:gd name="T10" fmla="*/ 2147483647 w 7"/>
                <a:gd name="T11" fmla="*/ 2147483647 h 5"/>
                <a:gd name="T12" fmla="*/ 2147483647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4" y="0"/>
                  </a:moveTo>
                  <a:lnTo>
                    <a:pt x="7" y="0"/>
                  </a:lnTo>
                  <a:lnTo>
                    <a:pt x="6" y="4"/>
                  </a:lnTo>
                  <a:lnTo>
                    <a:pt x="3" y="5"/>
                  </a:lnTo>
                  <a:lnTo>
                    <a:pt x="0" y="4"/>
                  </a:lnTo>
                  <a:lnTo>
                    <a:pt x="3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6" name="Freeform 723"/>
            <p:cNvSpPr>
              <a:spLocks/>
            </p:cNvSpPr>
            <p:nvPr/>
          </p:nvSpPr>
          <p:spPr bwMode="gray">
            <a:xfrm>
              <a:off x="3812" y="1314"/>
              <a:ext cx="18" cy="4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2147483647 h 3"/>
                <a:gd name="T4" fmla="*/ 2147483647 w 14"/>
                <a:gd name="T5" fmla="*/ 2147483647 h 3"/>
                <a:gd name="T6" fmla="*/ 2147483647 w 14"/>
                <a:gd name="T7" fmla="*/ 2147483647 h 3"/>
                <a:gd name="T8" fmla="*/ 0 w 14"/>
                <a:gd name="T9" fmla="*/ 2147483647 h 3"/>
                <a:gd name="T10" fmla="*/ 2147483647 w 14"/>
                <a:gd name="T11" fmla="*/ 0 h 3"/>
                <a:gd name="T12" fmla="*/ 2147483647 w 14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"/>
                <a:gd name="T23" fmla="*/ 14 w 1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">
                  <a:moveTo>
                    <a:pt x="12" y="0"/>
                  </a:moveTo>
                  <a:lnTo>
                    <a:pt x="14" y="2"/>
                  </a:lnTo>
                  <a:lnTo>
                    <a:pt x="13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7" name="Rectangle 724"/>
            <p:cNvSpPr>
              <a:spLocks noChangeArrowheads="1"/>
            </p:cNvSpPr>
            <p:nvPr/>
          </p:nvSpPr>
          <p:spPr bwMode="gray">
            <a:xfrm>
              <a:off x="3828" y="1366"/>
              <a:ext cx="7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528" name="Freeform 725"/>
            <p:cNvSpPr>
              <a:spLocks/>
            </p:cNvSpPr>
            <p:nvPr/>
          </p:nvSpPr>
          <p:spPr bwMode="gray">
            <a:xfrm>
              <a:off x="3818" y="1368"/>
              <a:ext cx="9" cy="3"/>
            </a:xfrm>
            <a:custGeom>
              <a:avLst/>
              <a:gdLst>
                <a:gd name="T0" fmla="*/ 0 w 7"/>
                <a:gd name="T1" fmla="*/ 0 h 2"/>
                <a:gd name="T2" fmla="*/ 2147483647 w 7"/>
                <a:gd name="T3" fmla="*/ 0 h 2"/>
                <a:gd name="T4" fmla="*/ 2147483647 w 7"/>
                <a:gd name="T5" fmla="*/ 2147483647 h 2"/>
                <a:gd name="T6" fmla="*/ 2147483647 w 7"/>
                <a:gd name="T7" fmla="*/ 2147483647 h 2"/>
                <a:gd name="T8" fmla="*/ 0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29" name="Freeform 726"/>
            <p:cNvSpPr>
              <a:spLocks/>
            </p:cNvSpPr>
            <p:nvPr/>
          </p:nvSpPr>
          <p:spPr bwMode="gray">
            <a:xfrm>
              <a:off x="3828" y="1373"/>
              <a:ext cx="4" cy="0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0" name="Freeform 727"/>
            <p:cNvSpPr>
              <a:spLocks/>
            </p:cNvSpPr>
            <p:nvPr/>
          </p:nvSpPr>
          <p:spPr bwMode="gray">
            <a:xfrm>
              <a:off x="3801" y="1432"/>
              <a:ext cx="8" cy="5"/>
            </a:xfrm>
            <a:custGeom>
              <a:avLst/>
              <a:gdLst>
                <a:gd name="T0" fmla="*/ 0 w 7"/>
                <a:gd name="T1" fmla="*/ 2147483647 h 4"/>
                <a:gd name="T2" fmla="*/ 0 w 7"/>
                <a:gd name="T3" fmla="*/ 2147483647 h 4"/>
                <a:gd name="T4" fmla="*/ 2147483647 w 7"/>
                <a:gd name="T5" fmla="*/ 0 h 4"/>
                <a:gd name="T6" fmla="*/ 2147483647 w 7"/>
                <a:gd name="T7" fmla="*/ 2147483647 h 4"/>
                <a:gd name="T8" fmla="*/ 2147483647 w 7"/>
                <a:gd name="T9" fmla="*/ 2147483647 h 4"/>
                <a:gd name="T10" fmla="*/ 0 w 7"/>
                <a:gd name="T11" fmla="*/ 2147483647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2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1" name="Freeform 728"/>
            <p:cNvSpPr>
              <a:spLocks/>
            </p:cNvSpPr>
            <p:nvPr/>
          </p:nvSpPr>
          <p:spPr bwMode="gray">
            <a:xfrm>
              <a:off x="3794" y="1437"/>
              <a:ext cx="4" cy="4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1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2" name="Freeform 729"/>
            <p:cNvSpPr>
              <a:spLocks/>
            </p:cNvSpPr>
            <p:nvPr/>
          </p:nvSpPr>
          <p:spPr bwMode="gray">
            <a:xfrm>
              <a:off x="3705" y="1478"/>
              <a:ext cx="14" cy="6"/>
            </a:xfrm>
            <a:custGeom>
              <a:avLst/>
              <a:gdLst>
                <a:gd name="T0" fmla="*/ 0 w 10"/>
                <a:gd name="T1" fmla="*/ 2147483647 h 5"/>
                <a:gd name="T2" fmla="*/ 2147483647 w 10"/>
                <a:gd name="T3" fmla="*/ 0 h 5"/>
                <a:gd name="T4" fmla="*/ 2147483647 w 10"/>
                <a:gd name="T5" fmla="*/ 2147483647 h 5"/>
                <a:gd name="T6" fmla="*/ 2147483647 w 10"/>
                <a:gd name="T7" fmla="*/ 2147483647 h 5"/>
                <a:gd name="T8" fmla="*/ 2147483647 w 10"/>
                <a:gd name="T9" fmla="*/ 2147483647 h 5"/>
                <a:gd name="T10" fmla="*/ 0 w 10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0" y="2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6" y="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3" name="Freeform 730"/>
            <p:cNvSpPr>
              <a:spLocks/>
            </p:cNvSpPr>
            <p:nvPr/>
          </p:nvSpPr>
          <p:spPr bwMode="gray">
            <a:xfrm>
              <a:off x="3711" y="1468"/>
              <a:ext cx="8" cy="4"/>
            </a:xfrm>
            <a:custGeom>
              <a:avLst/>
              <a:gdLst>
                <a:gd name="T0" fmla="*/ 0 w 7"/>
                <a:gd name="T1" fmla="*/ 2147483647 h 3"/>
                <a:gd name="T2" fmla="*/ 2147483647 w 7"/>
                <a:gd name="T3" fmla="*/ 2147483647 h 3"/>
                <a:gd name="T4" fmla="*/ 2147483647 w 7"/>
                <a:gd name="T5" fmla="*/ 2147483647 h 3"/>
                <a:gd name="T6" fmla="*/ 2147483647 w 7"/>
                <a:gd name="T7" fmla="*/ 2147483647 h 3"/>
                <a:gd name="T8" fmla="*/ 2147483647 w 7"/>
                <a:gd name="T9" fmla="*/ 0 h 3"/>
                <a:gd name="T10" fmla="*/ 0 w 7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1"/>
                  </a:moveTo>
                  <a:lnTo>
                    <a:pt x="2" y="2"/>
                  </a:lnTo>
                  <a:lnTo>
                    <a:pt x="7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4" name="Freeform 731"/>
            <p:cNvSpPr>
              <a:spLocks/>
            </p:cNvSpPr>
            <p:nvPr/>
          </p:nvSpPr>
          <p:spPr bwMode="gray">
            <a:xfrm>
              <a:off x="3717" y="1466"/>
              <a:ext cx="12" cy="3"/>
            </a:xfrm>
            <a:custGeom>
              <a:avLst/>
              <a:gdLst>
                <a:gd name="T0" fmla="*/ 0 w 9"/>
                <a:gd name="T1" fmla="*/ 0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2147483647 h 2"/>
                <a:gd name="T8" fmla="*/ 2147483647 w 9"/>
                <a:gd name="T9" fmla="*/ 0 h 2"/>
                <a:gd name="T10" fmla="*/ 0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0"/>
                  </a:moveTo>
                  <a:lnTo>
                    <a:pt x="4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5" name="Freeform 732"/>
            <p:cNvSpPr>
              <a:spLocks/>
            </p:cNvSpPr>
            <p:nvPr/>
          </p:nvSpPr>
          <p:spPr bwMode="gray">
            <a:xfrm>
              <a:off x="3714" y="1427"/>
              <a:ext cx="8" cy="4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5" y="1"/>
                  </a:lnTo>
                  <a:lnTo>
                    <a:pt x="6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6" name="Freeform 733"/>
            <p:cNvSpPr>
              <a:spLocks/>
            </p:cNvSpPr>
            <p:nvPr/>
          </p:nvSpPr>
          <p:spPr bwMode="gray">
            <a:xfrm>
              <a:off x="3646" y="1368"/>
              <a:ext cx="16" cy="3"/>
            </a:xfrm>
            <a:custGeom>
              <a:avLst/>
              <a:gdLst>
                <a:gd name="T0" fmla="*/ 0 w 13"/>
                <a:gd name="T1" fmla="*/ 0 h 2"/>
                <a:gd name="T2" fmla="*/ 2147483647 w 13"/>
                <a:gd name="T3" fmla="*/ 0 h 2"/>
                <a:gd name="T4" fmla="*/ 2147483647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0 w 13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"/>
                <a:gd name="T20" fmla="*/ 13 w 1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">
                  <a:moveTo>
                    <a:pt x="0" y="0"/>
                  </a:moveTo>
                  <a:lnTo>
                    <a:pt x="9" y="0"/>
                  </a:lnTo>
                  <a:lnTo>
                    <a:pt x="13" y="1"/>
                  </a:lnTo>
                  <a:lnTo>
                    <a:pt x="11" y="2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7" name="Freeform 734"/>
            <p:cNvSpPr>
              <a:spLocks/>
            </p:cNvSpPr>
            <p:nvPr/>
          </p:nvSpPr>
          <p:spPr bwMode="gray">
            <a:xfrm>
              <a:off x="3674" y="1324"/>
              <a:ext cx="16" cy="7"/>
            </a:xfrm>
            <a:custGeom>
              <a:avLst/>
              <a:gdLst>
                <a:gd name="T0" fmla="*/ 0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w 12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5"/>
                <a:gd name="T23" fmla="*/ 12 w 1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5">
                  <a:moveTo>
                    <a:pt x="0" y="3"/>
                  </a:moveTo>
                  <a:lnTo>
                    <a:pt x="4" y="0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1" y="4"/>
                  </a:lnTo>
                  <a:lnTo>
                    <a:pt x="3" y="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8" name="Freeform 735"/>
            <p:cNvSpPr>
              <a:spLocks/>
            </p:cNvSpPr>
            <p:nvPr/>
          </p:nvSpPr>
          <p:spPr bwMode="gray">
            <a:xfrm>
              <a:off x="3371" y="1441"/>
              <a:ext cx="186" cy="100"/>
            </a:xfrm>
            <a:custGeom>
              <a:avLst/>
              <a:gdLst>
                <a:gd name="T0" fmla="*/ 2147483647 w 143"/>
                <a:gd name="T1" fmla="*/ 2147483647 h 76"/>
                <a:gd name="T2" fmla="*/ 2147483647 w 143"/>
                <a:gd name="T3" fmla="*/ 2147483647 h 76"/>
                <a:gd name="T4" fmla="*/ 2147483647 w 143"/>
                <a:gd name="T5" fmla="*/ 2147483647 h 76"/>
                <a:gd name="T6" fmla="*/ 2147483647 w 143"/>
                <a:gd name="T7" fmla="*/ 2147483647 h 76"/>
                <a:gd name="T8" fmla="*/ 2147483647 w 143"/>
                <a:gd name="T9" fmla="*/ 2147483647 h 76"/>
                <a:gd name="T10" fmla="*/ 2147483647 w 143"/>
                <a:gd name="T11" fmla="*/ 2147483647 h 76"/>
                <a:gd name="T12" fmla="*/ 2147483647 w 143"/>
                <a:gd name="T13" fmla="*/ 2147483647 h 76"/>
                <a:gd name="T14" fmla="*/ 2147483647 w 143"/>
                <a:gd name="T15" fmla="*/ 2147483647 h 76"/>
                <a:gd name="T16" fmla="*/ 2147483647 w 143"/>
                <a:gd name="T17" fmla="*/ 2147483647 h 76"/>
                <a:gd name="T18" fmla="*/ 2147483647 w 143"/>
                <a:gd name="T19" fmla="*/ 2147483647 h 76"/>
                <a:gd name="T20" fmla="*/ 2147483647 w 143"/>
                <a:gd name="T21" fmla="*/ 2147483647 h 76"/>
                <a:gd name="T22" fmla="*/ 2147483647 w 143"/>
                <a:gd name="T23" fmla="*/ 2147483647 h 76"/>
                <a:gd name="T24" fmla="*/ 2147483647 w 143"/>
                <a:gd name="T25" fmla="*/ 2147483647 h 76"/>
                <a:gd name="T26" fmla="*/ 2147483647 w 143"/>
                <a:gd name="T27" fmla="*/ 2147483647 h 76"/>
                <a:gd name="T28" fmla="*/ 2147483647 w 143"/>
                <a:gd name="T29" fmla="*/ 2147483647 h 76"/>
                <a:gd name="T30" fmla="*/ 2147483647 w 143"/>
                <a:gd name="T31" fmla="*/ 2147483647 h 76"/>
                <a:gd name="T32" fmla="*/ 2147483647 w 143"/>
                <a:gd name="T33" fmla="*/ 2147483647 h 76"/>
                <a:gd name="T34" fmla="*/ 2147483647 w 143"/>
                <a:gd name="T35" fmla="*/ 2147483647 h 76"/>
                <a:gd name="T36" fmla="*/ 2147483647 w 143"/>
                <a:gd name="T37" fmla="*/ 2147483647 h 76"/>
                <a:gd name="T38" fmla="*/ 2147483647 w 143"/>
                <a:gd name="T39" fmla="*/ 2147483647 h 76"/>
                <a:gd name="T40" fmla="*/ 2147483647 w 143"/>
                <a:gd name="T41" fmla="*/ 2147483647 h 76"/>
                <a:gd name="T42" fmla="*/ 2147483647 w 143"/>
                <a:gd name="T43" fmla="*/ 2147483647 h 76"/>
                <a:gd name="T44" fmla="*/ 2147483647 w 143"/>
                <a:gd name="T45" fmla="*/ 2147483647 h 76"/>
                <a:gd name="T46" fmla="*/ 2147483647 w 143"/>
                <a:gd name="T47" fmla="*/ 2147483647 h 76"/>
                <a:gd name="T48" fmla="*/ 2147483647 w 143"/>
                <a:gd name="T49" fmla="*/ 2147483647 h 76"/>
                <a:gd name="T50" fmla="*/ 2147483647 w 143"/>
                <a:gd name="T51" fmla="*/ 2147483647 h 76"/>
                <a:gd name="T52" fmla="*/ 2147483647 w 143"/>
                <a:gd name="T53" fmla="*/ 2147483647 h 76"/>
                <a:gd name="T54" fmla="*/ 2147483647 w 143"/>
                <a:gd name="T55" fmla="*/ 2147483647 h 76"/>
                <a:gd name="T56" fmla="*/ 2147483647 w 143"/>
                <a:gd name="T57" fmla="*/ 2147483647 h 76"/>
                <a:gd name="T58" fmla="*/ 2147483647 w 143"/>
                <a:gd name="T59" fmla="*/ 2147483647 h 76"/>
                <a:gd name="T60" fmla="*/ 2147483647 w 143"/>
                <a:gd name="T61" fmla="*/ 2147483647 h 76"/>
                <a:gd name="T62" fmla="*/ 2147483647 w 143"/>
                <a:gd name="T63" fmla="*/ 2147483647 h 76"/>
                <a:gd name="T64" fmla="*/ 2147483647 w 143"/>
                <a:gd name="T65" fmla="*/ 2147483647 h 76"/>
                <a:gd name="T66" fmla="*/ 2147483647 w 143"/>
                <a:gd name="T67" fmla="*/ 2147483647 h 76"/>
                <a:gd name="T68" fmla="*/ 2147483647 w 143"/>
                <a:gd name="T69" fmla="*/ 2147483647 h 76"/>
                <a:gd name="T70" fmla="*/ 2147483647 w 143"/>
                <a:gd name="T71" fmla="*/ 2147483647 h 76"/>
                <a:gd name="T72" fmla="*/ 2147483647 w 143"/>
                <a:gd name="T73" fmla="*/ 0 h 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3"/>
                <a:gd name="T112" fmla="*/ 0 h 76"/>
                <a:gd name="T113" fmla="*/ 143 w 143"/>
                <a:gd name="T114" fmla="*/ 76 h 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3" h="76">
                  <a:moveTo>
                    <a:pt x="130" y="0"/>
                  </a:moveTo>
                  <a:lnTo>
                    <a:pt x="142" y="3"/>
                  </a:lnTo>
                  <a:lnTo>
                    <a:pt x="143" y="7"/>
                  </a:lnTo>
                  <a:lnTo>
                    <a:pt x="139" y="11"/>
                  </a:lnTo>
                  <a:lnTo>
                    <a:pt x="140" y="15"/>
                  </a:lnTo>
                  <a:lnTo>
                    <a:pt x="131" y="16"/>
                  </a:lnTo>
                  <a:lnTo>
                    <a:pt x="119" y="21"/>
                  </a:lnTo>
                  <a:lnTo>
                    <a:pt x="107" y="22"/>
                  </a:lnTo>
                  <a:lnTo>
                    <a:pt x="103" y="24"/>
                  </a:lnTo>
                  <a:lnTo>
                    <a:pt x="93" y="25"/>
                  </a:lnTo>
                  <a:lnTo>
                    <a:pt x="91" y="27"/>
                  </a:lnTo>
                  <a:lnTo>
                    <a:pt x="84" y="29"/>
                  </a:lnTo>
                  <a:lnTo>
                    <a:pt x="79" y="31"/>
                  </a:lnTo>
                  <a:lnTo>
                    <a:pt x="75" y="34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0" y="43"/>
                  </a:lnTo>
                  <a:lnTo>
                    <a:pt x="59" y="46"/>
                  </a:lnTo>
                  <a:lnTo>
                    <a:pt x="51" y="46"/>
                  </a:lnTo>
                  <a:lnTo>
                    <a:pt x="50" y="50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2" y="57"/>
                  </a:lnTo>
                  <a:lnTo>
                    <a:pt x="38" y="58"/>
                  </a:lnTo>
                  <a:lnTo>
                    <a:pt x="38" y="65"/>
                  </a:lnTo>
                  <a:lnTo>
                    <a:pt x="29" y="76"/>
                  </a:lnTo>
                  <a:lnTo>
                    <a:pt x="21" y="74"/>
                  </a:lnTo>
                  <a:lnTo>
                    <a:pt x="19" y="73"/>
                  </a:lnTo>
                  <a:lnTo>
                    <a:pt x="9" y="73"/>
                  </a:lnTo>
                  <a:lnTo>
                    <a:pt x="8" y="70"/>
                  </a:lnTo>
                  <a:lnTo>
                    <a:pt x="11" y="68"/>
                  </a:lnTo>
                  <a:lnTo>
                    <a:pt x="17" y="66"/>
                  </a:lnTo>
                  <a:lnTo>
                    <a:pt x="16" y="65"/>
                  </a:lnTo>
                  <a:lnTo>
                    <a:pt x="6" y="67"/>
                  </a:lnTo>
                  <a:lnTo>
                    <a:pt x="0" y="64"/>
                  </a:lnTo>
                  <a:lnTo>
                    <a:pt x="2" y="62"/>
                  </a:lnTo>
                  <a:lnTo>
                    <a:pt x="8" y="61"/>
                  </a:lnTo>
                  <a:lnTo>
                    <a:pt x="9" y="57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19" y="58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17" y="53"/>
                  </a:lnTo>
                  <a:lnTo>
                    <a:pt x="18" y="50"/>
                  </a:lnTo>
                  <a:lnTo>
                    <a:pt x="24" y="49"/>
                  </a:lnTo>
                  <a:lnTo>
                    <a:pt x="20" y="46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0" y="41"/>
                  </a:lnTo>
                  <a:lnTo>
                    <a:pt x="19" y="37"/>
                  </a:lnTo>
                  <a:lnTo>
                    <a:pt x="17" y="35"/>
                  </a:lnTo>
                  <a:lnTo>
                    <a:pt x="21" y="34"/>
                  </a:lnTo>
                  <a:lnTo>
                    <a:pt x="26" y="35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40" y="31"/>
                  </a:lnTo>
                  <a:lnTo>
                    <a:pt x="43" y="26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55" y="22"/>
                  </a:lnTo>
                  <a:lnTo>
                    <a:pt x="60" y="18"/>
                  </a:lnTo>
                  <a:lnTo>
                    <a:pt x="65" y="18"/>
                  </a:lnTo>
                  <a:lnTo>
                    <a:pt x="65" y="2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70" y="15"/>
                  </a:lnTo>
                  <a:lnTo>
                    <a:pt x="80" y="14"/>
                  </a:lnTo>
                  <a:lnTo>
                    <a:pt x="81" y="16"/>
                  </a:lnTo>
                  <a:lnTo>
                    <a:pt x="91" y="14"/>
                  </a:lnTo>
                  <a:lnTo>
                    <a:pt x="114" y="9"/>
                  </a:lnTo>
                  <a:lnTo>
                    <a:pt x="115" y="3"/>
                  </a:lnTo>
                  <a:lnTo>
                    <a:pt x="122" y="3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39" name="Freeform 736"/>
            <p:cNvSpPr>
              <a:spLocks/>
            </p:cNvSpPr>
            <p:nvPr/>
          </p:nvSpPr>
          <p:spPr bwMode="gray">
            <a:xfrm>
              <a:off x="3927" y="1375"/>
              <a:ext cx="72" cy="43"/>
            </a:xfrm>
            <a:custGeom>
              <a:avLst/>
              <a:gdLst>
                <a:gd name="T0" fmla="*/ 2147483647 w 55"/>
                <a:gd name="T1" fmla="*/ 2147483647 h 33"/>
                <a:gd name="T2" fmla="*/ 2147483647 w 55"/>
                <a:gd name="T3" fmla="*/ 2147483647 h 33"/>
                <a:gd name="T4" fmla="*/ 2147483647 w 55"/>
                <a:gd name="T5" fmla="*/ 2147483647 h 33"/>
                <a:gd name="T6" fmla="*/ 2147483647 w 55"/>
                <a:gd name="T7" fmla="*/ 2147483647 h 33"/>
                <a:gd name="T8" fmla="*/ 2147483647 w 55"/>
                <a:gd name="T9" fmla="*/ 2147483647 h 33"/>
                <a:gd name="T10" fmla="*/ 2147483647 w 55"/>
                <a:gd name="T11" fmla="*/ 2147483647 h 33"/>
                <a:gd name="T12" fmla="*/ 2147483647 w 55"/>
                <a:gd name="T13" fmla="*/ 2147483647 h 33"/>
                <a:gd name="T14" fmla="*/ 2147483647 w 55"/>
                <a:gd name="T15" fmla="*/ 2147483647 h 33"/>
                <a:gd name="T16" fmla="*/ 2147483647 w 55"/>
                <a:gd name="T17" fmla="*/ 2147483647 h 33"/>
                <a:gd name="T18" fmla="*/ 2147483647 w 55"/>
                <a:gd name="T19" fmla="*/ 2147483647 h 33"/>
                <a:gd name="T20" fmla="*/ 2147483647 w 55"/>
                <a:gd name="T21" fmla="*/ 2147483647 h 33"/>
                <a:gd name="T22" fmla="*/ 2147483647 w 55"/>
                <a:gd name="T23" fmla="*/ 0 h 33"/>
                <a:gd name="T24" fmla="*/ 2147483647 w 55"/>
                <a:gd name="T25" fmla="*/ 2147483647 h 33"/>
                <a:gd name="T26" fmla="*/ 2147483647 w 55"/>
                <a:gd name="T27" fmla="*/ 2147483647 h 33"/>
                <a:gd name="T28" fmla="*/ 2147483647 w 55"/>
                <a:gd name="T29" fmla="*/ 2147483647 h 33"/>
                <a:gd name="T30" fmla="*/ 2147483647 w 55"/>
                <a:gd name="T31" fmla="*/ 0 h 33"/>
                <a:gd name="T32" fmla="*/ 2147483647 w 55"/>
                <a:gd name="T33" fmla="*/ 0 h 33"/>
                <a:gd name="T34" fmla="*/ 2147483647 w 55"/>
                <a:gd name="T35" fmla="*/ 2147483647 h 33"/>
                <a:gd name="T36" fmla="*/ 2147483647 w 55"/>
                <a:gd name="T37" fmla="*/ 2147483647 h 33"/>
                <a:gd name="T38" fmla="*/ 2147483647 w 55"/>
                <a:gd name="T39" fmla="*/ 2147483647 h 33"/>
                <a:gd name="T40" fmla="*/ 2147483647 w 55"/>
                <a:gd name="T41" fmla="*/ 2147483647 h 33"/>
                <a:gd name="T42" fmla="*/ 2147483647 w 55"/>
                <a:gd name="T43" fmla="*/ 2147483647 h 33"/>
                <a:gd name="T44" fmla="*/ 2147483647 w 55"/>
                <a:gd name="T45" fmla="*/ 2147483647 h 33"/>
                <a:gd name="T46" fmla="*/ 2147483647 w 55"/>
                <a:gd name="T47" fmla="*/ 2147483647 h 33"/>
                <a:gd name="T48" fmla="*/ 2147483647 w 55"/>
                <a:gd name="T49" fmla="*/ 2147483647 h 33"/>
                <a:gd name="T50" fmla="*/ 2147483647 w 55"/>
                <a:gd name="T51" fmla="*/ 2147483647 h 33"/>
                <a:gd name="T52" fmla="*/ 2147483647 w 55"/>
                <a:gd name="T53" fmla="*/ 2147483647 h 33"/>
                <a:gd name="T54" fmla="*/ 2147483647 w 55"/>
                <a:gd name="T55" fmla="*/ 2147483647 h 33"/>
                <a:gd name="T56" fmla="*/ 2147483647 w 55"/>
                <a:gd name="T57" fmla="*/ 2147483647 h 33"/>
                <a:gd name="T58" fmla="*/ 2147483647 w 55"/>
                <a:gd name="T59" fmla="*/ 2147483647 h 33"/>
                <a:gd name="T60" fmla="*/ 2147483647 w 55"/>
                <a:gd name="T61" fmla="*/ 2147483647 h 33"/>
                <a:gd name="T62" fmla="*/ 2147483647 w 55"/>
                <a:gd name="T63" fmla="*/ 2147483647 h 33"/>
                <a:gd name="T64" fmla="*/ 2147483647 w 55"/>
                <a:gd name="T65" fmla="*/ 2147483647 h 33"/>
                <a:gd name="T66" fmla="*/ 2147483647 w 55"/>
                <a:gd name="T67" fmla="*/ 2147483647 h 33"/>
                <a:gd name="T68" fmla="*/ 2147483647 w 55"/>
                <a:gd name="T69" fmla="*/ 2147483647 h 33"/>
                <a:gd name="T70" fmla="*/ 2147483647 w 55"/>
                <a:gd name="T71" fmla="*/ 2147483647 h 33"/>
                <a:gd name="T72" fmla="*/ 0 w 55"/>
                <a:gd name="T73" fmla="*/ 2147483647 h 33"/>
                <a:gd name="T74" fmla="*/ 0 w 55"/>
                <a:gd name="T75" fmla="*/ 2147483647 h 33"/>
                <a:gd name="T76" fmla="*/ 2147483647 w 55"/>
                <a:gd name="T77" fmla="*/ 2147483647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"/>
                <a:gd name="T118" fmla="*/ 0 h 33"/>
                <a:gd name="T119" fmla="*/ 55 w 55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" h="33">
                  <a:moveTo>
                    <a:pt x="7" y="24"/>
                  </a:moveTo>
                  <a:lnTo>
                    <a:pt x="6" y="21"/>
                  </a:lnTo>
                  <a:lnTo>
                    <a:pt x="7" y="20"/>
                  </a:lnTo>
                  <a:lnTo>
                    <a:pt x="8" y="14"/>
                  </a:lnTo>
                  <a:lnTo>
                    <a:pt x="15" y="13"/>
                  </a:lnTo>
                  <a:lnTo>
                    <a:pt x="14" y="10"/>
                  </a:lnTo>
                  <a:lnTo>
                    <a:pt x="16" y="7"/>
                  </a:lnTo>
                  <a:lnTo>
                    <a:pt x="15" y="6"/>
                  </a:lnTo>
                  <a:lnTo>
                    <a:pt x="17" y="4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21" y="0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8" y="3"/>
                  </a:lnTo>
                  <a:lnTo>
                    <a:pt x="29" y="0"/>
                  </a:lnTo>
                  <a:lnTo>
                    <a:pt x="34" y="0"/>
                  </a:lnTo>
                  <a:lnTo>
                    <a:pt x="35" y="3"/>
                  </a:lnTo>
                  <a:lnTo>
                    <a:pt x="32" y="4"/>
                  </a:lnTo>
                  <a:lnTo>
                    <a:pt x="32" y="9"/>
                  </a:lnTo>
                  <a:lnTo>
                    <a:pt x="36" y="7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4" y="7"/>
                  </a:lnTo>
                  <a:lnTo>
                    <a:pt x="50" y="11"/>
                  </a:lnTo>
                  <a:lnTo>
                    <a:pt x="50" y="14"/>
                  </a:lnTo>
                  <a:lnTo>
                    <a:pt x="55" y="17"/>
                  </a:lnTo>
                  <a:lnTo>
                    <a:pt x="54" y="21"/>
                  </a:lnTo>
                  <a:lnTo>
                    <a:pt x="43" y="27"/>
                  </a:lnTo>
                  <a:lnTo>
                    <a:pt x="37" y="27"/>
                  </a:lnTo>
                  <a:lnTo>
                    <a:pt x="32" y="29"/>
                  </a:lnTo>
                  <a:lnTo>
                    <a:pt x="30" y="26"/>
                  </a:lnTo>
                  <a:lnTo>
                    <a:pt x="25" y="26"/>
                  </a:lnTo>
                  <a:lnTo>
                    <a:pt x="19" y="28"/>
                  </a:lnTo>
                  <a:lnTo>
                    <a:pt x="9" y="30"/>
                  </a:lnTo>
                  <a:lnTo>
                    <a:pt x="5" y="33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0" name="Freeform 737"/>
            <p:cNvSpPr>
              <a:spLocks/>
            </p:cNvSpPr>
            <p:nvPr/>
          </p:nvSpPr>
          <p:spPr bwMode="gray">
            <a:xfrm>
              <a:off x="3853" y="1350"/>
              <a:ext cx="82" cy="44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2147483647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0 w 63"/>
                <a:gd name="T37" fmla="*/ 2147483647 h 33"/>
                <a:gd name="T38" fmla="*/ 2147483647 w 63"/>
                <a:gd name="T39" fmla="*/ 2147483647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2147483647 w 63"/>
                <a:gd name="T49" fmla="*/ 2147483647 h 33"/>
                <a:gd name="T50" fmla="*/ 2147483647 w 63"/>
                <a:gd name="T51" fmla="*/ 2147483647 h 33"/>
                <a:gd name="T52" fmla="*/ 2147483647 w 63"/>
                <a:gd name="T53" fmla="*/ 0 h 33"/>
                <a:gd name="T54" fmla="*/ 2147483647 w 63"/>
                <a:gd name="T55" fmla="*/ 2147483647 h 33"/>
                <a:gd name="T56" fmla="*/ 2147483647 w 63"/>
                <a:gd name="T57" fmla="*/ 2147483647 h 33"/>
                <a:gd name="T58" fmla="*/ 2147483647 w 63"/>
                <a:gd name="T59" fmla="*/ 2147483647 h 33"/>
                <a:gd name="T60" fmla="*/ 2147483647 w 63"/>
                <a:gd name="T61" fmla="*/ 2147483647 h 33"/>
                <a:gd name="T62" fmla="*/ 2147483647 w 63"/>
                <a:gd name="T63" fmla="*/ 2147483647 h 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3"/>
                <a:gd name="T97" fmla="*/ 0 h 33"/>
                <a:gd name="T98" fmla="*/ 63 w 63"/>
                <a:gd name="T99" fmla="*/ 33 h 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3" h="33">
                  <a:moveTo>
                    <a:pt x="51" y="3"/>
                  </a:moveTo>
                  <a:lnTo>
                    <a:pt x="56" y="4"/>
                  </a:lnTo>
                  <a:lnTo>
                    <a:pt x="63" y="10"/>
                  </a:lnTo>
                  <a:lnTo>
                    <a:pt x="61" y="20"/>
                  </a:lnTo>
                  <a:lnTo>
                    <a:pt x="57" y="21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62" y="28"/>
                  </a:lnTo>
                  <a:lnTo>
                    <a:pt x="62" y="31"/>
                  </a:lnTo>
                  <a:lnTo>
                    <a:pt x="42" y="33"/>
                  </a:lnTo>
                  <a:lnTo>
                    <a:pt x="38" y="33"/>
                  </a:lnTo>
                  <a:lnTo>
                    <a:pt x="37" y="31"/>
                  </a:lnTo>
                  <a:lnTo>
                    <a:pt x="21" y="26"/>
                  </a:lnTo>
                  <a:lnTo>
                    <a:pt x="17" y="27"/>
                  </a:lnTo>
                  <a:lnTo>
                    <a:pt x="11" y="25"/>
                  </a:lnTo>
                  <a:lnTo>
                    <a:pt x="8" y="22"/>
                  </a:lnTo>
                  <a:lnTo>
                    <a:pt x="10" y="17"/>
                  </a:lnTo>
                  <a:lnTo>
                    <a:pt x="5" y="17"/>
                  </a:lnTo>
                  <a:lnTo>
                    <a:pt x="0" y="14"/>
                  </a:lnTo>
                  <a:lnTo>
                    <a:pt x="2" y="13"/>
                  </a:lnTo>
                  <a:lnTo>
                    <a:pt x="4" y="10"/>
                  </a:lnTo>
                  <a:lnTo>
                    <a:pt x="10" y="9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18" y="3"/>
                  </a:lnTo>
                  <a:lnTo>
                    <a:pt x="26" y="1"/>
                  </a:lnTo>
                  <a:lnTo>
                    <a:pt x="40" y="0"/>
                  </a:lnTo>
                  <a:lnTo>
                    <a:pt x="44" y="3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7" y="7"/>
                  </a:lnTo>
                  <a:lnTo>
                    <a:pt x="51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1" name="Freeform 738"/>
            <p:cNvSpPr>
              <a:spLocks/>
            </p:cNvSpPr>
            <p:nvPr/>
          </p:nvSpPr>
          <p:spPr bwMode="gray">
            <a:xfrm>
              <a:off x="3827" y="1311"/>
              <a:ext cx="82" cy="43"/>
            </a:xfrm>
            <a:custGeom>
              <a:avLst/>
              <a:gdLst>
                <a:gd name="T0" fmla="*/ 2147483647 w 63"/>
                <a:gd name="T1" fmla="*/ 2147483647 h 33"/>
                <a:gd name="T2" fmla="*/ 2147483647 w 63"/>
                <a:gd name="T3" fmla="*/ 2147483647 h 33"/>
                <a:gd name="T4" fmla="*/ 2147483647 w 63"/>
                <a:gd name="T5" fmla="*/ 2147483647 h 33"/>
                <a:gd name="T6" fmla="*/ 2147483647 w 63"/>
                <a:gd name="T7" fmla="*/ 2147483647 h 33"/>
                <a:gd name="T8" fmla="*/ 2147483647 w 63"/>
                <a:gd name="T9" fmla="*/ 2147483647 h 33"/>
                <a:gd name="T10" fmla="*/ 2147483647 w 63"/>
                <a:gd name="T11" fmla="*/ 2147483647 h 33"/>
                <a:gd name="T12" fmla="*/ 2147483647 w 63"/>
                <a:gd name="T13" fmla="*/ 2147483647 h 33"/>
                <a:gd name="T14" fmla="*/ 2147483647 w 63"/>
                <a:gd name="T15" fmla="*/ 2147483647 h 33"/>
                <a:gd name="T16" fmla="*/ 2147483647 w 63"/>
                <a:gd name="T17" fmla="*/ 2147483647 h 33"/>
                <a:gd name="T18" fmla="*/ 2147483647 w 63"/>
                <a:gd name="T19" fmla="*/ 2147483647 h 33"/>
                <a:gd name="T20" fmla="*/ 2147483647 w 63"/>
                <a:gd name="T21" fmla="*/ 2147483647 h 33"/>
                <a:gd name="T22" fmla="*/ 0 w 63"/>
                <a:gd name="T23" fmla="*/ 2147483647 h 33"/>
                <a:gd name="T24" fmla="*/ 2147483647 w 63"/>
                <a:gd name="T25" fmla="*/ 2147483647 h 33"/>
                <a:gd name="T26" fmla="*/ 2147483647 w 63"/>
                <a:gd name="T27" fmla="*/ 2147483647 h 33"/>
                <a:gd name="T28" fmla="*/ 2147483647 w 63"/>
                <a:gd name="T29" fmla="*/ 2147483647 h 33"/>
                <a:gd name="T30" fmla="*/ 2147483647 w 63"/>
                <a:gd name="T31" fmla="*/ 2147483647 h 33"/>
                <a:gd name="T32" fmla="*/ 2147483647 w 63"/>
                <a:gd name="T33" fmla="*/ 2147483647 h 33"/>
                <a:gd name="T34" fmla="*/ 2147483647 w 63"/>
                <a:gd name="T35" fmla="*/ 2147483647 h 33"/>
                <a:gd name="T36" fmla="*/ 2147483647 w 63"/>
                <a:gd name="T37" fmla="*/ 2147483647 h 33"/>
                <a:gd name="T38" fmla="*/ 2147483647 w 63"/>
                <a:gd name="T39" fmla="*/ 0 h 33"/>
                <a:gd name="T40" fmla="*/ 2147483647 w 63"/>
                <a:gd name="T41" fmla="*/ 2147483647 h 33"/>
                <a:gd name="T42" fmla="*/ 2147483647 w 63"/>
                <a:gd name="T43" fmla="*/ 2147483647 h 33"/>
                <a:gd name="T44" fmla="*/ 2147483647 w 63"/>
                <a:gd name="T45" fmla="*/ 2147483647 h 33"/>
                <a:gd name="T46" fmla="*/ 2147483647 w 63"/>
                <a:gd name="T47" fmla="*/ 2147483647 h 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33"/>
                <a:gd name="T74" fmla="*/ 63 w 63"/>
                <a:gd name="T75" fmla="*/ 33 h 3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33">
                  <a:moveTo>
                    <a:pt x="63" y="16"/>
                  </a:moveTo>
                  <a:lnTo>
                    <a:pt x="56" y="20"/>
                  </a:lnTo>
                  <a:lnTo>
                    <a:pt x="56" y="25"/>
                  </a:lnTo>
                  <a:lnTo>
                    <a:pt x="57" y="27"/>
                  </a:lnTo>
                  <a:lnTo>
                    <a:pt x="39" y="28"/>
                  </a:lnTo>
                  <a:lnTo>
                    <a:pt x="33" y="29"/>
                  </a:lnTo>
                  <a:lnTo>
                    <a:pt x="31" y="32"/>
                  </a:lnTo>
                  <a:lnTo>
                    <a:pt x="20" y="33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5" y="22"/>
                  </a:lnTo>
                  <a:lnTo>
                    <a:pt x="12" y="22"/>
                  </a:lnTo>
                  <a:lnTo>
                    <a:pt x="16" y="19"/>
                  </a:lnTo>
                  <a:lnTo>
                    <a:pt x="11" y="15"/>
                  </a:lnTo>
                  <a:lnTo>
                    <a:pt x="17" y="11"/>
                  </a:lnTo>
                  <a:lnTo>
                    <a:pt x="35" y="6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8" y="3"/>
                  </a:lnTo>
                  <a:lnTo>
                    <a:pt x="52" y="11"/>
                  </a:lnTo>
                  <a:lnTo>
                    <a:pt x="61" y="15"/>
                  </a:lnTo>
                  <a:lnTo>
                    <a:pt x="63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2" name="Freeform 739"/>
            <p:cNvSpPr>
              <a:spLocks/>
            </p:cNvSpPr>
            <p:nvPr/>
          </p:nvSpPr>
          <p:spPr bwMode="gray">
            <a:xfrm>
              <a:off x="3824" y="1353"/>
              <a:ext cx="30" cy="15"/>
            </a:xfrm>
            <a:custGeom>
              <a:avLst/>
              <a:gdLst>
                <a:gd name="T0" fmla="*/ 2147483647 w 23"/>
                <a:gd name="T1" fmla="*/ 2147483647 h 11"/>
                <a:gd name="T2" fmla="*/ 2147483647 w 23"/>
                <a:gd name="T3" fmla="*/ 2147483647 h 11"/>
                <a:gd name="T4" fmla="*/ 2147483647 w 23"/>
                <a:gd name="T5" fmla="*/ 2147483647 h 11"/>
                <a:gd name="T6" fmla="*/ 2147483647 w 23"/>
                <a:gd name="T7" fmla="*/ 2147483647 h 11"/>
                <a:gd name="T8" fmla="*/ 2147483647 w 23"/>
                <a:gd name="T9" fmla="*/ 2147483647 h 11"/>
                <a:gd name="T10" fmla="*/ 2147483647 w 23"/>
                <a:gd name="T11" fmla="*/ 2147483647 h 11"/>
                <a:gd name="T12" fmla="*/ 2147483647 w 23"/>
                <a:gd name="T13" fmla="*/ 2147483647 h 11"/>
                <a:gd name="T14" fmla="*/ 2147483647 w 23"/>
                <a:gd name="T15" fmla="*/ 2147483647 h 11"/>
                <a:gd name="T16" fmla="*/ 2147483647 w 23"/>
                <a:gd name="T17" fmla="*/ 2147483647 h 11"/>
                <a:gd name="T18" fmla="*/ 0 w 23"/>
                <a:gd name="T19" fmla="*/ 0 h 11"/>
                <a:gd name="T20" fmla="*/ 2147483647 w 23"/>
                <a:gd name="T21" fmla="*/ 0 h 11"/>
                <a:gd name="T22" fmla="*/ 2147483647 w 23"/>
                <a:gd name="T23" fmla="*/ 2147483647 h 11"/>
                <a:gd name="T24" fmla="*/ 2147483647 w 23"/>
                <a:gd name="T25" fmla="*/ 2147483647 h 11"/>
                <a:gd name="T26" fmla="*/ 2147483647 w 23"/>
                <a:gd name="T27" fmla="*/ 2147483647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11"/>
                <a:gd name="T44" fmla="*/ 23 w 23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11">
                  <a:moveTo>
                    <a:pt x="23" y="4"/>
                  </a:moveTo>
                  <a:lnTo>
                    <a:pt x="17" y="8"/>
                  </a:lnTo>
                  <a:lnTo>
                    <a:pt x="11" y="11"/>
                  </a:lnTo>
                  <a:lnTo>
                    <a:pt x="9" y="10"/>
                  </a:lnTo>
                  <a:lnTo>
                    <a:pt x="13" y="9"/>
                  </a:lnTo>
                  <a:lnTo>
                    <a:pt x="9" y="8"/>
                  </a:lnTo>
                  <a:lnTo>
                    <a:pt x="4" y="7"/>
                  </a:lnTo>
                  <a:lnTo>
                    <a:pt x="4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3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3" name="Freeform 740"/>
            <p:cNvSpPr>
              <a:spLocks/>
            </p:cNvSpPr>
            <p:nvPr/>
          </p:nvSpPr>
          <p:spPr bwMode="gray">
            <a:xfrm>
              <a:off x="3847" y="1368"/>
              <a:ext cx="5" cy="5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lnTo>
                    <a:pt x="3" y="2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4" name="Freeform 741"/>
            <p:cNvSpPr>
              <a:spLocks/>
            </p:cNvSpPr>
            <p:nvPr/>
          </p:nvSpPr>
          <p:spPr bwMode="gray">
            <a:xfrm>
              <a:off x="3837" y="1373"/>
              <a:ext cx="9" cy="0"/>
            </a:xfrm>
            <a:custGeom>
              <a:avLst/>
              <a:gdLst>
                <a:gd name="T0" fmla="*/ 0 w 7"/>
                <a:gd name="T1" fmla="*/ 0 h 1"/>
                <a:gd name="T2" fmla="*/ 2147483647 w 7"/>
                <a:gd name="T3" fmla="*/ 0 h 1"/>
                <a:gd name="T4" fmla="*/ 2147483647 w 7"/>
                <a:gd name="T5" fmla="*/ 0 h 1"/>
                <a:gd name="T6" fmla="*/ 2147483647 w 7"/>
                <a:gd name="T7" fmla="*/ 0 h 1"/>
                <a:gd name="T8" fmla="*/ 0 w 7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"/>
                <a:gd name="T17" fmla="*/ 7 w 7"/>
                <a:gd name="T18" fmla="*/ 0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5" name="Freeform 742"/>
            <p:cNvSpPr>
              <a:spLocks/>
            </p:cNvSpPr>
            <p:nvPr/>
          </p:nvSpPr>
          <p:spPr bwMode="gray">
            <a:xfrm>
              <a:off x="4007" y="1406"/>
              <a:ext cx="6" cy="3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1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6" name="Freeform 743"/>
            <p:cNvSpPr>
              <a:spLocks/>
            </p:cNvSpPr>
            <p:nvPr/>
          </p:nvSpPr>
          <p:spPr bwMode="gray">
            <a:xfrm>
              <a:off x="4015" y="140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7" name="Rectangle 744"/>
            <p:cNvSpPr>
              <a:spLocks noChangeArrowheads="1"/>
            </p:cNvSpPr>
            <p:nvPr/>
          </p:nvSpPr>
          <p:spPr bwMode="gray">
            <a:xfrm>
              <a:off x="4013" y="1428"/>
              <a:ext cx="6" cy="2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GB" altLang="en-US" sz="900">
                <a:ea typeface="MS PGothic" charset="-128"/>
              </a:endParaRPr>
            </a:p>
          </p:txBody>
        </p:sp>
        <p:sp>
          <p:nvSpPr>
            <p:cNvPr id="1548" name="Freeform 745"/>
            <p:cNvSpPr>
              <a:spLocks/>
            </p:cNvSpPr>
            <p:nvPr/>
          </p:nvSpPr>
          <p:spPr bwMode="gray">
            <a:xfrm>
              <a:off x="4021" y="1432"/>
              <a:ext cx="6" cy="4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0 w 5"/>
                <a:gd name="T9" fmla="*/ 2147483647 h 3"/>
                <a:gd name="T10" fmla="*/ 0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49" name="Freeform 746"/>
            <p:cNvSpPr>
              <a:spLocks/>
            </p:cNvSpPr>
            <p:nvPr/>
          </p:nvSpPr>
          <p:spPr bwMode="gray">
            <a:xfrm>
              <a:off x="3876" y="1436"/>
              <a:ext cx="16" cy="7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0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0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1" y="2"/>
                  </a:moveTo>
                  <a:lnTo>
                    <a:pt x="12" y="0"/>
                  </a:lnTo>
                  <a:lnTo>
                    <a:pt x="12" y="3"/>
                  </a:lnTo>
                  <a:lnTo>
                    <a:pt x="4" y="5"/>
                  </a:lnTo>
                  <a:lnTo>
                    <a:pt x="0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0" name="Freeform 747"/>
            <p:cNvSpPr>
              <a:spLocks/>
            </p:cNvSpPr>
            <p:nvPr/>
          </p:nvSpPr>
          <p:spPr bwMode="gray">
            <a:xfrm>
              <a:off x="3861" y="1448"/>
              <a:ext cx="7" cy="5"/>
            </a:xfrm>
            <a:custGeom>
              <a:avLst/>
              <a:gdLst>
                <a:gd name="T0" fmla="*/ 2147483647 w 6"/>
                <a:gd name="T1" fmla="*/ 0 h 4"/>
                <a:gd name="T2" fmla="*/ 2147483647 w 6"/>
                <a:gd name="T3" fmla="*/ 2147483647 h 4"/>
                <a:gd name="T4" fmla="*/ 2147483647 w 6"/>
                <a:gd name="T5" fmla="*/ 2147483647 h 4"/>
                <a:gd name="T6" fmla="*/ 2147483647 w 6"/>
                <a:gd name="T7" fmla="*/ 2147483647 h 4"/>
                <a:gd name="T8" fmla="*/ 0 w 6"/>
                <a:gd name="T9" fmla="*/ 2147483647 h 4"/>
                <a:gd name="T10" fmla="*/ 2147483647 w 6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4"/>
                <a:gd name="T20" fmla="*/ 6 w 6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4">
                  <a:moveTo>
                    <a:pt x="6" y="0"/>
                  </a:moveTo>
                  <a:lnTo>
                    <a:pt x="6" y="1"/>
                  </a:lnTo>
                  <a:lnTo>
                    <a:pt x="4" y="2"/>
                  </a:lnTo>
                  <a:lnTo>
                    <a:pt x="1" y="4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1" name="Freeform 748"/>
            <p:cNvSpPr>
              <a:spLocks/>
            </p:cNvSpPr>
            <p:nvPr/>
          </p:nvSpPr>
          <p:spPr bwMode="gray">
            <a:xfrm>
              <a:off x="3873" y="1447"/>
              <a:ext cx="3" cy="2"/>
            </a:xfrm>
            <a:custGeom>
              <a:avLst/>
              <a:gdLst>
                <a:gd name="T0" fmla="*/ 0 w 3"/>
                <a:gd name="T1" fmla="*/ 2147483646 h 2"/>
                <a:gd name="T2" fmla="*/ 2147483646 w 3"/>
                <a:gd name="T3" fmla="*/ 0 h 2"/>
                <a:gd name="T4" fmla="*/ 2147483646 w 3"/>
                <a:gd name="T5" fmla="*/ 2147483646 h 2"/>
                <a:gd name="T6" fmla="*/ 0 w 3"/>
                <a:gd name="T7" fmla="*/ 2147483646 h 2"/>
                <a:gd name="T8" fmla="*/ 0 w 3"/>
                <a:gd name="T9" fmla="*/ 2147483646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2" name="Freeform 749"/>
            <p:cNvSpPr>
              <a:spLocks/>
            </p:cNvSpPr>
            <p:nvPr/>
          </p:nvSpPr>
          <p:spPr bwMode="gray">
            <a:xfrm>
              <a:off x="3884" y="1449"/>
              <a:ext cx="5" cy="4"/>
            </a:xfrm>
            <a:custGeom>
              <a:avLst/>
              <a:gdLst>
                <a:gd name="T0" fmla="*/ 0 w 4"/>
                <a:gd name="T1" fmla="*/ 2147483647 h 3"/>
                <a:gd name="T2" fmla="*/ 2147483647 w 4"/>
                <a:gd name="T3" fmla="*/ 0 h 3"/>
                <a:gd name="T4" fmla="*/ 2147483647 w 4"/>
                <a:gd name="T5" fmla="*/ 0 h 3"/>
                <a:gd name="T6" fmla="*/ 2147483647 w 4"/>
                <a:gd name="T7" fmla="*/ 2147483647 h 3"/>
                <a:gd name="T8" fmla="*/ 0 w 4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1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3" name="Freeform 750"/>
            <p:cNvSpPr>
              <a:spLocks/>
            </p:cNvSpPr>
            <p:nvPr/>
          </p:nvSpPr>
          <p:spPr bwMode="gray">
            <a:xfrm>
              <a:off x="3876" y="1460"/>
              <a:ext cx="13" cy="3"/>
            </a:xfrm>
            <a:custGeom>
              <a:avLst/>
              <a:gdLst>
                <a:gd name="T0" fmla="*/ 0 w 10"/>
                <a:gd name="T1" fmla="*/ 2147483646 h 3"/>
                <a:gd name="T2" fmla="*/ 2147483647 w 10"/>
                <a:gd name="T3" fmla="*/ 0 h 3"/>
                <a:gd name="T4" fmla="*/ 2147483647 w 10"/>
                <a:gd name="T5" fmla="*/ 0 h 3"/>
                <a:gd name="T6" fmla="*/ 2147483647 w 10"/>
                <a:gd name="T7" fmla="*/ 0 h 3"/>
                <a:gd name="T8" fmla="*/ 2147483647 w 10"/>
                <a:gd name="T9" fmla="*/ 2147483646 h 3"/>
                <a:gd name="T10" fmla="*/ 2147483647 w 10"/>
                <a:gd name="T11" fmla="*/ 2147483646 h 3"/>
                <a:gd name="T12" fmla="*/ 0 w 10"/>
                <a:gd name="T13" fmla="*/ 2147483646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3"/>
                <a:gd name="T23" fmla="*/ 10 w 10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3">
                  <a:moveTo>
                    <a:pt x="0" y="1"/>
                  </a:moveTo>
                  <a:lnTo>
                    <a:pt x="1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4" name="Freeform 751"/>
            <p:cNvSpPr>
              <a:spLocks/>
            </p:cNvSpPr>
            <p:nvPr/>
          </p:nvSpPr>
          <p:spPr bwMode="gray">
            <a:xfrm>
              <a:off x="3894" y="1463"/>
              <a:ext cx="5" cy="3"/>
            </a:xfrm>
            <a:custGeom>
              <a:avLst/>
              <a:gdLst>
                <a:gd name="T0" fmla="*/ 0 w 4"/>
                <a:gd name="T1" fmla="*/ 2147483647 h 2"/>
                <a:gd name="T2" fmla="*/ 2147483647 w 4"/>
                <a:gd name="T3" fmla="*/ 0 h 2"/>
                <a:gd name="T4" fmla="*/ 2147483647 w 4"/>
                <a:gd name="T5" fmla="*/ 2147483647 h 2"/>
                <a:gd name="T6" fmla="*/ 2147483647 w 4"/>
                <a:gd name="T7" fmla="*/ 2147483647 h 2"/>
                <a:gd name="T8" fmla="*/ 0 w 4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1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5" name="Freeform 752"/>
            <p:cNvSpPr>
              <a:spLocks/>
            </p:cNvSpPr>
            <p:nvPr/>
          </p:nvSpPr>
          <p:spPr bwMode="gray">
            <a:xfrm>
              <a:off x="4079" y="1451"/>
              <a:ext cx="10" cy="5"/>
            </a:xfrm>
            <a:custGeom>
              <a:avLst/>
              <a:gdLst>
                <a:gd name="T0" fmla="*/ 2147483647 w 8"/>
                <a:gd name="T1" fmla="*/ 0 h 4"/>
                <a:gd name="T2" fmla="*/ 2147483647 w 8"/>
                <a:gd name="T3" fmla="*/ 0 h 4"/>
                <a:gd name="T4" fmla="*/ 2147483647 w 8"/>
                <a:gd name="T5" fmla="*/ 2147483647 h 4"/>
                <a:gd name="T6" fmla="*/ 2147483647 w 8"/>
                <a:gd name="T7" fmla="*/ 2147483647 h 4"/>
                <a:gd name="T8" fmla="*/ 0 w 8"/>
                <a:gd name="T9" fmla="*/ 0 h 4"/>
                <a:gd name="T10" fmla="*/ 214748364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5" y="0"/>
                  </a:lnTo>
                  <a:lnTo>
                    <a:pt x="8" y="4"/>
                  </a:lnTo>
                  <a:lnTo>
                    <a:pt x="5" y="4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6" name="Freeform 753"/>
            <p:cNvSpPr>
              <a:spLocks/>
            </p:cNvSpPr>
            <p:nvPr/>
          </p:nvSpPr>
          <p:spPr bwMode="gray">
            <a:xfrm>
              <a:off x="4091" y="1456"/>
              <a:ext cx="4" cy="1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2147483646 h 1"/>
                <a:gd name="T4" fmla="*/ 0 w 3"/>
                <a:gd name="T5" fmla="*/ 2147483646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1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7" name="Freeform 754"/>
            <p:cNvSpPr>
              <a:spLocks/>
            </p:cNvSpPr>
            <p:nvPr/>
          </p:nvSpPr>
          <p:spPr bwMode="gray">
            <a:xfrm>
              <a:off x="3137" y="2445"/>
              <a:ext cx="5" cy="9"/>
            </a:xfrm>
            <a:custGeom>
              <a:avLst/>
              <a:gdLst>
                <a:gd name="T0" fmla="*/ 2147483647 w 4"/>
                <a:gd name="T1" fmla="*/ 0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0 w 4"/>
                <a:gd name="T7" fmla="*/ 2147483647 h 7"/>
                <a:gd name="T8" fmla="*/ 2147483647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0"/>
                  </a:moveTo>
                  <a:lnTo>
                    <a:pt x="4" y="3"/>
                  </a:lnTo>
                  <a:lnTo>
                    <a:pt x="1" y="7"/>
                  </a:lnTo>
                  <a:lnTo>
                    <a:pt x="0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8" name="Freeform 755"/>
            <p:cNvSpPr>
              <a:spLocks/>
            </p:cNvSpPr>
            <p:nvPr/>
          </p:nvSpPr>
          <p:spPr bwMode="gray">
            <a:xfrm>
              <a:off x="3151" y="2371"/>
              <a:ext cx="17" cy="44"/>
            </a:xfrm>
            <a:custGeom>
              <a:avLst/>
              <a:gdLst>
                <a:gd name="T0" fmla="*/ 2147483647 w 13"/>
                <a:gd name="T1" fmla="*/ 2147483647 h 34"/>
                <a:gd name="T2" fmla="*/ 2147483647 w 13"/>
                <a:gd name="T3" fmla="*/ 2147483647 h 34"/>
                <a:gd name="T4" fmla="*/ 2147483647 w 13"/>
                <a:gd name="T5" fmla="*/ 2147483647 h 34"/>
                <a:gd name="T6" fmla="*/ 2147483647 w 13"/>
                <a:gd name="T7" fmla="*/ 2147483647 h 34"/>
                <a:gd name="T8" fmla="*/ 0 w 13"/>
                <a:gd name="T9" fmla="*/ 2147483647 h 34"/>
                <a:gd name="T10" fmla="*/ 2147483647 w 13"/>
                <a:gd name="T11" fmla="*/ 2147483647 h 34"/>
                <a:gd name="T12" fmla="*/ 2147483647 w 13"/>
                <a:gd name="T13" fmla="*/ 2147483647 h 34"/>
                <a:gd name="T14" fmla="*/ 2147483647 w 13"/>
                <a:gd name="T15" fmla="*/ 2147483647 h 34"/>
                <a:gd name="T16" fmla="*/ 2147483647 w 13"/>
                <a:gd name="T17" fmla="*/ 0 h 34"/>
                <a:gd name="T18" fmla="*/ 2147483647 w 13"/>
                <a:gd name="T19" fmla="*/ 2147483647 h 34"/>
                <a:gd name="T20" fmla="*/ 2147483647 w 13"/>
                <a:gd name="T21" fmla="*/ 2147483647 h 34"/>
                <a:gd name="T22" fmla="*/ 2147483647 w 13"/>
                <a:gd name="T23" fmla="*/ 2147483647 h 34"/>
                <a:gd name="T24" fmla="*/ 2147483647 w 13"/>
                <a:gd name="T25" fmla="*/ 2147483647 h 34"/>
                <a:gd name="T26" fmla="*/ 2147483647 w 13"/>
                <a:gd name="T27" fmla="*/ 2147483647 h 34"/>
                <a:gd name="T28" fmla="*/ 2147483647 w 13"/>
                <a:gd name="T29" fmla="*/ 2147483647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34"/>
                <a:gd name="T47" fmla="*/ 13 w 13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34">
                  <a:moveTo>
                    <a:pt x="7" y="31"/>
                  </a:moveTo>
                  <a:lnTo>
                    <a:pt x="5" y="30"/>
                  </a:lnTo>
                  <a:lnTo>
                    <a:pt x="3" y="34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1" y="30"/>
                  </a:lnTo>
                  <a:lnTo>
                    <a:pt x="3" y="26"/>
                  </a:lnTo>
                  <a:lnTo>
                    <a:pt x="4" y="6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2" y="12"/>
                  </a:lnTo>
                  <a:lnTo>
                    <a:pt x="13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59" name="Freeform 756"/>
            <p:cNvSpPr>
              <a:spLocks/>
            </p:cNvSpPr>
            <p:nvPr/>
          </p:nvSpPr>
          <p:spPr bwMode="gray">
            <a:xfrm>
              <a:off x="3139" y="2410"/>
              <a:ext cx="21" cy="64"/>
            </a:xfrm>
            <a:custGeom>
              <a:avLst/>
              <a:gdLst>
                <a:gd name="T0" fmla="*/ 2147483647 w 17"/>
                <a:gd name="T1" fmla="*/ 2147483647 h 49"/>
                <a:gd name="T2" fmla="*/ 2147483647 w 17"/>
                <a:gd name="T3" fmla="*/ 2147483647 h 49"/>
                <a:gd name="T4" fmla="*/ 2147483647 w 17"/>
                <a:gd name="T5" fmla="*/ 2147483647 h 49"/>
                <a:gd name="T6" fmla="*/ 2147483647 w 17"/>
                <a:gd name="T7" fmla="*/ 2147483647 h 49"/>
                <a:gd name="T8" fmla="*/ 2147483647 w 17"/>
                <a:gd name="T9" fmla="*/ 2147483647 h 49"/>
                <a:gd name="T10" fmla="*/ 2147483647 w 17"/>
                <a:gd name="T11" fmla="*/ 2147483647 h 49"/>
                <a:gd name="T12" fmla="*/ 2147483647 w 17"/>
                <a:gd name="T13" fmla="*/ 2147483647 h 49"/>
                <a:gd name="T14" fmla="*/ 2147483647 w 17"/>
                <a:gd name="T15" fmla="*/ 2147483647 h 49"/>
                <a:gd name="T16" fmla="*/ 2147483647 w 17"/>
                <a:gd name="T17" fmla="*/ 0 h 49"/>
                <a:gd name="T18" fmla="*/ 2147483647 w 17"/>
                <a:gd name="T19" fmla="*/ 2147483647 h 49"/>
                <a:gd name="T20" fmla="*/ 2147483647 w 17"/>
                <a:gd name="T21" fmla="*/ 2147483647 h 49"/>
                <a:gd name="T22" fmla="*/ 2147483647 w 17"/>
                <a:gd name="T23" fmla="*/ 2147483647 h 49"/>
                <a:gd name="T24" fmla="*/ 2147483647 w 17"/>
                <a:gd name="T25" fmla="*/ 2147483647 h 49"/>
                <a:gd name="T26" fmla="*/ 2147483647 w 17"/>
                <a:gd name="T27" fmla="*/ 2147483647 h 49"/>
                <a:gd name="T28" fmla="*/ 2147483647 w 17"/>
                <a:gd name="T29" fmla="*/ 2147483647 h 49"/>
                <a:gd name="T30" fmla="*/ 2147483647 w 17"/>
                <a:gd name="T31" fmla="*/ 2147483647 h 49"/>
                <a:gd name="T32" fmla="*/ 2147483647 w 17"/>
                <a:gd name="T33" fmla="*/ 2147483647 h 49"/>
                <a:gd name="T34" fmla="*/ 2147483647 w 17"/>
                <a:gd name="T35" fmla="*/ 2147483647 h 49"/>
                <a:gd name="T36" fmla="*/ 2147483647 w 17"/>
                <a:gd name="T37" fmla="*/ 2147483647 h 49"/>
                <a:gd name="T38" fmla="*/ 2147483647 w 17"/>
                <a:gd name="T39" fmla="*/ 2147483647 h 49"/>
                <a:gd name="T40" fmla="*/ 2147483647 w 17"/>
                <a:gd name="T41" fmla="*/ 2147483647 h 49"/>
                <a:gd name="T42" fmla="*/ 0 w 17"/>
                <a:gd name="T43" fmla="*/ 2147483647 h 49"/>
                <a:gd name="T44" fmla="*/ 2147483647 w 17"/>
                <a:gd name="T45" fmla="*/ 2147483647 h 49"/>
                <a:gd name="T46" fmla="*/ 2147483647 w 1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"/>
                <a:gd name="T73" fmla="*/ 0 h 49"/>
                <a:gd name="T74" fmla="*/ 17 w 1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" h="49">
                  <a:moveTo>
                    <a:pt x="2" y="27"/>
                  </a:moveTo>
                  <a:lnTo>
                    <a:pt x="4" y="22"/>
                  </a:lnTo>
                  <a:lnTo>
                    <a:pt x="5" y="18"/>
                  </a:lnTo>
                  <a:lnTo>
                    <a:pt x="8" y="11"/>
                  </a:lnTo>
                  <a:lnTo>
                    <a:pt x="9" y="7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5" y="0"/>
                  </a:lnTo>
                  <a:lnTo>
                    <a:pt x="17" y="1"/>
                  </a:lnTo>
                  <a:lnTo>
                    <a:pt x="14" y="16"/>
                  </a:lnTo>
                  <a:lnTo>
                    <a:pt x="13" y="17"/>
                  </a:lnTo>
                  <a:lnTo>
                    <a:pt x="9" y="14"/>
                  </a:lnTo>
                  <a:lnTo>
                    <a:pt x="7" y="21"/>
                  </a:lnTo>
                  <a:lnTo>
                    <a:pt x="9" y="25"/>
                  </a:lnTo>
                  <a:lnTo>
                    <a:pt x="7" y="27"/>
                  </a:lnTo>
                  <a:lnTo>
                    <a:pt x="10" y="30"/>
                  </a:lnTo>
                  <a:lnTo>
                    <a:pt x="9" y="3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0"/>
                  </a:lnTo>
                  <a:lnTo>
                    <a:pt x="0" y="34"/>
                  </a:lnTo>
                  <a:lnTo>
                    <a:pt x="3" y="30"/>
                  </a:lnTo>
                  <a:lnTo>
                    <a:pt x="2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0" name="Freeform 757"/>
            <p:cNvSpPr>
              <a:spLocks/>
            </p:cNvSpPr>
            <p:nvPr/>
          </p:nvSpPr>
          <p:spPr bwMode="gray">
            <a:xfrm>
              <a:off x="3148" y="2428"/>
              <a:ext cx="7" cy="21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0 w 6"/>
                <a:gd name="T5" fmla="*/ 2147483647 h 16"/>
                <a:gd name="T6" fmla="*/ 2147483647 w 6"/>
                <a:gd name="T7" fmla="*/ 2147483647 h 16"/>
                <a:gd name="T8" fmla="*/ 0 w 6"/>
                <a:gd name="T9" fmla="*/ 2147483647 h 16"/>
                <a:gd name="T10" fmla="*/ 2147483647 w 6"/>
                <a:gd name="T11" fmla="*/ 0 h 16"/>
                <a:gd name="T12" fmla="*/ 2147483647 w 6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6"/>
                <a:gd name="T23" fmla="*/ 6 w 6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6">
                  <a:moveTo>
                    <a:pt x="6" y="3"/>
                  </a:moveTo>
                  <a:lnTo>
                    <a:pt x="3" y="16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0" y="7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1" name="Freeform 758"/>
            <p:cNvSpPr>
              <a:spLocks/>
            </p:cNvSpPr>
            <p:nvPr/>
          </p:nvSpPr>
          <p:spPr bwMode="gray">
            <a:xfrm>
              <a:off x="3144" y="2416"/>
              <a:ext cx="56" cy="64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0 h 49"/>
                <a:gd name="T12" fmla="*/ 2147483647 w 42"/>
                <a:gd name="T13" fmla="*/ 2147483647 h 49"/>
                <a:gd name="T14" fmla="*/ 2147483647 w 42"/>
                <a:gd name="T15" fmla="*/ 2147483647 h 49"/>
                <a:gd name="T16" fmla="*/ 2147483647 w 42"/>
                <a:gd name="T17" fmla="*/ 2147483647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2147483647 w 42"/>
                <a:gd name="T23" fmla="*/ 2147483647 h 49"/>
                <a:gd name="T24" fmla="*/ 2147483647 w 42"/>
                <a:gd name="T25" fmla="*/ 2147483647 h 49"/>
                <a:gd name="T26" fmla="*/ 0 w 42"/>
                <a:gd name="T27" fmla="*/ 2147483647 h 49"/>
                <a:gd name="T28" fmla="*/ 0 w 42"/>
                <a:gd name="T29" fmla="*/ 2147483647 h 49"/>
                <a:gd name="T30" fmla="*/ 2147483647 w 42"/>
                <a:gd name="T31" fmla="*/ 2147483647 h 49"/>
                <a:gd name="T32" fmla="*/ 2147483647 w 42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9"/>
                <a:gd name="T53" fmla="*/ 42 w 42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9">
                  <a:moveTo>
                    <a:pt x="5" y="25"/>
                  </a:moveTo>
                  <a:lnTo>
                    <a:pt x="8" y="12"/>
                  </a:lnTo>
                  <a:lnTo>
                    <a:pt x="9" y="11"/>
                  </a:lnTo>
                  <a:lnTo>
                    <a:pt x="16" y="11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2" y="11"/>
                  </a:lnTo>
                  <a:lnTo>
                    <a:pt x="37" y="16"/>
                  </a:lnTo>
                  <a:lnTo>
                    <a:pt x="21" y="16"/>
                  </a:lnTo>
                  <a:lnTo>
                    <a:pt x="27" y="36"/>
                  </a:lnTo>
                  <a:lnTo>
                    <a:pt x="25" y="38"/>
                  </a:lnTo>
                  <a:lnTo>
                    <a:pt x="17" y="39"/>
                  </a:lnTo>
                  <a:lnTo>
                    <a:pt x="11" y="47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2" name="Freeform 759"/>
            <p:cNvSpPr>
              <a:spLocks/>
            </p:cNvSpPr>
            <p:nvPr/>
          </p:nvSpPr>
          <p:spPr bwMode="gray">
            <a:xfrm>
              <a:off x="3116" y="2379"/>
              <a:ext cx="23" cy="16"/>
            </a:xfrm>
            <a:custGeom>
              <a:avLst/>
              <a:gdLst>
                <a:gd name="T0" fmla="*/ 0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0 h 11"/>
                <a:gd name="T8" fmla="*/ 2147483647 w 17"/>
                <a:gd name="T9" fmla="*/ 0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2147483647 h 11"/>
                <a:gd name="T16" fmla="*/ 0 w 17"/>
                <a:gd name="T17" fmla="*/ 2147483647 h 11"/>
                <a:gd name="T18" fmla="*/ 0 w 1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1"/>
                <a:gd name="T32" fmla="*/ 17 w 1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1">
                  <a:moveTo>
                    <a:pt x="0" y="8"/>
                  </a:moveTo>
                  <a:lnTo>
                    <a:pt x="4" y="5"/>
                  </a:lnTo>
                  <a:lnTo>
                    <a:pt x="13" y="3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9"/>
                  </a:lnTo>
                  <a:lnTo>
                    <a:pt x="7" y="11"/>
                  </a:lnTo>
                  <a:lnTo>
                    <a:pt x="0" y="11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3" name="Freeform 760"/>
            <p:cNvSpPr>
              <a:spLocks/>
            </p:cNvSpPr>
            <p:nvPr/>
          </p:nvSpPr>
          <p:spPr bwMode="gray">
            <a:xfrm>
              <a:off x="3137" y="2450"/>
              <a:ext cx="2" cy="4"/>
            </a:xfrm>
            <a:custGeom>
              <a:avLst/>
              <a:gdLst>
                <a:gd name="T0" fmla="*/ 0 w 1"/>
                <a:gd name="T1" fmla="*/ 0 h 3"/>
                <a:gd name="T2" fmla="*/ 2147483647 w 1"/>
                <a:gd name="T3" fmla="*/ 2147483647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0"/>
                  </a:move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4" name="Freeform 761"/>
            <p:cNvSpPr>
              <a:spLocks/>
            </p:cNvSpPr>
            <p:nvPr/>
          </p:nvSpPr>
          <p:spPr bwMode="gray">
            <a:xfrm>
              <a:off x="3397" y="2525"/>
              <a:ext cx="10" cy="10"/>
            </a:xfrm>
            <a:custGeom>
              <a:avLst/>
              <a:gdLst>
                <a:gd name="T0" fmla="*/ 2147483647 w 7"/>
                <a:gd name="T1" fmla="*/ 2147483647 h 8"/>
                <a:gd name="T2" fmla="*/ 0 w 7"/>
                <a:gd name="T3" fmla="*/ 2147483647 h 8"/>
                <a:gd name="T4" fmla="*/ 2147483647 w 7"/>
                <a:gd name="T5" fmla="*/ 0 h 8"/>
                <a:gd name="T6" fmla="*/ 2147483647 w 7"/>
                <a:gd name="T7" fmla="*/ 0 h 8"/>
                <a:gd name="T8" fmla="*/ 2147483647 w 7"/>
                <a:gd name="T9" fmla="*/ 2147483647 h 8"/>
                <a:gd name="T10" fmla="*/ 2147483647 w 7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6" y="8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5" name="Freeform 762"/>
            <p:cNvSpPr>
              <a:spLocks/>
            </p:cNvSpPr>
            <p:nvPr/>
          </p:nvSpPr>
          <p:spPr bwMode="gray">
            <a:xfrm>
              <a:off x="3348" y="2530"/>
              <a:ext cx="58" cy="44"/>
            </a:xfrm>
            <a:custGeom>
              <a:avLst/>
              <a:gdLst>
                <a:gd name="T0" fmla="*/ 2147483647 w 44"/>
                <a:gd name="T1" fmla="*/ 2147483647 h 34"/>
                <a:gd name="T2" fmla="*/ 2147483647 w 44"/>
                <a:gd name="T3" fmla="*/ 2147483647 h 34"/>
                <a:gd name="T4" fmla="*/ 2147483647 w 44"/>
                <a:gd name="T5" fmla="*/ 2147483647 h 34"/>
                <a:gd name="T6" fmla="*/ 2147483647 w 44"/>
                <a:gd name="T7" fmla="*/ 2147483647 h 34"/>
                <a:gd name="T8" fmla="*/ 2147483647 w 44"/>
                <a:gd name="T9" fmla="*/ 2147483647 h 34"/>
                <a:gd name="T10" fmla="*/ 2147483647 w 44"/>
                <a:gd name="T11" fmla="*/ 2147483647 h 34"/>
                <a:gd name="T12" fmla="*/ 2147483647 w 44"/>
                <a:gd name="T13" fmla="*/ 2147483647 h 34"/>
                <a:gd name="T14" fmla="*/ 0 w 44"/>
                <a:gd name="T15" fmla="*/ 2147483647 h 34"/>
                <a:gd name="T16" fmla="*/ 2147483647 w 44"/>
                <a:gd name="T17" fmla="*/ 2147483647 h 34"/>
                <a:gd name="T18" fmla="*/ 2147483647 w 44"/>
                <a:gd name="T19" fmla="*/ 2147483647 h 34"/>
                <a:gd name="T20" fmla="*/ 2147483647 w 44"/>
                <a:gd name="T21" fmla="*/ 2147483647 h 34"/>
                <a:gd name="T22" fmla="*/ 2147483647 w 44"/>
                <a:gd name="T23" fmla="*/ 2147483647 h 34"/>
                <a:gd name="T24" fmla="*/ 2147483647 w 44"/>
                <a:gd name="T25" fmla="*/ 2147483647 h 34"/>
                <a:gd name="T26" fmla="*/ 2147483647 w 44"/>
                <a:gd name="T27" fmla="*/ 2147483647 h 34"/>
                <a:gd name="T28" fmla="*/ 2147483647 w 44"/>
                <a:gd name="T29" fmla="*/ 0 h 34"/>
                <a:gd name="T30" fmla="*/ 2147483647 w 44"/>
                <a:gd name="T31" fmla="*/ 2147483647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34"/>
                <a:gd name="T50" fmla="*/ 44 w 44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34">
                  <a:moveTo>
                    <a:pt x="44" y="4"/>
                  </a:moveTo>
                  <a:lnTo>
                    <a:pt x="43" y="7"/>
                  </a:lnTo>
                  <a:lnTo>
                    <a:pt x="38" y="8"/>
                  </a:lnTo>
                  <a:lnTo>
                    <a:pt x="40" y="16"/>
                  </a:lnTo>
                  <a:lnTo>
                    <a:pt x="32" y="26"/>
                  </a:lnTo>
                  <a:lnTo>
                    <a:pt x="31" y="34"/>
                  </a:lnTo>
                  <a:lnTo>
                    <a:pt x="7" y="31"/>
                  </a:lnTo>
                  <a:lnTo>
                    <a:pt x="0" y="23"/>
                  </a:lnTo>
                  <a:lnTo>
                    <a:pt x="2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20" y="19"/>
                  </a:lnTo>
                  <a:lnTo>
                    <a:pt x="25" y="13"/>
                  </a:lnTo>
                  <a:lnTo>
                    <a:pt x="34" y="5"/>
                  </a:lnTo>
                  <a:lnTo>
                    <a:pt x="38" y="0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6" name="Freeform 763"/>
            <p:cNvSpPr>
              <a:spLocks/>
            </p:cNvSpPr>
            <p:nvPr/>
          </p:nvSpPr>
          <p:spPr bwMode="gray">
            <a:xfrm>
              <a:off x="3338" y="2523"/>
              <a:ext cx="10" cy="26"/>
            </a:xfrm>
            <a:custGeom>
              <a:avLst/>
              <a:gdLst>
                <a:gd name="T0" fmla="*/ 0 w 8"/>
                <a:gd name="T1" fmla="*/ 2147483647 h 20"/>
                <a:gd name="T2" fmla="*/ 2147483647 w 8"/>
                <a:gd name="T3" fmla="*/ 2147483647 h 20"/>
                <a:gd name="T4" fmla="*/ 2147483647 w 8"/>
                <a:gd name="T5" fmla="*/ 2147483647 h 20"/>
                <a:gd name="T6" fmla="*/ 2147483647 w 8"/>
                <a:gd name="T7" fmla="*/ 0 h 20"/>
                <a:gd name="T8" fmla="*/ 2147483647 w 8"/>
                <a:gd name="T9" fmla="*/ 2147483647 h 20"/>
                <a:gd name="T10" fmla="*/ 2147483647 w 8"/>
                <a:gd name="T11" fmla="*/ 2147483647 h 20"/>
                <a:gd name="T12" fmla="*/ 2147483647 w 8"/>
                <a:gd name="T13" fmla="*/ 2147483647 h 20"/>
                <a:gd name="T14" fmla="*/ 2147483647 w 8"/>
                <a:gd name="T15" fmla="*/ 2147483647 h 20"/>
                <a:gd name="T16" fmla="*/ 0 w 8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0"/>
                <a:gd name="T29" fmla="*/ 8 w 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0">
                  <a:moveTo>
                    <a:pt x="0" y="14"/>
                  </a:moveTo>
                  <a:lnTo>
                    <a:pt x="2" y="9"/>
                  </a:lnTo>
                  <a:lnTo>
                    <a:pt x="1" y="3"/>
                  </a:lnTo>
                  <a:lnTo>
                    <a:pt x="2" y="0"/>
                  </a:lnTo>
                  <a:lnTo>
                    <a:pt x="7" y="1"/>
                  </a:lnTo>
                  <a:lnTo>
                    <a:pt x="8" y="12"/>
                  </a:lnTo>
                  <a:lnTo>
                    <a:pt x="6" y="20"/>
                  </a:lnTo>
                  <a:lnTo>
                    <a:pt x="2" y="19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7" name="Freeform 764"/>
            <p:cNvSpPr>
              <a:spLocks/>
            </p:cNvSpPr>
            <p:nvPr/>
          </p:nvSpPr>
          <p:spPr bwMode="gray">
            <a:xfrm>
              <a:off x="3290" y="2467"/>
              <a:ext cx="15" cy="18"/>
            </a:xfrm>
            <a:custGeom>
              <a:avLst/>
              <a:gdLst>
                <a:gd name="T0" fmla="*/ 2147483647 w 12"/>
                <a:gd name="T1" fmla="*/ 2147483647 h 13"/>
                <a:gd name="T2" fmla="*/ 0 w 12"/>
                <a:gd name="T3" fmla="*/ 2147483647 h 13"/>
                <a:gd name="T4" fmla="*/ 2147483647 w 12"/>
                <a:gd name="T5" fmla="*/ 0 h 13"/>
                <a:gd name="T6" fmla="*/ 2147483647 w 12"/>
                <a:gd name="T7" fmla="*/ 2147483647 h 13"/>
                <a:gd name="T8" fmla="*/ 2147483647 w 12"/>
                <a:gd name="T9" fmla="*/ 2147483647 h 13"/>
                <a:gd name="T10" fmla="*/ 2147483647 w 12"/>
                <a:gd name="T11" fmla="*/ 2147483647 h 13"/>
                <a:gd name="T12" fmla="*/ 2147483647 w 12"/>
                <a:gd name="T13" fmla="*/ 2147483647 h 13"/>
                <a:gd name="T14" fmla="*/ 2147483647 w 12"/>
                <a:gd name="T15" fmla="*/ 2147483647 h 13"/>
                <a:gd name="T16" fmla="*/ 2147483647 w 12"/>
                <a:gd name="T17" fmla="*/ 2147483647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" y="9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2" y="2"/>
                  </a:lnTo>
                  <a:lnTo>
                    <a:pt x="9" y="6"/>
                  </a:lnTo>
                  <a:lnTo>
                    <a:pt x="9" y="8"/>
                  </a:lnTo>
                  <a:lnTo>
                    <a:pt x="12" y="13"/>
                  </a:lnTo>
                  <a:lnTo>
                    <a:pt x="5" y="13"/>
                  </a:lnTo>
                  <a:lnTo>
                    <a:pt x="1" y="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8" name="Freeform 765"/>
            <p:cNvSpPr>
              <a:spLocks/>
            </p:cNvSpPr>
            <p:nvPr/>
          </p:nvSpPr>
          <p:spPr bwMode="gray">
            <a:xfrm>
              <a:off x="3399" y="2513"/>
              <a:ext cx="9" cy="6"/>
            </a:xfrm>
            <a:custGeom>
              <a:avLst/>
              <a:gdLst>
                <a:gd name="T0" fmla="*/ 0 w 7"/>
                <a:gd name="T1" fmla="*/ 2147483647 h 5"/>
                <a:gd name="T2" fmla="*/ 0 w 7"/>
                <a:gd name="T3" fmla="*/ 2147483647 h 5"/>
                <a:gd name="T4" fmla="*/ 2147483647 w 7"/>
                <a:gd name="T5" fmla="*/ 2147483647 h 5"/>
                <a:gd name="T6" fmla="*/ 2147483647 w 7"/>
                <a:gd name="T7" fmla="*/ 0 h 5"/>
                <a:gd name="T8" fmla="*/ 0 w 7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4"/>
                  </a:moveTo>
                  <a:lnTo>
                    <a:pt x="0" y="5"/>
                  </a:lnTo>
                  <a:lnTo>
                    <a:pt x="7" y="2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69" name="Freeform 766"/>
            <p:cNvSpPr>
              <a:spLocks/>
            </p:cNvSpPr>
            <p:nvPr/>
          </p:nvSpPr>
          <p:spPr bwMode="gray">
            <a:xfrm>
              <a:off x="3333" y="2516"/>
              <a:ext cx="6" cy="5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0 h 4"/>
                <a:gd name="T4" fmla="*/ 2147483647 w 5"/>
                <a:gd name="T5" fmla="*/ 2147483647 h 4"/>
                <a:gd name="T6" fmla="*/ 2147483647 w 5"/>
                <a:gd name="T7" fmla="*/ 2147483647 h 4"/>
                <a:gd name="T8" fmla="*/ 0 w 5"/>
                <a:gd name="T9" fmla="*/ 214748364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0" y="2"/>
                  </a:moveTo>
                  <a:lnTo>
                    <a:pt x="3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0" name="Freeform 767"/>
            <p:cNvSpPr>
              <a:spLocks/>
            </p:cNvSpPr>
            <p:nvPr/>
          </p:nvSpPr>
          <p:spPr bwMode="gray">
            <a:xfrm>
              <a:off x="3270" y="2272"/>
              <a:ext cx="59" cy="65"/>
            </a:xfrm>
            <a:custGeom>
              <a:avLst/>
              <a:gdLst>
                <a:gd name="T0" fmla="*/ 2147483647 w 45"/>
                <a:gd name="T1" fmla="*/ 2147483647 h 50"/>
                <a:gd name="T2" fmla="*/ 2147483647 w 45"/>
                <a:gd name="T3" fmla="*/ 2147483647 h 50"/>
                <a:gd name="T4" fmla="*/ 2147483647 w 45"/>
                <a:gd name="T5" fmla="*/ 2147483647 h 50"/>
                <a:gd name="T6" fmla="*/ 0 w 45"/>
                <a:gd name="T7" fmla="*/ 2147483647 h 50"/>
                <a:gd name="T8" fmla="*/ 2147483647 w 45"/>
                <a:gd name="T9" fmla="*/ 2147483647 h 50"/>
                <a:gd name="T10" fmla="*/ 2147483647 w 45"/>
                <a:gd name="T11" fmla="*/ 2147483647 h 50"/>
                <a:gd name="T12" fmla="*/ 2147483647 w 45"/>
                <a:gd name="T13" fmla="*/ 2147483647 h 50"/>
                <a:gd name="T14" fmla="*/ 2147483647 w 45"/>
                <a:gd name="T15" fmla="*/ 2147483647 h 50"/>
                <a:gd name="T16" fmla="*/ 2147483647 w 45"/>
                <a:gd name="T17" fmla="*/ 2147483647 h 50"/>
                <a:gd name="T18" fmla="*/ 2147483647 w 45"/>
                <a:gd name="T19" fmla="*/ 0 h 50"/>
                <a:gd name="T20" fmla="*/ 2147483647 w 45"/>
                <a:gd name="T21" fmla="*/ 2147483647 h 50"/>
                <a:gd name="T22" fmla="*/ 2147483647 w 45"/>
                <a:gd name="T23" fmla="*/ 2147483647 h 50"/>
                <a:gd name="T24" fmla="*/ 2147483647 w 45"/>
                <a:gd name="T25" fmla="*/ 2147483647 h 50"/>
                <a:gd name="T26" fmla="*/ 2147483647 w 45"/>
                <a:gd name="T27" fmla="*/ 2147483647 h 50"/>
                <a:gd name="T28" fmla="*/ 2147483647 w 45"/>
                <a:gd name="T29" fmla="*/ 2147483647 h 50"/>
                <a:gd name="T30" fmla="*/ 2147483647 w 45"/>
                <a:gd name="T31" fmla="*/ 2147483647 h 50"/>
                <a:gd name="T32" fmla="*/ 2147483647 w 45"/>
                <a:gd name="T33" fmla="*/ 2147483647 h 50"/>
                <a:gd name="T34" fmla="*/ 2147483647 w 45"/>
                <a:gd name="T35" fmla="*/ 2147483647 h 50"/>
                <a:gd name="T36" fmla="*/ 2147483647 w 45"/>
                <a:gd name="T37" fmla="*/ 2147483647 h 50"/>
                <a:gd name="T38" fmla="*/ 2147483647 w 45"/>
                <a:gd name="T39" fmla="*/ 2147483647 h 50"/>
                <a:gd name="T40" fmla="*/ 2147483647 w 45"/>
                <a:gd name="T41" fmla="*/ 2147483647 h 50"/>
                <a:gd name="T42" fmla="*/ 2147483647 w 45"/>
                <a:gd name="T43" fmla="*/ 2147483647 h 50"/>
                <a:gd name="T44" fmla="*/ 2147483647 w 45"/>
                <a:gd name="T45" fmla="*/ 2147483647 h 50"/>
                <a:gd name="T46" fmla="*/ 2147483647 w 45"/>
                <a:gd name="T47" fmla="*/ 2147483647 h 50"/>
                <a:gd name="T48" fmla="*/ 2147483647 w 45"/>
                <a:gd name="T49" fmla="*/ 2147483647 h 50"/>
                <a:gd name="T50" fmla="*/ 2147483647 w 45"/>
                <a:gd name="T51" fmla="*/ 2147483647 h 50"/>
                <a:gd name="T52" fmla="*/ 2147483647 w 45"/>
                <a:gd name="T53" fmla="*/ 2147483647 h 50"/>
                <a:gd name="T54" fmla="*/ 2147483647 w 45"/>
                <a:gd name="T55" fmla="*/ 2147483647 h 50"/>
                <a:gd name="T56" fmla="*/ 2147483647 w 45"/>
                <a:gd name="T57" fmla="*/ 2147483647 h 50"/>
                <a:gd name="T58" fmla="*/ 2147483647 w 45"/>
                <a:gd name="T59" fmla="*/ 2147483647 h 50"/>
                <a:gd name="T60" fmla="*/ 2147483647 w 45"/>
                <a:gd name="T61" fmla="*/ 2147483647 h 50"/>
                <a:gd name="T62" fmla="*/ 2147483647 w 45"/>
                <a:gd name="T63" fmla="*/ 2147483647 h 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"/>
                <a:gd name="T97" fmla="*/ 0 h 50"/>
                <a:gd name="T98" fmla="*/ 45 w 45"/>
                <a:gd name="T99" fmla="*/ 50 h 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" h="50">
                  <a:moveTo>
                    <a:pt x="16" y="36"/>
                  </a:moveTo>
                  <a:lnTo>
                    <a:pt x="7" y="26"/>
                  </a:lnTo>
                  <a:lnTo>
                    <a:pt x="3" y="1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1" y="4"/>
                  </a:lnTo>
                  <a:lnTo>
                    <a:pt x="24" y="10"/>
                  </a:lnTo>
                  <a:lnTo>
                    <a:pt x="30" y="8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4" y="19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5"/>
                  </a:lnTo>
                  <a:lnTo>
                    <a:pt x="43" y="27"/>
                  </a:lnTo>
                  <a:lnTo>
                    <a:pt x="40" y="30"/>
                  </a:lnTo>
                  <a:lnTo>
                    <a:pt x="34" y="35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42"/>
                  </a:lnTo>
                  <a:lnTo>
                    <a:pt x="33" y="46"/>
                  </a:lnTo>
                  <a:lnTo>
                    <a:pt x="33" y="50"/>
                  </a:lnTo>
                  <a:lnTo>
                    <a:pt x="27" y="45"/>
                  </a:lnTo>
                  <a:lnTo>
                    <a:pt x="28" y="35"/>
                  </a:lnTo>
                  <a:lnTo>
                    <a:pt x="27" y="32"/>
                  </a:lnTo>
                  <a:lnTo>
                    <a:pt x="16" y="3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1" name="Freeform 768"/>
            <p:cNvSpPr>
              <a:spLocks/>
            </p:cNvSpPr>
            <p:nvPr/>
          </p:nvSpPr>
          <p:spPr bwMode="gray">
            <a:xfrm>
              <a:off x="3262" y="2311"/>
              <a:ext cx="21" cy="11"/>
            </a:xfrm>
            <a:custGeom>
              <a:avLst/>
              <a:gdLst>
                <a:gd name="T0" fmla="*/ 0 w 16"/>
                <a:gd name="T1" fmla="*/ 2147483647 h 9"/>
                <a:gd name="T2" fmla="*/ 2147483647 w 16"/>
                <a:gd name="T3" fmla="*/ 0 h 9"/>
                <a:gd name="T4" fmla="*/ 2147483647 w 16"/>
                <a:gd name="T5" fmla="*/ 2147483647 h 9"/>
                <a:gd name="T6" fmla="*/ 2147483647 w 16"/>
                <a:gd name="T7" fmla="*/ 2147483647 h 9"/>
                <a:gd name="T8" fmla="*/ 0 w 1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9"/>
                <a:gd name="T17" fmla="*/ 16 w 1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9">
                  <a:moveTo>
                    <a:pt x="0" y="1"/>
                  </a:moveTo>
                  <a:lnTo>
                    <a:pt x="5" y="0"/>
                  </a:lnTo>
                  <a:lnTo>
                    <a:pt x="16" y="7"/>
                  </a:lnTo>
                  <a:lnTo>
                    <a:pt x="11" y="9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2" name="Freeform 769"/>
            <p:cNvSpPr>
              <a:spLocks/>
            </p:cNvSpPr>
            <p:nvPr/>
          </p:nvSpPr>
          <p:spPr bwMode="gray">
            <a:xfrm>
              <a:off x="3243" y="2279"/>
              <a:ext cx="48" cy="41"/>
            </a:xfrm>
            <a:custGeom>
              <a:avLst/>
              <a:gdLst>
                <a:gd name="T0" fmla="*/ 2147483647 w 37"/>
                <a:gd name="T1" fmla="*/ 2147483647 h 31"/>
                <a:gd name="T2" fmla="*/ 2147483647 w 37"/>
                <a:gd name="T3" fmla="*/ 2147483647 h 31"/>
                <a:gd name="T4" fmla="*/ 2147483647 w 37"/>
                <a:gd name="T5" fmla="*/ 2147483647 h 31"/>
                <a:gd name="T6" fmla="*/ 2147483647 w 37"/>
                <a:gd name="T7" fmla="*/ 2147483647 h 31"/>
                <a:gd name="T8" fmla="*/ 2147483647 w 37"/>
                <a:gd name="T9" fmla="*/ 2147483647 h 31"/>
                <a:gd name="T10" fmla="*/ 2147483647 w 37"/>
                <a:gd name="T11" fmla="*/ 2147483647 h 31"/>
                <a:gd name="T12" fmla="*/ 2147483647 w 37"/>
                <a:gd name="T13" fmla="*/ 2147483647 h 31"/>
                <a:gd name="T14" fmla="*/ 0 w 37"/>
                <a:gd name="T15" fmla="*/ 0 h 31"/>
                <a:gd name="T16" fmla="*/ 2147483647 w 37"/>
                <a:gd name="T17" fmla="*/ 2147483647 h 31"/>
                <a:gd name="T18" fmla="*/ 2147483647 w 37"/>
                <a:gd name="T19" fmla="*/ 2147483647 h 31"/>
                <a:gd name="T20" fmla="*/ 2147483647 w 37"/>
                <a:gd name="T21" fmla="*/ 2147483647 h 31"/>
                <a:gd name="T22" fmla="*/ 2147483647 w 37"/>
                <a:gd name="T23" fmla="*/ 2147483647 h 31"/>
                <a:gd name="T24" fmla="*/ 2147483647 w 37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1"/>
                <a:gd name="T41" fmla="*/ 37 w 37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1">
                  <a:moveTo>
                    <a:pt x="37" y="30"/>
                  </a:moveTo>
                  <a:lnTo>
                    <a:pt x="31" y="31"/>
                  </a:lnTo>
                  <a:lnTo>
                    <a:pt x="20" y="24"/>
                  </a:lnTo>
                  <a:lnTo>
                    <a:pt x="15" y="25"/>
                  </a:lnTo>
                  <a:lnTo>
                    <a:pt x="13" y="21"/>
                  </a:lnTo>
                  <a:lnTo>
                    <a:pt x="8" y="18"/>
                  </a:lnTo>
                  <a:lnTo>
                    <a:pt x="7" y="10"/>
                  </a:lnTo>
                  <a:lnTo>
                    <a:pt x="0" y="0"/>
                  </a:lnTo>
                  <a:lnTo>
                    <a:pt x="11" y="4"/>
                  </a:lnTo>
                  <a:lnTo>
                    <a:pt x="21" y="8"/>
                  </a:lnTo>
                  <a:lnTo>
                    <a:pt x="24" y="13"/>
                  </a:lnTo>
                  <a:lnTo>
                    <a:pt x="28" y="20"/>
                  </a:lnTo>
                  <a:lnTo>
                    <a:pt x="37" y="3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3" name="Freeform 770"/>
            <p:cNvSpPr>
              <a:spLocks/>
            </p:cNvSpPr>
            <p:nvPr/>
          </p:nvSpPr>
          <p:spPr bwMode="gray">
            <a:xfrm>
              <a:off x="3202" y="2244"/>
              <a:ext cx="88" cy="46"/>
            </a:xfrm>
            <a:custGeom>
              <a:avLst/>
              <a:gdLst>
                <a:gd name="T0" fmla="*/ 2147483647 w 67"/>
                <a:gd name="T1" fmla="*/ 2147483647 h 35"/>
                <a:gd name="T2" fmla="*/ 2147483647 w 67"/>
                <a:gd name="T3" fmla="*/ 2147483647 h 35"/>
                <a:gd name="T4" fmla="*/ 2147483647 w 67"/>
                <a:gd name="T5" fmla="*/ 2147483647 h 35"/>
                <a:gd name="T6" fmla="*/ 2147483647 w 67"/>
                <a:gd name="T7" fmla="*/ 2147483647 h 35"/>
                <a:gd name="T8" fmla="*/ 2147483647 w 67"/>
                <a:gd name="T9" fmla="*/ 2147483647 h 35"/>
                <a:gd name="T10" fmla="*/ 2147483647 w 67"/>
                <a:gd name="T11" fmla="*/ 2147483647 h 35"/>
                <a:gd name="T12" fmla="*/ 2147483647 w 67"/>
                <a:gd name="T13" fmla="*/ 2147483647 h 35"/>
                <a:gd name="T14" fmla="*/ 2147483647 w 67"/>
                <a:gd name="T15" fmla="*/ 2147483647 h 35"/>
                <a:gd name="T16" fmla="*/ 0 w 67"/>
                <a:gd name="T17" fmla="*/ 0 h 35"/>
                <a:gd name="T18" fmla="*/ 2147483647 w 67"/>
                <a:gd name="T19" fmla="*/ 2147483647 h 35"/>
                <a:gd name="T20" fmla="*/ 2147483647 w 67"/>
                <a:gd name="T21" fmla="*/ 2147483647 h 35"/>
                <a:gd name="T22" fmla="*/ 2147483647 w 67"/>
                <a:gd name="T23" fmla="*/ 2147483647 h 35"/>
                <a:gd name="T24" fmla="*/ 2147483647 w 67"/>
                <a:gd name="T25" fmla="*/ 2147483647 h 35"/>
                <a:gd name="T26" fmla="*/ 2147483647 w 67"/>
                <a:gd name="T27" fmla="*/ 2147483647 h 35"/>
                <a:gd name="T28" fmla="*/ 2147483647 w 67"/>
                <a:gd name="T29" fmla="*/ 2147483647 h 35"/>
                <a:gd name="T30" fmla="*/ 2147483647 w 67"/>
                <a:gd name="T31" fmla="*/ 2147483647 h 35"/>
                <a:gd name="T32" fmla="*/ 2147483647 w 67"/>
                <a:gd name="T33" fmla="*/ 2147483647 h 35"/>
                <a:gd name="T34" fmla="*/ 2147483647 w 67"/>
                <a:gd name="T35" fmla="*/ 2147483647 h 35"/>
                <a:gd name="T36" fmla="*/ 2147483647 w 67"/>
                <a:gd name="T37" fmla="*/ 2147483647 h 35"/>
                <a:gd name="T38" fmla="*/ 2147483647 w 67"/>
                <a:gd name="T39" fmla="*/ 2147483647 h 35"/>
                <a:gd name="T40" fmla="*/ 2147483647 w 67"/>
                <a:gd name="T41" fmla="*/ 2147483647 h 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35"/>
                <a:gd name="T65" fmla="*/ 67 w 67"/>
                <a:gd name="T66" fmla="*/ 35 h 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35">
                  <a:moveTo>
                    <a:pt x="31" y="27"/>
                  </a:moveTo>
                  <a:lnTo>
                    <a:pt x="25" y="27"/>
                  </a:lnTo>
                  <a:lnTo>
                    <a:pt x="18" y="25"/>
                  </a:lnTo>
                  <a:lnTo>
                    <a:pt x="18" y="21"/>
                  </a:lnTo>
                  <a:lnTo>
                    <a:pt x="16" y="15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7" y="6"/>
                  </a:lnTo>
                  <a:lnTo>
                    <a:pt x="0" y="0"/>
                  </a:lnTo>
                  <a:lnTo>
                    <a:pt x="13" y="3"/>
                  </a:lnTo>
                  <a:lnTo>
                    <a:pt x="26" y="5"/>
                  </a:lnTo>
                  <a:lnTo>
                    <a:pt x="31" y="4"/>
                  </a:lnTo>
                  <a:lnTo>
                    <a:pt x="44" y="10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63" y="25"/>
                  </a:lnTo>
                  <a:lnTo>
                    <a:pt x="67" y="32"/>
                  </a:lnTo>
                  <a:lnTo>
                    <a:pt x="66" y="35"/>
                  </a:lnTo>
                  <a:lnTo>
                    <a:pt x="52" y="35"/>
                  </a:lnTo>
                  <a:lnTo>
                    <a:pt x="42" y="31"/>
                  </a:lnTo>
                  <a:lnTo>
                    <a:pt x="31" y="2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4" name="Freeform 771"/>
            <p:cNvSpPr>
              <a:spLocks/>
            </p:cNvSpPr>
            <p:nvPr/>
          </p:nvSpPr>
          <p:spPr bwMode="gray">
            <a:xfrm>
              <a:off x="3144" y="2431"/>
              <a:ext cx="253" cy="237"/>
            </a:xfrm>
            <a:custGeom>
              <a:avLst/>
              <a:gdLst>
                <a:gd name="T0" fmla="*/ 2147483647 w 194"/>
                <a:gd name="T1" fmla="*/ 2147483647 h 182"/>
                <a:gd name="T2" fmla="*/ 2147483647 w 194"/>
                <a:gd name="T3" fmla="*/ 2147483647 h 182"/>
                <a:gd name="T4" fmla="*/ 2147483647 w 194"/>
                <a:gd name="T5" fmla="*/ 2147483647 h 182"/>
                <a:gd name="T6" fmla="*/ 2147483647 w 194"/>
                <a:gd name="T7" fmla="*/ 2147483647 h 182"/>
                <a:gd name="T8" fmla="*/ 2147483647 w 194"/>
                <a:gd name="T9" fmla="*/ 2147483647 h 182"/>
                <a:gd name="T10" fmla="*/ 2147483647 w 194"/>
                <a:gd name="T11" fmla="*/ 2147483647 h 182"/>
                <a:gd name="T12" fmla="*/ 2147483647 w 194"/>
                <a:gd name="T13" fmla="*/ 2147483647 h 182"/>
                <a:gd name="T14" fmla="*/ 2147483647 w 194"/>
                <a:gd name="T15" fmla="*/ 2147483647 h 182"/>
                <a:gd name="T16" fmla="*/ 2147483647 w 194"/>
                <a:gd name="T17" fmla="*/ 2147483647 h 182"/>
                <a:gd name="T18" fmla="*/ 2147483647 w 194"/>
                <a:gd name="T19" fmla="*/ 2147483647 h 182"/>
                <a:gd name="T20" fmla="*/ 2147483647 w 194"/>
                <a:gd name="T21" fmla="*/ 2147483647 h 182"/>
                <a:gd name="T22" fmla="*/ 2147483647 w 194"/>
                <a:gd name="T23" fmla="*/ 2147483647 h 182"/>
                <a:gd name="T24" fmla="*/ 2147483647 w 194"/>
                <a:gd name="T25" fmla="*/ 2147483647 h 182"/>
                <a:gd name="T26" fmla="*/ 2147483647 w 194"/>
                <a:gd name="T27" fmla="*/ 2147483647 h 182"/>
                <a:gd name="T28" fmla="*/ 2147483647 w 194"/>
                <a:gd name="T29" fmla="*/ 2147483647 h 182"/>
                <a:gd name="T30" fmla="*/ 2147483647 w 194"/>
                <a:gd name="T31" fmla="*/ 2147483647 h 182"/>
                <a:gd name="T32" fmla="*/ 2147483647 w 194"/>
                <a:gd name="T33" fmla="*/ 2147483647 h 182"/>
                <a:gd name="T34" fmla="*/ 2147483647 w 194"/>
                <a:gd name="T35" fmla="*/ 2147483647 h 182"/>
                <a:gd name="T36" fmla="*/ 2147483647 w 194"/>
                <a:gd name="T37" fmla="*/ 2147483647 h 182"/>
                <a:gd name="T38" fmla="*/ 2147483647 w 194"/>
                <a:gd name="T39" fmla="*/ 2147483647 h 182"/>
                <a:gd name="T40" fmla="*/ 2147483647 w 194"/>
                <a:gd name="T41" fmla="*/ 2147483647 h 182"/>
                <a:gd name="T42" fmla="*/ 2147483647 w 194"/>
                <a:gd name="T43" fmla="*/ 2147483647 h 182"/>
                <a:gd name="T44" fmla="*/ 2147483647 w 194"/>
                <a:gd name="T45" fmla="*/ 2147483647 h 182"/>
                <a:gd name="T46" fmla="*/ 2147483647 w 194"/>
                <a:gd name="T47" fmla="*/ 2147483647 h 182"/>
                <a:gd name="T48" fmla="*/ 2147483647 w 194"/>
                <a:gd name="T49" fmla="*/ 2147483647 h 182"/>
                <a:gd name="T50" fmla="*/ 2147483647 w 194"/>
                <a:gd name="T51" fmla="*/ 2147483647 h 182"/>
                <a:gd name="T52" fmla="*/ 2147483647 w 194"/>
                <a:gd name="T53" fmla="*/ 2147483647 h 182"/>
                <a:gd name="T54" fmla="*/ 0 w 194"/>
                <a:gd name="T55" fmla="*/ 2147483647 h 182"/>
                <a:gd name="T56" fmla="*/ 0 w 194"/>
                <a:gd name="T57" fmla="*/ 2147483647 h 182"/>
                <a:gd name="T58" fmla="*/ 2147483647 w 194"/>
                <a:gd name="T59" fmla="*/ 2147483647 h 182"/>
                <a:gd name="T60" fmla="*/ 2147483647 w 194"/>
                <a:gd name="T61" fmla="*/ 2147483647 h 182"/>
                <a:gd name="T62" fmla="*/ 2147483647 w 194"/>
                <a:gd name="T63" fmla="*/ 2147483647 h 182"/>
                <a:gd name="T64" fmla="*/ 2147483647 w 194"/>
                <a:gd name="T65" fmla="*/ 2147483647 h 182"/>
                <a:gd name="T66" fmla="*/ 2147483647 w 194"/>
                <a:gd name="T67" fmla="*/ 2147483647 h 182"/>
                <a:gd name="T68" fmla="*/ 2147483647 w 194"/>
                <a:gd name="T69" fmla="*/ 2147483647 h 182"/>
                <a:gd name="T70" fmla="*/ 2147483647 w 194"/>
                <a:gd name="T71" fmla="*/ 0 h 182"/>
                <a:gd name="T72" fmla="*/ 2147483647 w 194"/>
                <a:gd name="T73" fmla="*/ 2147483647 h 182"/>
                <a:gd name="T74" fmla="*/ 2147483647 w 194"/>
                <a:gd name="T75" fmla="*/ 2147483647 h 182"/>
                <a:gd name="T76" fmla="*/ 2147483647 w 194"/>
                <a:gd name="T77" fmla="*/ 2147483647 h 182"/>
                <a:gd name="T78" fmla="*/ 2147483647 w 194"/>
                <a:gd name="T79" fmla="*/ 2147483647 h 182"/>
                <a:gd name="T80" fmla="*/ 2147483647 w 194"/>
                <a:gd name="T81" fmla="*/ 2147483647 h 182"/>
                <a:gd name="T82" fmla="*/ 2147483647 w 194"/>
                <a:gd name="T83" fmla="*/ 2147483647 h 182"/>
                <a:gd name="T84" fmla="*/ 2147483647 w 194"/>
                <a:gd name="T85" fmla="*/ 2147483647 h 182"/>
                <a:gd name="T86" fmla="*/ 2147483647 w 194"/>
                <a:gd name="T87" fmla="*/ 2147483647 h 182"/>
                <a:gd name="T88" fmla="*/ 2147483647 w 194"/>
                <a:gd name="T89" fmla="*/ 2147483647 h 182"/>
                <a:gd name="T90" fmla="*/ 2147483647 w 194"/>
                <a:gd name="T91" fmla="*/ 2147483647 h 182"/>
                <a:gd name="T92" fmla="*/ 2147483647 w 194"/>
                <a:gd name="T93" fmla="*/ 2147483647 h 182"/>
                <a:gd name="T94" fmla="*/ 2147483647 w 194"/>
                <a:gd name="T95" fmla="*/ 2147483647 h 182"/>
                <a:gd name="T96" fmla="*/ 2147483647 w 194"/>
                <a:gd name="T97" fmla="*/ 2147483647 h 182"/>
                <a:gd name="T98" fmla="*/ 2147483647 w 194"/>
                <a:gd name="T99" fmla="*/ 2147483647 h 182"/>
                <a:gd name="T100" fmla="*/ 2147483647 w 194"/>
                <a:gd name="T101" fmla="*/ 2147483647 h 182"/>
                <a:gd name="T102" fmla="*/ 2147483647 w 194"/>
                <a:gd name="T103" fmla="*/ 2147483647 h 182"/>
                <a:gd name="T104" fmla="*/ 2147483647 w 194"/>
                <a:gd name="T105" fmla="*/ 2147483647 h 182"/>
                <a:gd name="T106" fmla="*/ 2147483647 w 194"/>
                <a:gd name="T107" fmla="*/ 2147483647 h 182"/>
                <a:gd name="T108" fmla="*/ 2147483647 w 194"/>
                <a:gd name="T109" fmla="*/ 2147483647 h 182"/>
                <a:gd name="T110" fmla="*/ 2147483647 w 194"/>
                <a:gd name="T111" fmla="*/ 2147483647 h 182"/>
                <a:gd name="T112" fmla="*/ 2147483647 w 194"/>
                <a:gd name="T113" fmla="*/ 2147483647 h 1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4"/>
                <a:gd name="T172" fmla="*/ 0 h 182"/>
                <a:gd name="T173" fmla="*/ 194 w 194"/>
                <a:gd name="T174" fmla="*/ 182 h 1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4" h="182">
                  <a:moveTo>
                    <a:pt x="187" y="110"/>
                  </a:moveTo>
                  <a:lnTo>
                    <a:pt x="194" y="115"/>
                  </a:lnTo>
                  <a:lnTo>
                    <a:pt x="189" y="139"/>
                  </a:lnTo>
                  <a:lnTo>
                    <a:pt x="183" y="139"/>
                  </a:lnTo>
                  <a:lnTo>
                    <a:pt x="161" y="150"/>
                  </a:lnTo>
                  <a:lnTo>
                    <a:pt x="128" y="157"/>
                  </a:lnTo>
                  <a:lnTo>
                    <a:pt x="107" y="182"/>
                  </a:lnTo>
                  <a:lnTo>
                    <a:pt x="99" y="172"/>
                  </a:lnTo>
                  <a:lnTo>
                    <a:pt x="79" y="166"/>
                  </a:lnTo>
                  <a:lnTo>
                    <a:pt x="71" y="172"/>
                  </a:lnTo>
                  <a:lnTo>
                    <a:pt x="65" y="162"/>
                  </a:lnTo>
                  <a:lnTo>
                    <a:pt x="59" y="158"/>
                  </a:lnTo>
                  <a:lnTo>
                    <a:pt x="55" y="145"/>
                  </a:lnTo>
                  <a:lnTo>
                    <a:pt x="53" y="141"/>
                  </a:lnTo>
                  <a:lnTo>
                    <a:pt x="47" y="137"/>
                  </a:lnTo>
                  <a:lnTo>
                    <a:pt x="42" y="130"/>
                  </a:lnTo>
                  <a:lnTo>
                    <a:pt x="38" y="121"/>
                  </a:lnTo>
                  <a:lnTo>
                    <a:pt x="38" y="109"/>
                  </a:lnTo>
                  <a:lnTo>
                    <a:pt x="34" y="103"/>
                  </a:lnTo>
                  <a:lnTo>
                    <a:pt x="30" y="98"/>
                  </a:lnTo>
                  <a:lnTo>
                    <a:pt x="25" y="95"/>
                  </a:lnTo>
                  <a:lnTo>
                    <a:pt x="20" y="88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12" y="67"/>
                  </a:lnTo>
                  <a:lnTo>
                    <a:pt x="6" y="56"/>
                  </a:lnTo>
                  <a:lnTo>
                    <a:pt x="5" y="53"/>
                  </a:lnTo>
                  <a:lnTo>
                    <a:pt x="0" y="52"/>
                  </a:lnTo>
                  <a:lnTo>
                    <a:pt x="0" y="38"/>
                  </a:lnTo>
                  <a:lnTo>
                    <a:pt x="11" y="36"/>
                  </a:lnTo>
                  <a:lnTo>
                    <a:pt x="17" y="28"/>
                  </a:lnTo>
                  <a:lnTo>
                    <a:pt x="25" y="27"/>
                  </a:lnTo>
                  <a:lnTo>
                    <a:pt x="27" y="25"/>
                  </a:lnTo>
                  <a:lnTo>
                    <a:pt x="21" y="5"/>
                  </a:lnTo>
                  <a:lnTo>
                    <a:pt x="37" y="5"/>
                  </a:lnTo>
                  <a:lnTo>
                    <a:pt x="42" y="0"/>
                  </a:lnTo>
                  <a:lnTo>
                    <a:pt x="54" y="4"/>
                  </a:lnTo>
                  <a:lnTo>
                    <a:pt x="69" y="14"/>
                  </a:lnTo>
                  <a:lnTo>
                    <a:pt x="79" y="21"/>
                  </a:lnTo>
                  <a:lnTo>
                    <a:pt x="79" y="31"/>
                  </a:lnTo>
                  <a:lnTo>
                    <a:pt x="95" y="39"/>
                  </a:lnTo>
                  <a:lnTo>
                    <a:pt x="112" y="37"/>
                  </a:lnTo>
                  <a:lnTo>
                    <a:pt x="116" y="41"/>
                  </a:lnTo>
                  <a:lnTo>
                    <a:pt x="123" y="41"/>
                  </a:lnTo>
                  <a:lnTo>
                    <a:pt x="127" y="45"/>
                  </a:lnTo>
                  <a:lnTo>
                    <a:pt x="128" y="49"/>
                  </a:lnTo>
                  <a:lnTo>
                    <a:pt x="133" y="52"/>
                  </a:lnTo>
                  <a:lnTo>
                    <a:pt x="138" y="64"/>
                  </a:lnTo>
                  <a:lnTo>
                    <a:pt x="141" y="66"/>
                  </a:lnTo>
                  <a:lnTo>
                    <a:pt x="140" y="75"/>
                  </a:lnTo>
                  <a:lnTo>
                    <a:pt x="148" y="85"/>
                  </a:lnTo>
                  <a:lnTo>
                    <a:pt x="150" y="90"/>
                  </a:lnTo>
                  <a:lnTo>
                    <a:pt x="154" y="91"/>
                  </a:lnTo>
                  <a:lnTo>
                    <a:pt x="158" y="95"/>
                  </a:lnTo>
                  <a:lnTo>
                    <a:pt x="156" y="99"/>
                  </a:lnTo>
                  <a:lnTo>
                    <a:pt x="163" y="107"/>
                  </a:lnTo>
                  <a:lnTo>
                    <a:pt x="187" y="11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5" name="Freeform 772"/>
            <p:cNvSpPr>
              <a:spLocks/>
            </p:cNvSpPr>
            <p:nvPr/>
          </p:nvSpPr>
          <p:spPr bwMode="gray">
            <a:xfrm>
              <a:off x="3238" y="2627"/>
              <a:ext cx="135" cy="85"/>
            </a:xfrm>
            <a:custGeom>
              <a:avLst/>
              <a:gdLst>
                <a:gd name="T0" fmla="*/ 2147483647 w 104"/>
                <a:gd name="T1" fmla="*/ 2147483647 h 66"/>
                <a:gd name="T2" fmla="*/ 2147483647 w 104"/>
                <a:gd name="T3" fmla="*/ 2147483647 h 66"/>
                <a:gd name="T4" fmla="*/ 2147483647 w 104"/>
                <a:gd name="T5" fmla="*/ 2147483647 h 66"/>
                <a:gd name="T6" fmla="*/ 2147483647 w 104"/>
                <a:gd name="T7" fmla="*/ 2147483647 h 66"/>
                <a:gd name="T8" fmla="*/ 2147483647 w 104"/>
                <a:gd name="T9" fmla="*/ 2147483647 h 66"/>
                <a:gd name="T10" fmla="*/ 2147483647 w 104"/>
                <a:gd name="T11" fmla="*/ 2147483647 h 66"/>
                <a:gd name="T12" fmla="*/ 2147483647 w 104"/>
                <a:gd name="T13" fmla="*/ 2147483647 h 66"/>
                <a:gd name="T14" fmla="*/ 2147483647 w 104"/>
                <a:gd name="T15" fmla="*/ 2147483647 h 66"/>
                <a:gd name="T16" fmla="*/ 2147483647 w 104"/>
                <a:gd name="T17" fmla="*/ 2147483647 h 66"/>
                <a:gd name="T18" fmla="*/ 2147483647 w 104"/>
                <a:gd name="T19" fmla="*/ 2147483647 h 66"/>
                <a:gd name="T20" fmla="*/ 2147483647 w 104"/>
                <a:gd name="T21" fmla="*/ 2147483647 h 66"/>
                <a:gd name="T22" fmla="*/ 2147483647 w 104"/>
                <a:gd name="T23" fmla="*/ 2147483647 h 66"/>
                <a:gd name="T24" fmla="*/ 2147483647 w 104"/>
                <a:gd name="T25" fmla="*/ 2147483647 h 66"/>
                <a:gd name="T26" fmla="*/ 2147483647 w 104"/>
                <a:gd name="T27" fmla="*/ 2147483647 h 66"/>
                <a:gd name="T28" fmla="*/ 2147483647 w 104"/>
                <a:gd name="T29" fmla="*/ 2147483647 h 66"/>
                <a:gd name="T30" fmla="*/ 2147483647 w 104"/>
                <a:gd name="T31" fmla="*/ 2147483647 h 66"/>
                <a:gd name="T32" fmla="*/ 2147483647 w 104"/>
                <a:gd name="T33" fmla="*/ 2147483647 h 66"/>
                <a:gd name="T34" fmla="*/ 2147483647 w 104"/>
                <a:gd name="T35" fmla="*/ 2147483647 h 66"/>
                <a:gd name="T36" fmla="*/ 2147483647 w 104"/>
                <a:gd name="T37" fmla="*/ 2147483647 h 66"/>
                <a:gd name="T38" fmla="*/ 2147483647 w 104"/>
                <a:gd name="T39" fmla="*/ 2147483647 h 66"/>
                <a:gd name="T40" fmla="*/ 2147483647 w 104"/>
                <a:gd name="T41" fmla="*/ 2147483647 h 66"/>
                <a:gd name="T42" fmla="*/ 0 w 104"/>
                <a:gd name="T43" fmla="*/ 2147483647 h 66"/>
                <a:gd name="T44" fmla="*/ 0 w 104"/>
                <a:gd name="T45" fmla="*/ 2147483647 h 66"/>
                <a:gd name="T46" fmla="*/ 2147483647 w 104"/>
                <a:gd name="T47" fmla="*/ 2147483647 h 66"/>
                <a:gd name="T48" fmla="*/ 2147483647 w 104"/>
                <a:gd name="T49" fmla="*/ 2147483647 h 66"/>
                <a:gd name="T50" fmla="*/ 2147483647 w 104"/>
                <a:gd name="T51" fmla="*/ 2147483647 h 66"/>
                <a:gd name="T52" fmla="*/ 2147483647 w 104"/>
                <a:gd name="T53" fmla="*/ 2147483647 h 66"/>
                <a:gd name="T54" fmla="*/ 2147483647 w 104"/>
                <a:gd name="T55" fmla="*/ 0 h 66"/>
                <a:gd name="T56" fmla="*/ 2147483647 w 104"/>
                <a:gd name="T57" fmla="*/ 2147483647 h 66"/>
                <a:gd name="T58" fmla="*/ 2147483647 w 104"/>
                <a:gd name="T59" fmla="*/ 2147483647 h 66"/>
                <a:gd name="T60" fmla="*/ 2147483647 w 104"/>
                <a:gd name="T61" fmla="*/ 2147483647 h 66"/>
                <a:gd name="T62" fmla="*/ 2147483647 w 104"/>
                <a:gd name="T63" fmla="*/ 2147483647 h 66"/>
                <a:gd name="T64" fmla="*/ 2147483647 w 104"/>
                <a:gd name="T65" fmla="*/ 2147483647 h 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4"/>
                <a:gd name="T100" fmla="*/ 0 h 66"/>
                <a:gd name="T101" fmla="*/ 104 w 104"/>
                <a:gd name="T102" fmla="*/ 66 h 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4" h="66">
                  <a:moveTo>
                    <a:pt x="104" y="21"/>
                  </a:moveTo>
                  <a:lnTo>
                    <a:pt x="96" y="24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7" y="37"/>
                  </a:lnTo>
                  <a:lnTo>
                    <a:pt x="80" y="39"/>
                  </a:lnTo>
                  <a:lnTo>
                    <a:pt x="75" y="42"/>
                  </a:lnTo>
                  <a:lnTo>
                    <a:pt x="67" y="43"/>
                  </a:lnTo>
                  <a:lnTo>
                    <a:pt x="64" y="45"/>
                  </a:lnTo>
                  <a:lnTo>
                    <a:pt x="59" y="47"/>
                  </a:lnTo>
                  <a:lnTo>
                    <a:pt x="58" y="51"/>
                  </a:lnTo>
                  <a:lnTo>
                    <a:pt x="40" y="56"/>
                  </a:lnTo>
                  <a:lnTo>
                    <a:pt x="35" y="59"/>
                  </a:lnTo>
                  <a:lnTo>
                    <a:pt x="28" y="59"/>
                  </a:lnTo>
                  <a:lnTo>
                    <a:pt x="25" y="64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6" y="61"/>
                  </a:lnTo>
                  <a:lnTo>
                    <a:pt x="5" y="52"/>
                  </a:lnTo>
                  <a:lnTo>
                    <a:pt x="1" y="41"/>
                  </a:lnTo>
                  <a:lnTo>
                    <a:pt x="1" y="37"/>
                  </a:lnTo>
                  <a:lnTo>
                    <a:pt x="0" y="27"/>
                  </a:lnTo>
                  <a:lnTo>
                    <a:pt x="0" y="22"/>
                  </a:lnTo>
                  <a:lnTo>
                    <a:pt x="8" y="16"/>
                  </a:lnTo>
                  <a:lnTo>
                    <a:pt x="28" y="22"/>
                  </a:lnTo>
                  <a:lnTo>
                    <a:pt x="36" y="32"/>
                  </a:lnTo>
                  <a:lnTo>
                    <a:pt x="57" y="7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93" y="12"/>
                  </a:lnTo>
                  <a:lnTo>
                    <a:pt x="96" y="14"/>
                  </a:lnTo>
                  <a:lnTo>
                    <a:pt x="100" y="17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6" name="Freeform 773"/>
            <p:cNvSpPr>
              <a:spLocks/>
            </p:cNvSpPr>
            <p:nvPr/>
          </p:nvSpPr>
          <p:spPr bwMode="gray">
            <a:xfrm>
              <a:off x="3044" y="2272"/>
              <a:ext cx="220" cy="107"/>
            </a:xfrm>
            <a:custGeom>
              <a:avLst/>
              <a:gdLst>
                <a:gd name="T0" fmla="*/ 2147483647 w 168"/>
                <a:gd name="T1" fmla="*/ 2147483647 h 82"/>
                <a:gd name="T2" fmla="*/ 2147483647 w 168"/>
                <a:gd name="T3" fmla="*/ 2147483647 h 82"/>
                <a:gd name="T4" fmla="*/ 2147483647 w 168"/>
                <a:gd name="T5" fmla="*/ 2147483647 h 82"/>
                <a:gd name="T6" fmla="*/ 2147483647 w 168"/>
                <a:gd name="T7" fmla="*/ 2147483647 h 82"/>
                <a:gd name="T8" fmla="*/ 2147483647 w 168"/>
                <a:gd name="T9" fmla="*/ 2147483647 h 82"/>
                <a:gd name="T10" fmla="*/ 2147483647 w 168"/>
                <a:gd name="T11" fmla="*/ 2147483647 h 82"/>
                <a:gd name="T12" fmla="*/ 2147483647 w 168"/>
                <a:gd name="T13" fmla="*/ 2147483647 h 82"/>
                <a:gd name="T14" fmla="*/ 2147483647 w 168"/>
                <a:gd name="T15" fmla="*/ 2147483647 h 82"/>
                <a:gd name="T16" fmla="*/ 2147483647 w 168"/>
                <a:gd name="T17" fmla="*/ 2147483647 h 82"/>
                <a:gd name="T18" fmla="*/ 2147483647 w 168"/>
                <a:gd name="T19" fmla="*/ 2147483647 h 82"/>
                <a:gd name="T20" fmla="*/ 2147483647 w 168"/>
                <a:gd name="T21" fmla="*/ 2147483647 h 82"/>
                <a:gd name="T22" fmla="*/ 2147483647 w 168"/>
                <a:gd name="T23" fmla="*/ 2147483647 h 82"/>
                <a:gd name="T24" fmla="*/ 2147483647 w 168"/>
                <a:gd name="T25" fmla="*/ 2147483647 h 82"/>
                <a:gd name="T26" fmla="*/ 2147483647 w 168"/>
                <a:gd name="T27" fmla="*/ 2147483647 h 82"/>
                <a:gd name="T28" fmla="*/ 2147483647 w 168"/>
                <a:gd name="T29" fmla="*/ 2147483647 h 82"/>
                <a:gd name="T30" fmla="*/ 2147483647 w 168"/>
                <a:gd name="T31" fmla="*/ 2147483647 h 82"/>
                <a:gd name="T32" fmla="*/ 2147483647 w 168"/>
                <a:gd name="T33" fmla="*/ 2147483647 h 82"/>
                <a:gd name="T34" fmla="*/ 2147483647 w 168"/>
                <a:gd name="T35" fmla="*/ 2147483647 h 82"/>
                <a:gd name="T36" fmla="*/ 2147483647 w 168"/>
                <a:gd name="T37" fmla="*/ 2147483647 h 82"/>
                <a:gd name="T38" fmla="*/ 2147483647 w 168"/>
                <a:gd name="T39" fmla="*/ 2147483647 h 82"/>
                <a:gd name="T40" fmla="*/ 2147483647 w 168"/>
                <a:gd name="T41" fmla="*/ 2147483647 h 82"/>
                <a:gd name="T42" fmla="*/ 2147483647 w 168"/>
                <a:gd name="T43" fmla="*/ 2147483647 h 82"/>
                <a:gd name="T44" fmla="*/ 2147483647 w 168"/>
                <a:gd name="T45" fmla="*/ 2147483647 h 82"/>
                <a:gd name="T46" fmla="*/ 2147483647 w 168"/>
                <a:gd name="T47" fmla="*/ 2147483647 h 82"/>
                <a:gd name="T48" fmla="*/ 0 w 168"/>
                <a:gd name="T49" fmla="*/ 2147483647 h 82"/>
                <a:gd name="T50" fmla="*/ 2147483647 w 168"/>
                <a:gd name="T51" fmla="*/ 2147483647 h 82"/>
                <a:gd name="T52" fmla="*/ 2147483647 w 168"/>
                <a:gd name="T53" fmla="*/ 2147483647 h 82"/>
                <a:gd name="T54" fmla="*/ 2147483647 w 168"/>
                <a:gd name="T55" fmla="*/ 2147483647 h 82"/>
                <a:gd name="T56" fmla="*/ 2147483647 w 168"/>
                <a:gd name="T57" fmla="*/ 2147483647 h 82"/>
                <a:gd name="T58" fmla="*/ 2147483647 w 168"/>
                <a:gd name="T59" fmla="*/ 2147483647 h 82"/>
                <a:gd name="T60" fmla="*/ 2147483647 w 168"/>
                <a:gd name="T61" fmla="*/ 2147483647 h 82"/>
                <a:gd name="T62" fmla="*/ 2147483647 w 168"/>
                <a:gd name="T63" fmla="*/ 2147483647 h 82"/>
                <a:gd name="T64" fmla="*/ 2147483647 w 168"/>
                <a:gd name="T65" fmla="*/ 2147483647 h 82"/>
                <a:gd name="T66" fmla="*/ 2147483647 w 168"/>
                <a:gd name="T67" fmla="*/ 2147483647 h 82"/>
                <a:gd name="T68" fmla="*/ 2147483647 w 168"/>
                <a:gd name="T69" fmla="*/ 2147483647 h 82"/>
                <a:gd name="T70" fmla="*/ 2147483647 w 168"/>
                <a:gd name="T71" fmla="*/ 2147483647 h 82"/>
                <a:gd name="T72" fmla="*/ 2147483647 w 168"/>
                <a:gd name="T73" fmla="*/ 2147483647 h 82"/>
                <a:gd name="T74" fmla="*/ 2147483647 w 168"/>
                <a:gd name="T75" fmla="*/ 2147483647 h 82"/>
                <a:gd name="T76" fmla="*/ 2147483647 w 168"/>
                <a:gd name="T77" fmla="*/ 2147483647 h 82"/>
                <a:gd name="T78" fmla="*/ 2147483647 w 168"/>
                <a:gd name="T79" fmla="*/ 2147483647 h 82"/>
                <a:gd name="T80" fmla="*/ 2147483647 w 168"/>
                <a:gd name="T81" fmla="*/ 2147483647 h 82"/>
                <a:gd name="T82" fmla="*/ 2147483647 w 168"/>
                <a:gd name="T83" fmla="*/ 2147483647 h 82"/>
                <a:gd name="T84" fmla="*/ 2147483647 w 168"/>
                <a:gd name="T85" fmla="*/ 2147483647 h 82"/>
                <a:gd name="T86" fmla="*/ 2147483647 w 168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"/>
                <a:gd name="T133" fmla="*/ 0 h 82"/>
                <a:gd name="T134" fmla="*/ 168 w 168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" h="82">
                  <a:moveTo>
                    <a:pt x="167" y="31"/>
                  </a:moveTo>
                  <a:lnTo>
                    <a:pt x="163" y="35"/>
                  </a:lnTo>
                  <a:lnTo>
                    <a:pt x="168" y="55"/>
                  </a:lnTo>
                  <a:lnTo>
                    <a:pt x="167" y="63"/>
                  </a:lnTo>
                  <a:lnTo>
                    <a:pt x="161" y="64"/>
                  </a:lnTo>
                  <a:lnTo>
                    <a:pt x="158" y="60"/>
                  </a:lnTo>
                  <a:lnTo>
                    <a:pt x="151" y="58"/>
                  </a:lnTo>
                  <a:lnTo>
                    <a:pt x="144" y="63"/>
                  </a:lnTo>
                  <a:lnTo>
                    <a:pt x="142" y="60"/>
                  </a:lnTo>
                  <a:lnTo>
                    <a:pt x="134" y="62"/>
                  </a:lnTo>
                  <a:lnTo>
                    <a:pt x="122" y="66"/>
                  </a:lnTo>
                  <a:lnTo>
                    <a:pt x="111" y="68"/>
                  </a:lnTo>
                  <a:lnTo>
                    <a:pt x="107" y="66"/>
                  </a:lnTo>
                  <a:lnTo>
                    <a:pt x="93" y="70"/>
                  </a:lnTo>
                  <a:lnTo>
                    <a:pt x="93" y="76"/>
                  </a:lnTo>
                  <a:lnTo>
                    <a:pt x="86" y="82"/>
                  </a:lnTo>
                  <a:lnTo>
                    <a:pt x="87" y="78"/>
                  </a:lnTo>
                  <a:lnTo>
                    <a:pt x="87" y="69"/>
                  </a:lnTo>
                  <a:lnTo>
                    <a:pt x="77" y="69"/>
                  </a:lnTo>
                  <a:lnTo>
                    <a:pt x="75" y="71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0" y="76"/>
                  </a:lnTo>
                  <a:lnTo>
                    <a:pt x="55" y="76"/>
                  </a:lnTo>
                  <a:lnTo>
                    <a:pt x="45" y="68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8" y="72"/>
                  </a:lnTo>
                  <a:lnTo>
                    <a:pt x="34" y="73"/>
                  </a:lnTo>
                  <a:lnTo>
                    <a:pt x="27" y="75"/>
                  </a:lnTo>
                  <a:lnTo>
                    <a:pt x="24" y="71"/>
                  </a:lnTo>
                  <a:lnTo>
                    <a:pt x="21" y="70"/>
                  </a:lnTo>
                  <a:lnTo>
                    <a:pt x="18" y="73"/>
                  </a:lnTo>
                  <a:lnTo>
                    <a:pt x="17" y="76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5" y="72"/>
                  </a:lnTo>
                  <a:lnTo>
                    <a:pt x="15" y="68"/>
                  </a:lnTo>
                  <a:lnTo>
                    <a:pt x="13" y="66"/>
                  </a:lnTo>
                  <a:lnTo>
                    <a:pt x="10" y="68"/>
                  </a:lnTo>
                  <a:lnTo>
                    <a:pt x="7" y="69"/>
                  </a:lnTo>
                  <a:lnTo>
                    <a:pt x="7" y="66"/>
                  </a:lnTo>
                  <a:lnTo>
                    <a:pt x="10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5" y="47"/>
                  </a:lnTo>
                  <a:lnTo>
                    <a:pt x="6" y="45"/>
                  </a:lnTo>
                  <a:lnTo>
                    <a:pt x="5" y="42"/>
                  </a:lnTo>
                  <a:lnTo>
                    <a:pt x="4" y="37"/>
                  </a:lnTo>
                  <a:lnTo>
                    <a:pt x="6" y="34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4" y="2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9" y="20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1" y="17"/>
                  </a:lnTo>
                  <a:lnTo>
                    <a:pt x="26" y="15"/>
                  </a:lnTo>
                  <a:lnTo>
                    <a:pt x="26" y="11"/>
                  </a:lnTo>
                  <a:lnTo>
                    <a:pt x="30" y="10"/>
                  </a:lnTo>
                  <a:lnTo>
                    <a:pt x="38" y="10"/>
                  </a:lnTo>
                  <a:lnTo>
                    <a:pt x="42" y="11"/>
                  </a:lnTo>
                  <a:lnTo>
                    <a:pt x="51" y="5"/>
                  </a:lnTo>
                  <a:lnTo>
                    <a:pt x="62" y="1"/>
                  </a:lnTo>
                  <a:lnTo>
                    <a:pt x="72" y="1"/>
                  </a:lnTo>
                  <a:lnTo>
                    <a:pt x="77" y="0"/>
                  </a:lnTo>
                  <a:lnTo>
                    <a:pt x="81" y="6"/>
                  </a:lnTo>
                  <a:lnTo>
                    <a:pt x="88" y="5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4" y="12"/>
                  </a:lnTo>
                  <a:lnTo>
                    <a:pt x="121" y="14"/>
                  </a:lnTo>
                  <a:lnTo>
                    <a:pt x="127" y="14"/>
                  </a:lnTo>
                  <a:lnTo>
                    <a:pt x="138" y="8"/>
                  </a:lnTo>
                  <a:lnTo>
                    <a:pt x="139" y="4"/>
                  </a:lnTo>
                  <a:lnTo>
                    <a:pt x="146" y="6"/>
                  </a:lnTo>
                  <a:lnTo>
                    <a:pt x="152" y="6"/>
                  </a:lnTo>
                  <a:lnTo>
                    <a:pt x="159" y="16"/>
                  </a:lnTo>
                  <a:lnTo>
                    <a:pt x="160" y="24"/>
                  </a:lnTo>
                  <a:lnTo>
                    <a:pt x="165" y="27"/>
                  </a:lnTo>
                  <a:lnTo>
                    <a:pt x="167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7" name="Freeform 774"/>
            <p:cNvSpPr>
              <a:spLocks/>
            </p:cNvSpPr>
            <p:nvPr/>
          </p:nvSpPr>
          <p:spPr bwMode="gray">
            <a:xfrm>
              <a:off x="3290" y="2002"/>
              <a:ext cx="490" cy="287"/>
            </a:xfrm>
            <a:custGeom>
              <a:avLst/>
              <a:gdLst>
                <a:gd name="T0" fmla="*/ 2147483647 w 376"/>
                <a:gd name="T1" fmla="*/ 2147483647 h 220"/>
                <a:gd name="T2" fmla="*/ 2147483647 w 376"/>
                <a:gd name="T3" fmla="*/ 2147483647 h 220"/>
                <a:gd name="T4" fmla="*/ 2147483647 w 376"/>
                <a:gd name="T5" fmla="*/ 2147483647 h 220"/>
                <a:gd name="T6" fmla="*/ 2147483647 w 376"/>
                <a:gd name="T7" fmla="*/ 2147483647 h 220"/>
                <a:gd name="T8" fmla="*/ 2147483647 w 376"/>
                <a:gd name="T9" fmla="*/ 2147483647 h 220"/>
                <a:gd name="T10" fmla="*/ 2147483647 w 376"/>
                <a:gd name="T11" fmla="*/ 2147483647 h 220"/>
                <a:gd name="T12" fmla="*/ 2147483647 w 376"/>
                <a:gd name="T13" fmla="*/ 2147483647 h 220"/>
                <a:gd name="T14" fmla="*/ 2147483647 w 376"/>
                <a:gd name="T15" fmla="*/ 2147483647 h 220"/>
                <a:gd name="T16" fmla="*/ 2147483647 w 376"/>
                <a:gd name="T17" fmla="*/ 2147483647 h 220"/>
                <a:gd name="T18" fmla="*/ 2147483647 w 376"/>
                <a:gd name="T19" fmla="*/ 2147483647 h 220"/>
                <a:gd name="T20" fmla="*/ 2147483647 w 376"/>
                <a:gd name="T21" fmla="*/ 2147483647 h 220"/>
                <a:gd name="T22" fmla="*/ 2147483647 w 376"/>
                <a:gd name="T23" fmla="*/ 2147483647 h 220"/>
                <a:gd name="T24" fmla="*/ 2147483647 w 376"/>
                <a:gd name="T25" fmla="*/ 2147483647 h 220"/>
                <a:gd name="T26" fmla="*/ 2147483647 w 376"/>
                <a:gd name="T27" fmla="*/ 2147483647 h 220"/>
                <a:gd name="T28" fmla="*/ 2147483647 w 376"/>
                <a:gd name="T29" fmla="*/ 2147483647 h 220"/>
                <a:gd name="T30" fmla="*/ 2147483647 w 376"/>
                <a:gd name="T31" fmla="*/ 2147483647 h 220"/>
                <a:gd name="T32" fmla="*/ 2147483647 w 376"/>
                <a:gd name="T33" fmla="*/ 2147483647 h 220"/>
                <a:gd name="T34" fmla="*/ 2147483647 w 376"/>
                <a:gd name="T35" fmla="*/ 2147483647 h 220"/>
                <a:gd name="T36" fmla="*/ 2147483647 w 376"/>
                <a:gd name="T37" fmla="*/ 2147483647 h 220"/>
                <a:gd name="T38" fmla="*/ 2147483647 w 376"/>
                <a:gd name="T39" fmla="*/ 2147483647 h 220"/>
                <a:gd name="T40" fmla="*/ 2147483647 w 376"/>
                <a:gd name="T41" fmla="*/ 2147483647 h 220"/>
                <a:gd name="T42" fmla="*/ 2147483647 w 376"/>
                <a:gd name="T43" fmla="*/ 2147483647 h 220"/>
                <a:gd name="T44" fmla="*/ 2147483647 w 376"/>
                <a:gd name="T45" fmla="*/ 2147483647 h 220"/>
                <a:gd name="T46" fmla="*/ 2147483647 w 376"/>
                <a:gd name="T47" fmla="*/ 2147483647 h 220"/>
                <a:gd name="T48" fmla="*/ 2147483647 w 376"/>
                <a:gd name="T49" fmla="*/ 2147483647 h 220"/>
                <a:gd name="T50" fmla="*/ 2147483647 w 376"/>
                <a:gd name="T51" fmla="*/ 2147483647 h 220"/>
                <a:gd name="T52" fmla="*/ 2147483647 w 376"/>
                <a:gd name="T53" fmla="*/ 2147483647 h 220"/>
                <a:gd name="T54" fmla="*/ 2147483647 w 376"/>
                <a:gd name="T55" fmla="*/ 2147483647 h 220"/>
                <a:gd name="T56" fmla="*/ 2147483647 w 376"/>
                <a:gd name="T57" fmla="*/ 2147483647 h 220"/>
                <a:gd name="T58" fmla="*/ 2147483647 w 376"/>
                <a:gd name="T59" fmla="*/ 2147483647 h 220"/>
                <a:gd name="T60" fmla="*/ 2147483647 w 376"/>
                <a:gd name="T61" fmla="*/ 2147483647 h 220"/>
                <a:gd name="T62" fmla="*/ 2147483647 w 376"/>
                <a:gd name="T63" fmla="*/ 2147483647 h 220"/>
                <a:gd name="T64" fmla="*/ 2147483647 w 376"/>
                <a:gd name="T65" fmla="*/ 2147483647 h 220"/>
                <a:gd name="T66" fmla="*/ 2147483647 w 376"/>
                <a:gd name="T67" fmla="*/ 2147483647 h 220"/>
                <a:gd name="T68" fmla="*/ 2147483647 w 376"/>
                <a:gd name="T69" fmla="*/ 2147483647 h 220"/>
                <a:gd name="T70" fmla="*/ 2147483647 w 376"/>
                <a:gd name="T71" fmla="*/ 2147483647 h 220"/>
                <a:gd name="T72" fmla="*/ 2147483647 w 376"/>
                <a:gd name="T73" fmla="*/ 2147483647 h 220"/>
                <a:gd name="T74" fmla="*/ 2147483647 w 376"/>
                <a:gd name="T75" fmla="*/ 2147483647 h 220"/>
                <a:gd name="T76" fmla="*/ 2147483647 w 376"/>
                <a:gd name="T77" fmla="*/ 2147483647 h 220"/>
                <a:gd name="T78" fmla="*/ 2147483647 w 376"/>
                <a:gd name="T79" fmla="*/ 2147483647 h 220"/>
                <a:gd name="T80" fmla="*/ 2147483647 w 376"/>
                <a:gd name="T81" fmla="*/ 0 h 220"/>
                <a:gd name="T82" fmla="*/ 2147483647 w 376"/>
                <a:gd name="T83" fmla="*/ 2147483647 h 220"/>
                <a:gd name="T84" fmla="*/ 2147483647 w 376"/>
                <a:gd name="T85" fmla="*/ 2147483647 h 220"/>
                <a:gd name="T86" fmla="*/ 2147483647 w 376"/>
                <a:gd name="T87" fmla="*/ 2147483647 h 220"/>
                <a:gd name="T88" fmla="*/ 2147483647 w 376"/>
                <a:gd name="T89" fmla="*/ 2147483647 h 220"/>
                <a:gd name="T90" fmla="*/ 2147483647 w 376"/>
                <a:gd name="T91" fmla="*/ 2147483647 h 220"/>
                <a:gd name="T92" fmla="*/ 2147483647 w 376"/>
                <a:gd name="T93" fmla="*/ 2147483647 h 220"/>
                <a:gd name="T94" fmla="*/ 2147483647 w 376"/>
                <a:gd name="T95" fmla="*/ 2147483647 h 220"/>
                <a:gd name="T96" fmla="*/ 2147483647 w 376"/>
                <a:gd name="T97" fmla="*/ 2147483647 h 220"/>
                <a:gd name="T98" fmla="*/ 2147483647 w 376"/>
                <a:gd name="T99" fmla="*/ 2147483647 h 220"/>
                <a:gd name="T100" fmla="*/ 2147483647 w 376"/>
                <a:gd name="T101" fmla="*/ 2147483647 h 220"/>
                <a:gd name="T102" fmla="*/ 2147483647 w 376"/>
                <a:gd name="T103" fmla="*/ 2147483647 h 220"/>
                <a:gd name="T104" fmla="*/ 2147483647 w 376"/>
                <a:gd name="T105" fmla="*/ 2147483647 h 220"/>
                <a:gd name="T106" fmla="*/ 2147483647 w 376"/>
                <a:gd name="T107" fmla="*/ 2147483647 h 220"/>
                <a:gd name="T108" fmla="*/ 2147483647 w 376"/>
                <a:gd name="T109" fmla="*/ 2147483647 h 220"/>
                <a:gd name="T110" fmla="*/ 2147483647 w 376"/>
                <a:gd name="T111" fmla="*/ 2147483647 h 220"/>
                <a:gd name="T112" fmla="*/ 2147483647 w 376"/>
                <a:gd name="T113" fmla="*/ 2147483647 h 2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6"/>
                <a:gd name="T172" fmla="*/ 0 h 220"/>
                <a:gd name="T173" fmla="*/ 376 w 376"/>
                <a:gd name="T174" fmla="*/ 220 h 22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6" h="220">
                  <a:moveTo>
                    <a:pt x="204" y="214"/>
                  </a:moveTo>
                  <a:lnTo>
                    <a:pt x="200" y="216"/>
                  </a:lnTo>
                  <a:lnTo>
                    <a:pt x="195" y="220"/>
                  </a:lnTo>
                  <a:lnTo>
                    <a:pt x="192" y="220"/>
                  </a:lnTo>
                  <a:lnTo>
                    <a:pt x="187" y="214"/>
                  </a:lnTo>
                  <a:lnTo>
                    <a:pt x="183" y="213"/>
                  </a:lnTo>
                  <a:lnTo>
                    <a:pt x="177" y="195"/>
                  </a:lnTo>
                  <a:lnTo>
                    <a:pt x="171" y="197"/>
                  </a:lnTo>
                  <a:lnTo>
                    <a:pt x="167" y="187"/>
                  </a:lnTo>
                  <a:lnTo>
                    <a:pt x="159" y="181"/>
                  </a:lnTo>
                  <a:lnTo>
                    <a:pt x="155" y="182"/>
                  </a:lnTo>
                  <a:lnTo>
                    <a:pt x="146" y="181"/>
                  </a:lnTo>
                  <a:lnTo>
                    <a:pt x="140" y="182"/>
                  </a:lnTo>
                  <a:lnTo>
                    <a:pt x="133" y="173"/>
                  </a:lnTo>
                  <a:lnTo>
                    <a:pt x="107" y="154"/>
                  </a:lnTo>
                  <a:lnTo>
                    <a:pt x="81" y="169"/>
                  </a:lnTo>
                  <a:lnTo>
                    <a:pt x="82" y="208"/>
                  </a:lnTo>
                  <a:lnTo>
                    <a:pt x="74" y="209"/>
                  </a:lnTo>
                  <a:lnTo>
                    <a:pt x="68" y="201"/>
                  </a:lnTo>
                  <a:lnTo>
                    <a:pt x="62" y="199"/>
                  </a:lnTo>
                  <a:lnTo>
                    <a:pt x="58" y="199"/>
                  </a:lnTo>
                  <a:lnTo>
                    <a:pt x="55" y="204"/>
                  </a:lnTo>
                  <a:lnTo>
                    <a:pt x="55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3" y="194"/>
                  </a:lnTo>
                  <a:lnTo>
                    <a:pt x="52" y="193"/>
                  </a:lnTo>
                  <a:lnTo>
                    <a:pt x="50" y="192"/>
                  </a:lnTo>
                  <a:lnTo>
                    <a:pt x="48" y="191"/>
                  </a:lnTo>
                  <a:lnTo>
                    <a:pt x="47" y="190"/>
                  </a:lnTo>
                  <a:lnTo>
                    <a:pt x="45" y="191"/>
                  </a:lnTo>
                  <a:lnTo>
                    <a:pt x="43" y="189"/>
                  </a:lnTo>
                  <a:lnTo>
                    <a:pt x="42" y="186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6" y="174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8"/>
                  </a:lnTo>
                  <a:lnTo>
                    <a:pt x="35" y="168"/>
                  </a:lnTo>
                  <a:lnTo>
                    <a:pt x="36" y="168"/>
                  </a:lnTo>
                  <a:lnTo>
                    <a:pt x="38" y="170"/>
                  </a:lnTo>
                  <a:lnTo>
                    <a:pt x="40" y="171"/>
                  </a:lnTo>
                  <a:lnTo>
                    <a:pt x="41" y="171"/>
                  </a:lnTo>
                  <a:lnTo>
                    <a:pt x="42" y="170"/>
                  </a:lnTo>
                  <a:lnTo>
                    <a:pt x="42" y="169"/>
                  </a:lnTo>
                  <a:lnTo>
                    <a:pt x="41" y="167"/>
                  </a:lnTo>
                  <a:lnTo>
                    <a:pt x="41" y="165"/>
                  </a:lnTo>
                  <a:lnTo>
                    <a:pt x="42" y="162"/>
                  </a:lnTo>
                  <a:lnTo>
                    <a:pt x="45" y="160"/>
                  </a:lnTo>
                  <a:lnTo>
                    <a:pt x="49" y="159"/>
                  </a:lnTo>
                  <a:lnTo>
                    <a:pt x="57" y="159"/>
                  </a:lnTo>
                  <a:lnTo>
                    <a:pt x="58" y="158"/>
                  </a:lnTo>
                  <a:lnTo>
                    <a:pt x="59" y="157"/>
                  </a:lnTo>
                  <a:lnTo>
                    <a:pt x="59" y="154"/>
                  </a:lnTo>
                  <a:lnTo>
                    <a:pt x="59" y="149"/>
                  </a:lnTo>
                  <a:lnTo>
                    <a:pt x="59" y="148"/>
                  </a:lnTo>
                  <a:lnTo>
                    <a:pt x="59" y="147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59" y="140"/>
                  </a:lnTo>
                  <a:lnTo>
                    <a:pt x="59" y="139"/>
                  </a:lnTo>
                  <a:lnTo>
                    <a:pt x="59" y="138"/>
                  </a:lnTo>
                  <a:lnTo>
                    <a:pt x="58" y="137"/>
                  </a:lnTo>
                  <a:lnTo>
                    <a:pt x="56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1" y="136"/>
                  </a:lnTo>
                  <a:lnTo>
                    <a:pt x="49" y="136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9" y="135"/>
                  </a:lnTo>
                  <a:lnTo>
                    <a:pt x="38" y="137"/>
                  </a:lnTo>
                  <a:lnTo>
                    <a:pt x="36" y="140"/>
                  </a:lnTo>
                  <a:lnTo>
                    <a:pt x="35" y="140"/>
                  </a:lnTo>
                  <a:lnTo>
                    <a:pt x="34" y="140"/>
                  </a:lnTo>
                  <a:lnTo>
                    <a:pt x="28" y="143"/>
                  </a:lnTo>
                  <a:lnTo>
                    <a:pt x="25" y="144"/>
                  </a:lnTo>
                  <a:lnTo>
                    <a:pt x="22" y="145"/>
                  </a:lnTo>
                  <a:lnTo>
                    <a:pt x="18" y="142"/>
                  </a:lnTo>
                  <a:lnTo>
                    <a:pt x="20" y="132"/>
                  </a:lnTo>
                  <a:lnTo>
                    <a:pt x="14" y="124"/>
                  </a:lnTo>
                  <a:lnTo>
                    <a:pt x="0" y="121"/>
                  </a:lnTo>
                  <a:lnTo>
                    <a:pt x="3" y="80"/>
                  </a:lnTo>
                  <a:lnTo>
                    <a:pt x="9" y="79"/>
                  </a:lnTo>
                  <a:lnTo>
                    <a:pt x="12" y="84"/>
                  </a:lnTo>
                  <a:lnTo>
                    <a:pt x="18" y="83"/>
                  </a:lnTo>
                  <a:lnTo>
                    <a:pt x="18" y="71"/>
                  </a:lnTo>
                  <a:lnTo>
                    <a:pt x="38" y="57"/>
                  </a:lnTo>
                  <a:lnTo>
                    <a:pt x="43" y="63"/>
                  </a:lnTo>
                  <a:lnTo>
                    <a:pt x="52" y="63"/>
                  </a:lnTo>
                  <a:lnTo>
                    <a:pt x="56" y="66"/>
                  </a:lnTo>
                  <a:lnTo>
                    <a:pt x="64" y="66"/>
                  </a:lnTo>
                  <a:lnTo>
                    <a:pt x="70" y="74"/>
                  </a:lnTo>
                  <a:lnTo>
                    <a:pt x="75" y="73"/>
                  </a:lnTo>
                  <a:lnTo>
                    <a:pt x="79" y="77"/>
                  </a:lnTo>
                  <a:lnTo>
                    <a:pt x="82" y="77"/>
                  </a:lnTo>
                  <a:lnTo>
                    <a:pt x="87" y="71"/>
                  </a:lnTo>
                  <a:lnTo>
                    <a:pt x="104" y="71"/>
                  </a:lnTo>
                  <a:lnTo>
                    <a:pt x="108" y="76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4" y="72"/>
                  </a:lnTo>
                  <a:lnTo>
                    <a:pt x="128" y="80"/>
                  </a:lnTo>
                  <a:lnTo>
                    <a:pt x="132" y="75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26" y="55"/>
                  </a:lnTo>
                  <a:lnTo>
                    <a:pt x="131" y="53"/>
                  </a:lnTo>
                  <a:lnTo>
                    <a:pt x="132" y="49"/>
                  </a:lnTo>
                  <a:lnTo>
                    <a:pt x="129" y="46"/>
                  </a:lnTo>
                  <a:lnTo>
                    <a:pt x="130" y="41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29" y="36"/>
                  </a:lnTo>
                  <a:lnTo>
                    <a:pt x="129" y="28"/>
                  </a:lnTo>
                  <a:lnTo>
                    <a:pt x="141" y="26"/>
                  </a:lnTo>
                  <a:lnTo>
                    <a:pt x="155" y="22"/>
                  </a:lnTo>
                  <a:lnTo>
                    <a:pt x="180" y="11"/>
                  </a:lnTo>
                  <a:lnTo>
                    <a:pt x="191" y="1"/>
                  </a:lnTo>
                  <a:lnTo>
                    <a:pt x="203" y="0"/>
                  </a:lnTo>
                  <a:lnTo>
                    <a:pt x="215" y="1"/>
                  </a:lnTo>
                  <a:lnTo>
                    <a:pt x="222" y="4"/>
                  </a:lnTo>
                  <a:lnTo>
                    <a:pt x="227" y="17"/>
                  </a:lnTo>
                  <a:lnTo>
                    <a:pt x="234" y="15"/>
                  </a:lnTo>
                  <a:lnTo>
                    <a:pt x="246" y="21"/>
                  </a:lnTo>
                  <a:lnTo>
                    <a:pt x="248" y="29"/>
                  </a:lnTo>
                  <a:lnTo>
                    <a:pt x="259" y="27"/>
                  </a:lnTo>
                  <a:lnTo>
                    <a:pt x="261" y="21"/>
                  </a:lnTo>
                  <a:lnTo>
                    <a:pt x="266" y="15"/>
                  </a:lnTo>
                  <a:lnTo>
                    <a:pt x="278" y="16"/>
                  </a:lnTo>
                  <a:lnTo>
                    <a:pt x="278" y="23"/>
                  </a:lnTo>
                  <a:lnTo>
                    <a:pt x="281" y="34"/>
                  </a:lnTo>
                  <a:lnTo>
                    <a:pt x="295" y="43"/>
                  </a:lnTo>
                  <a:lnTo>
                    <a:pt x="299" y="56"/>
                  </a:lnTo>
                  <a:lnTo>
                    <a:pt x="308" y="72"/>
                  </a:lnTo>
                  <a:lnTo>
                    <a:pt x="342" y="72"/>
                  </a:lnTo>
                  <a:lnTo>
                    <a:pt x="357" y="92"/>
                  </a:lnTo>
                  <a:lnTo>
                    <a:pt x="375" y="97"/>
                  </a:lnTo>
                  <a:lnTo>
                    <a:pt x="376" y="102"/>
                  </a:lnTo>
                  <a:lnTo>
                    <a:pt x="359" y="117"/>
                  </a:lnTo>
                  <a:lnTo>
                    <a:pt x="362" y="131"/>
                  </a:lnTo>
                  <a:lnTo>
                    <a:pt x="357" y="137"/>
                  </a:lnTo>
                  <a:lnTo>
                    <a:pt x="350" y="133"/>
                  </a:lnTo>
                  <a:lnTo>
                    <a:pt x="339" y="134"/>
                  </a:lnTo>
                  <a:lnTo>
                    <a:pt x="332" y="153"/>
                  </a:lnTo>
                  <a:lnTo>
                    <a:pt x="332" y="158"/>
                  </a:lnTo>
                  <a:lnTo>
                    <a:pt x="328" y="163"/>
                  </a:lnTo>
                  <a:lnTo>
                    <a:pt x="324" y="157"/>
                  </a:lnTo>
                  <a:lnTo>
                    <a:pt x="305" y="164"/>
                  </a:lnTo>
                  <a:lnTo>
                    <a:pt x="311" y="171"/>
                  </a:lnTo>
                  <a:lnTo>
                    <a:pt x="312" y="182"/>
                  </a:lnTo>
                  <a:lnTo>
                    <a:pt x="314" y="188"/>
                  </a:lnTo>
                  <a:lnTo>
                    <a:pt x="311" y="198"/>
                  </a:lnTo>
                  <a:lnTo>
                    <a:pt x="306" y="194"/>
                  </a:lnTo>
                  <a:lnTo>
                    <a:pt x="294" y="190"/>
                  </a:lnTo>
                  <a:lnTo>
                    <a:pt x="278" y="188"/>
                  </a:lnTo>
                  <a:lnTo>
                    <a:pt x="265" y="192"/>
                  </a:lnTo>
                  <a:lnTo>
                    <a:pt x="261" y="186"/>
                  </a:lnTo>
                  <a:lnTo>
                    <a:pt x="257" y="184"/>
                  </a:lnTo>
                  <a:lnTo>
                    <a:pt x="247" y="190"/>
                  </a:lnTo>
                  <a:lnTo>
                    <a:pt x="249" y="196"/>
                  </a:lnTo>
                  <a:lnTo>
                    <a:pt x="239" y="198"/>
                  </a:lnTo>
                  <a:lnTo>
                    <a:pt x="234" y="193"/>
                  </a:lnTo>
                  <a:lnTo>
                    <a:pt x="228" y="193"/>
                  </a:lnTo>
                  <a:lnTo>
                    <a:pt x="223" y="198"/>
                  </a:lnTo>
                  <a:lnTo>
                    <a:pt x="211" y="201"/>
                  </a:lnTo>
                  <a:lnTo>
                    <a:pt x="205" y="209"/>
                  </a:lnTo>
                  <a:lnTo>
                    <a:pt x="204" y="2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8" name="Freeform 775"/>
            <p:cNvSpPr>
              <a:spLocks/>
            </p:cNvSpPr>
            <p:nvPr/>
          </p:nvSpPr>
          <p:spPr bwMode="gray">
            <a:xfrm>
              <a:off x="3355" y="2539"/>
              <a:ext cx="94" cy="114"/>
            </a:xfrm>
            <a:custGeom>
              <a:avLst/>
              <a:gdLst>
                <a:gd name="T0" fmla="*/ 2147483647 w 72"/>
                <a:gd name="T1" fmla="*/ 2147483647 h 88"/>
                <a:gd name="T2" fmla="*/ 2147483647 w 72"/>
                <a:gd name="T3" fmla="*/ 2147483647 h 88"/>
                <a:gd name="T4" fmla="*/ 2147483647 w 72"/>
                <a:gd name="T5" fmla="*/ 2147483647 h 88"/>
                <a:gd name="T6" fmla="*/ 2147483647 w 72"/>
                <a:gd name="T7" fmla="*/ 2147483647 h 88"/>
                <a:gd name="T8" fmla="*/ 2147483647 w 72"/>
                <a:gd name="T9" fmla="*/ 2147483647 h 88"/>
                <a:gd name="T10" fmla="*/ 0 w 72"/>
                <a:gd name="T11" fmla="*/ 2147483647 h 88"/>
                <a:gd name="T12" fmla="*/ 2147483647 w 72"/>
                <a:gd name="T13" fmla="*/ 2147483647 h 88"/>
                <a:gd name="T14" fmla="*/ 2147483647 w 72"/>
                <a:gd name="T15" fmla="*/ 2147483647 h 88"/>
                <a:gd name="T16" fmla="*/ 2147483647 w 72"/>
                <a:gd name="T17" fmla="*/ 2147483647 h 88"/>
                <a:gd name="T18" fmla="*/ 2147483647 w 72"/>
                <a:gd name="T19" fmla="*/ 2147483647 h 88"/>
                <a:gd name="T20" fmla="*/ 2147483647 w 72"/>
                <a:gd name="T21" fmla="*/ 2147483647 h 88"/>
                <a:gd name="T22" fmla="*/ 2147483647 w 72"/>
                <a:gd name="T23" fmla="*/ 2147483647 h 88"/>
                <a:gd name="T24" fmla="*/ 2147483647 w 72"/>
                <a:gd name="T25" fmla="*/ 2147483647 h 88"/>
                <a:gd name="T26" fmla="*/ 2147483647 w 72"/>
                <a:gd name="T27" fmla="*/ 0 h 88"/>
                <a:gd name="T28" fmla="*/ 2147483647 w 72"/>
                <a:gd name="T29" fmla="*/ 2147483647 h 88"/>
                <a:gd name="T30" fmla="*/ 2147483647 w 72"/>
                <a:gd name="T31" fmla="*/ 2147483647 h 88"/>
                <a:gd name="T32" fmla="*/ 2147483647 w 72"/>
                <a:gd name="T33" fmla="*/ 2147483647 h 88"/>
                <a:gd name="T34" fmla="*/ 2147483647 w 72"/>
                <a:gd name="T35" fmla="*/ 2147483647 h 88"/>
                <a:gd name="T36" fmla="*/ 2147483647 w 72"/>
                <a:gd name="T37" fmla="*/ 2147483647 h 88"/>
                <a:gd name="T38" fmla="*/ 2147483647 w 72"/>
                <a:gd name="T39" fmla="*/ 2147483647 h 88"/>
                <a:gd name="T40" fmla="*/ 2147483647 w 72"/>
                <a:gd name="T41" fmla="*/ 2147483647 h 88"/>
                <a:gd name="T42" fmla="*/ 2147483647 w 72"/>
                <a:gd name="T43" fmla="*/ 2147483647 h 88"/>
                <a:gd name="T44" fmla="*/ 2147483647 w 72"/>
                <a:gd name="T45" fmla="*/ 2147483647 h 88"/>
                <a:gd name="T46" fmla="*/ 2147483647 w 72"/>
                <a:gd name="T47" fmla="*/ 2147483647 h 88"/>
                <a:gd name="T48" fmla="*/ 2147483647 w 72"/>
                <a:gd name="T49" fmla="*/ 2147483647 h 88"/>
                <a:gd name="T50" fmla="*/ 2147483647 w 72"/>
                <a:gd name="T51" fmla="*/ 2147483647 h 88"/>
                <a:gd name="T52" fmla="*/ 2147483647 w 72"/>
                <a:gd name="T53" fmla="*/ 2147483647 h 88"/>
                <a:gd name="T54" fmla="*/ 2147483647 w 72"/>
                <a:gd name="T55" fmla="*/ 2147483647 h 88"/>
                <a:gd name="T56" fmla="*/ 2147483647 w 72"/>
                <a:gd name="T57" fmla="*/ 2147483647 h 88"/>
                <a:gd name="T58" fmla="*/ 2147483647 w 72"/>
                <a:gd name="T59" fmla="*/ 2147483647 h 88"/>
                <a:gd name="T60" fmla="*/ 2147483647 w 72"/>
                <a:gd name="T61" fmla="*/ 2147483647 h 88"/>
                <a:gd name="T62" fmla="*/ 2147483647 w 72"/>
                <a:gd name="T63" fmla="*/ 2147483647 h 88"/>
                <a:gd name="T64" fmla="*/ 2147483647 w 72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88"/>
                <a:gd name="T101" fmla="*/ 72 w 72"/>
                <a:gd name="T102" fmla="*/ 88 h 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88">
                  <a:moveTo>
                    <a:pt x="14" y="88"/>
                  </a:moveTo>
                  <a:lnTo>
                    <a:pt x="10" y="84"/>
                  </a:lnTo>
                  <a:lnTo>
                    <a:pt x="6" y="81"/>
                  </a:lnTo>
                  <a:lnTo>
                    <a:pt x="3" y="79"/>
                  </a:lnTo>
                  <a:lnTo>
                    <a:pt x="5" y="77"/>
                  </a:lnTo>
                  <a:lnTo>
                    <a:pt x="0" y="67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3" y="32"/>
                  </a:lnTo>
                  <a:lnTo>
                    <a:pt x="26" y="27"/>
                  </a:lnTo>
                  <a:lnTo>
                    <a:pt x="27" y="19"/>
                  </a:lnTo>
                  <a:lnTo>
                    <a:pt x="35" y="9"/>
                  </a:lnTo>
                  <a:lnTo>
                    <a:pt x="33" y="1"/>
                  </a:lnTo>
                  <a:lnTo>
                    <a:pt x="38" y="0"/>
                  </a:lnTo>
                  <a:lnTo>
                    <a:pt x="40" y="5"/>
                  </a:lnTo>
                  <a:lnTo>
                    <a:pt x="43" y="10"/>
                  </a:lnTo>
                  <a:lnTo>
                    <a:pt x="51" y="14"/>
                  </a:lnTo>
                  <a:lnTo>
                    <a:pt x="58" y="15"/>
                  </a:lnTo>
                  <a:lnTo>
                    <a:pt x="59" y="19"/>
                  </a:lnTo>
                  <a:lnTo>
                    <a:pt x="66" y="26"/>
                  </a:lnTo>
                  <a:lnTo>
                    <a:pt x="69" y="27"/>
                  </a:lnTo>
                  <a:lnTo>
                    <a:pt x="72" y="32"/>
                  </a:lnTo>
                  <a:lnTo>
                    <a:pt x="67" y="39"/>
                  </a:lnTo>
                  <a:lnTo>
                    <a:pt x="59" y="50"/>
                  </a:lnTo>
                  <a:lnTo>
                    <a:pt x="55" y="52"/>
                  </a:lnTo>
                  <a:lnTo>
                    <a:pt x="51" y="58"/>
                  </a:lnTo>
                  <a:lnTo>
                    <a:pt x="49" y="64"/>
                  </a:lnTo>
                  <a:lnTo>
                    <a:pt x="41" y="72"/>
                  </a:lnTo>
                  <a:lnTo>
                    <a:pt x="41" y="76"/>
                  </a:lnTo>
                  <a:lnTo>
                    <a:pt x="37" y="79"/>
                  </a:lnTo>
                  <a:lnTo>
                    <a:pt x="30" y="80"/>
                  </a:lnTo>
                  <a:lnTo>
                    <a:pt x="27" y="87"/>
                  </a:lnTo>
                  <a:lnTo>
                    <a:pt x="14" y="8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79" name="Freeform 776"/>
            <p:cNvSpPr>
              <a:spLocks/>
            </p:cNvSpPr>
            <p:nvPr/>
          </p:nvSpPr>
          <p:spPr bwMode="gray">
            <a:xfrm>
              <a:off x="3368" y="2713"/>
              <a:ext cx="14" cy="7"/>
            </a:xfrm>
            <a:custGeom>
              <a:avLst/>
              <a:gdLst>
                <a:gd name="T0" fmla="*/ 2147483647 w 11"/>
                <a:gd name="T1" fmla="*/ 2147483647 h 5"/>
                <a:gd name="T2" fmla="*/ 2147483647 w 11"/>
                <a:gd name="T3" fmla="*/ 2147483647 h 5"/>
                <a:gd name="T4" fmla="*/ 2147483647 w 11"/>
                <a:gd name="T5" fmla="*/ 0 h 5"/>
                <a:gd name="T6" fmla="*/ 2147483647 w 11"/>
                <a:gd name="T7" fmla="*/ 0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0 w 11"/>
                <a:gd name="T13" fmla="*/ 2147483647 h 5"/>
                <a:gd name="T14" fmla="*/ 2147483647 w 11"/>
                <a:gd name="T15" fmla="*/ 2147483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5"/>
                <a:gd name="T26" fmla="*/ 11 w 11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5">
                  <a:moveTo>
                    <a:pt x="2" y="1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6" y="5"/>
                  </a:lnTo>
                  <a:lnTo>
                    <a:pt x="0" y="3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0" name="Freeform 777"/>
            <p:cNvSpPr>
              <a:spLocks/>
            </p:cNvSpPr>
            <p:nvPr/>
          </p:nvSpPr>
          <p:spPr bwMode="gray">
            <a:xfrm>
              <a:off x="3257" y="2312"/>
              <a:ext cx="230" cy="225"/>
            </a:xfrm>
            <a:custGeom>
              <a:avLst/>
              <a:gdLst>
                <a:gd name="T0" fmla="*/ 2147483647 w 177"/>
                <a:gd name="T1" fmla="*/ 2147483647 h 173"/>
                <a:gd name="T2" fmla="*/ 2147483647 w 177"/>
                <a:gd name="T3" fmla="*/ 2147483647 h 173"/>
                <a:gd name="T4" fmla="*/ 2147483647 w 177"/>
                <a:gd name="T5" fmla="*/ 2147483647 h 173"/>
                <a:gd name="T6" fmla="*/ 2147483647 w 177"/>
                <a:gd name="T7" fmla="*/ 2147483647 h 173"/>
                <a:gd name="T8" fmla="*/ 2147483647 w 177"/>
                <a:gd name="T9" fmla="*/ 2147483647 h 173"/>
                <a:gd name="T10" fmla="*/ 2147483647 w 177"/>
                <a:gd name="T11" fmla="*/ 2147483647 h 173"/>
                <a:gd name="T12" fmla="*/ 2147483647 w 177"/>
                <a:gd name="T13" fmla="*/ 2147483647 h 173"/>
                <a:gd name="T14" fmla="*/ 2147483647 w 177"/>
                <a:gd name="T15" fmla="*/ 2147483647 h 173"/>
                <a:gd name="T16" fmla="*/ 2147483647 w 177"/>
                <a:gd name="T17" fmla="*/ 2147483647 h 173"/>
                <a:gd name="T18" fmla="*/ 2147483647 w 177"/>
                <a:gd name="T19" fmla="*/ 2147483647 h 173"/>
                <a:gd name="T20" fmla="*/ 2147483647 w 177"/>
                <a:gd name="T21" fmla="*/ 2147483647 h 173"/>
                <a:gd name="T22" fmla="*/ 2147483647 w 177"/>
                <a:gd name="T23" fmla="*/ 2147483647 h 173"/>
                <a:gd name="T24" fmla="*/ 2147483647 w 177"/>
                <a:gd name="T25" fmla="*/ 2147483647 h 173"/>
                <a:gd name="T26" fmla="*/ 2147483647 w 177"/>
                <a:gd name="T27" fmla="*/ 2147483647 h 173"/>
                <a:gd name="T28" fmla="*/ 2147483647 w 177"/>
                <a:gd name="T29" fmla="*/ 2147483647 h 173"/>
                <a:gd name="T30" fmla="*/ 2147483647 w 177"/>
                <a:gd name="T31" fmla="*/ 2147483647 h 173"/>
                <a:gd name="T32" fmla="*/ 2147483647 w 177"/>
                <a:gd name="T33" fmla="*/ 2147483647 h 173"/>
                <a:gd name="T34" fmla="*/ 0 w 177"/>
                <a:gd name="T35" fmla="*/ 2147483647 h 173"/>
                <a:gd name="T36" fmla="*/ 2147483647 w 177"/>
                <a:gd name="T37" fmla="*/ 2147483647 h 173"/>
                <a:gd name="T38" fmla="*/ 2147483647 w 177"/>
                <a:gd name="T39" fmla="*/ 2147483647 h 173"/>
                <a:gd name="T40" fmla="*/ 2147483647 w 177"/>
                <a:gd name="T41" fmla="*/ 2147483647 h 173"/>
                <a:gd name="T42" fmla="*/ 2147483647 w 177"/>
                <a:gd name="T43" fmla="*/ 2147483647 h 173"/>
                <a:gd name="T44" fmla="*/ 2147483647 w 177"/>
                <a:gd name="T45" fmla="*/ 2147483647 h 173"/>
                <a:gd name="T46" fmla="*/ 2147483647 w 177"/>
                <a:gd name="T47" fmla="*/ 2147483647 h 173"/>
                <a:gd name="T48" fmla="*/ 2147483647 w 177"/>
                <a:gd name="T49" fmla="*/ 2147483647 h 173"/>
                <a:gd name="T50" fmla="*/ 2147483647 w 177"/>
                <a:gd name="T51" fmla="*/ 2147483647 h 173"/>
                <a:gd name="T52" fmla="*/ 2147483647 w 177"/>
                <a:gd name="T53" fmla="*/ 2147483647 h 173"/>
                <a:gd name="T54" fmla="*/ 2147483647 w 177"/>
                <a:gd name="T55" fmla="*/ 2147483647 h 173"/>
                <a:gd name="T56" fmla="*/ 2147483647 w 177"/>
                <a:gd name="T57" fmla="*/ 2147483647 h 173"/>
                <a:gd name="T58" fmla="*/ 2147483647 w 177"/>
                <a:gd name="T59" fmla="*/ 2147483647 h 173"/>
                <a:gd name="T60" fmla="*/ 2147483647 w 177"/>
                <a:gd name="T61" fmla="*/ 2147483647 h 173"/>
                <a:gd name="T62" fmla="*/ 2147483647 w 177"/>
                <a:gd name="T63" fmla="*/ 2147483647 h 173"/>
                <a:gd name="T64" fmla="*/ 2147483647 w 177"/>
                <a:gd name="T65" fmla="*/ 2147483647 h 173"/>
                <a:gd name="T66" fmla="*/ 2147483647 w 177"/>
                <a:gd name="T67" fmla="*/ 2147483647 h 173"/>
                <a:gd name="T68" fmla="*/ 2147483647 w 177"/>
                <a:gd name="T69" fmla="*/ 2147483647 h 173"/>
                <a:gd name="T70" fmla="*/ 2147483647 w 177"/>
                <a:gd name="T71" fmla="*/ 2147483647 h 173"/>
                <a:gd name="T72" fmla="*/ 2147483647 w 177"/>
                <a:gd name="T73" fmla="*/ 2147483647 h 173"/>
                <a:gd name="T74" fmla="*/ 2147483647 w 177"/>
                <a:gd name="T75" fmla="*/ 2147483647 h 173"/>
                <a:gd name="T76" fmla="*/ 2147483647 w 177"/>
                <a:gd name="T77" fmla="*/ 2147483647 h 173"/>
                <a:gd name="T78" fmla="*/ 2147483647 w 177"/>
                <a:gd name="T79" fmla="*/ 2147483647 h 173"/>
                <a:gd name="T80" fmla="*/ 2147483647 w 177"/>
                <a:gd name="T81" fmla="*/ 2147483647 h 173"/>
                <a:gd name="T82" fmla="*/ 2147483647 w 177"/>
                <a:gd name="T83" fmla="*/ 2147483647 h 173"/>
                <a:gd name="T84" fmla="*/ 2147483647 w 177"/>
                <a:gd name="T85" fmla="*/ 2147483647 h 173"/>
                <a:gd name="T86" fmla="*/ 2147483647 w 177"/>
                <a:gd name="T87" fmla="*/ 2147483647 h 17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7"/>
                <a:gd name="T133" fmla="*/ 0 h 173"/>
                <a:gd name="T134" fmla="*/ 177 w 177"/>
                <a:gd name="T135" fmla="*/ 173 h 17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7" h="173">
                  <a:moveTo>
                    <a:pt x="161" y="173"/>
                  </a:moveTo>
                  <a:lnTo>
                    <a:pt x="159" y="171"/>
                  </a:lnTo>
                  <a:lnTo>
                    <a:pt x="153" y="171"/>
                  </a:lnTo>
                  <a:lnTo>
                    <a:pt x="147" y="170"/>
                  </a:lnTo>
                  <a:lnTo>
                    <a:pt x="141" y="171"/>
                  </a:lnTo>
                  <a:lnTo>
                    <a:pt x="135" y="169"/>
                  </a:lnTo>
                  <a:lnTo>
                    <a:pt x="126" y="167"/>
                  </a:lnTo>
                  <a:lnTo>
                    <a:pt x="122" y="164"/>
                  </a:lnTo>
                  <a:lnTo>
                    <a:pt x="121" y="160"/>
                  </a:lnTo>
                  <a:lnTo>
                    <a:pt x="120" y="153"/>
                  </a:lnTo>
                  <a:lnTo>
                    <a:pt x="116" y="150"/>
                  </a:lnTo>
                  <a:lnTo>
                    <a:pt x="114" y="150"/>
                  </a:lnTo>
                  <a:lnTo>
                    <a:pt x="108" y="156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3" y="152"/>
                  </a:lnTo>
                  <a:lnTo>
                    <a:pt x="77" y="145"/>
                  </a:lnTo>
                  <a:lnTo>
                    <a:pt x="73" y="144"/>
                  </a:lnTo>
                  <a:lnTo>
                    <a:pt x="66" y="139"/>
                  </a:lnTo>
                  <a:lnTo>
                    <a:pt x="65" y="134"/>
                  </a:lnTo>
                  <a:lnTo>
                    <a:pt x="63" y="129"/>
                  </a:lnTo>
                  <a:lnTo>
                    <a:pt x="57" y="122"/>
                  </a:lnTo>
                  <a:lnTo>
                    <a:pt x="56" y="117"/>
                  </a:lnTo>
                  <a:lnTo>
                    <a:pt x="45" y="116"/>
                  </a:lnTo>
                  <a:lnTo>
                    <a:pt x="40" y="118"/>
                  </a:lnTo>
                  <a:lnTo>
                    <a:pt x="35" y="110"/>
                  </a:lnTo>
                  <a:lnTo>
                    <a:pt x="35" y="98"/>
                  </a:lnTo>
                  <a:lnTo>
                    <a:pt x="28" y="87"/>
                  </a:lnTo>
                  <a:lnTo>
                    <a:pt x="21" y="85"/>
                  </a:lnTo>
                  <a:lnTo>
                    <a:pt x="11" y="71"/>
                  </a:lnTo>
                  <a:lnTo>
                    <a:pt x="20" y="51"/>
                  </a:lnTo>
                  <a:lnTo>
                    <a:pt x="17" y="47"/>
                  </a:lnTo>
                  <a:lnTo>
                    <a:pt x="12" y="47"/>
                  </a:lnTo>
                  <a:lnTo>
                    <a:pt x="4" y="32"/>
                  </a:lnTo>
                  <a:lnTo>
                    <a:pt x="5" y="24"/>
                  </a:lnTo>
                  <a:lnTo>
                    <a:pt x="0" y="4"/>
                  </a:lnTo>
                  <a:lnTo>
                    <a:pt x="4" y="0"/>
                  </a:lnTo>
                  <a:lnTo>
                    <a:pt x="15" y="8"/>
                  </a:lnTo>
                  <a:lnTo>
                    <a:pt x="26" y="5"/>
                  </a:lnTo>
                  <a:lnTo>
                    <a:pt x="37" y="1"/>
                  </a:lnTo>
                  <a:lnTo>
                    <a:pt x="38" y="4"/>
                  </a:lnTo>
                  <a:lnTo>
                    <a:pt x="37" y="14"/>
                  </a:lnTo>
                  <a:lnTo>
                    <a:pt x="43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8" y="25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6" y="30"/>
                  </a:lnTo>
                  <a:lnTo>
                    <a:pt x="56" y="31"/>
                  </a:lnTo>
                  <a:lnTo>
                    <a:pt x="59" y="34"/>
                  </a:lnTo>
                  <a:lnTo>
                    <a:pt x="62" y="37"/>
                  </a:lnTo>
                  <a:lnTo>
                    <a:pt x="65" y="39"/>
                  </a:lnTo>
                  <a:lnTo>
                    <a:pt x="69" y="39"/>
                  </a:lnTo>
                  <a:lnTo>
                    <a:pt x="73" y="39"/>
                  </a:lnTo>
                  <a:lnTo>
                    <a:pt x="77" y="38"/>
                  </a:lnTo>
                  <a:lnTo>
                    <a:pt x="81" y="37"/>
                  </a:lnTo>
                  <a:lnTo>
                    <a:pt x="84" y="37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91" y="36"/>
                  </a:lnTo>
                  <a:lnTo>
                    <a:pt x="92" y="35"/>
                  </a:lnTo>
                  <a:lnTo>
                    <a:pt x="93" y="34"/>
                  </a:lnTo>
                  <a:lnTo>
                    <a:pt x="93" y="27"/>
                  </a:lnTo>
                  <a:lnTo>
                    <a:pt x="103" y="29"/>
                  </a:lnTo>
                  <a:lnTo>
                    <a:pt x="108" y="19"/>
                  </a:lnTo>
                  <a:lnTo>
                    <a:pt x="130" y="21"/>
                  </a:lnTo>
                  <a:lnTo>
                    <a:pt x="133" y="25"/>
                  </a:lnTo>
                  <a:lnTo>
                    <a:pt x="140" y="26"/>
                  </a:lnTo>
                  <a:lnTo>
                    <a:pt x="157" y="39"/>
                  </a:lnTo>
                  <a:lnTo>
                    <a:pt x="159" y="49"/>
                  </a:lnTo>
                  <a:lnTo>
                    <a:pt x="159" y="59"/>
                  </a:lnTo>
                  <a:lnTo>
                    <a:pt x="152" y="69"/>
                  </a:lnTo>
                  <a:lnTo>
                    <a:pt x="154" y="86"/>
                  </a:lnTo>
                  <a:lnTo>
                    <a:pt x="154" y="95"/>
                  </a:lnTo>
                  <a:lnTo>
                    <a:pt x="156" y="101"/>
                  </a:lnTo>
                  <a:lnTo>
                    <a:pt x="160" y="98"/>
                  </a:lnTo>
                  <a:lnTo>
                    <a:pt x="164" y="104"/>
                  </a:lnTo>
                  <a:lnTo>
                    <a:pt x="159" y="113"/>
                  </a:lnTo>
                  <a:lnTo>
                    <a:pt x="156" y="120"/>
                  </a:lnTo>
                  <a:lnTo>
                    <a:pt x="156" y="127"/>
                  </a:lnTo>
                  <a:lnTo>
                    <a:pt x="172" y="142"/>
                  </a:lnTo>
                  <a:lnTo>
                    <a:pt x="171" y="149"/>
                  </a:lnTo>
                  <a:lnTo>
                    <a:pt x="177" y="150"/>
                  </a:lnTo>
                  <a:lnTo>
                    <a:pt x="177" y="157"/>
                  </a:lnTo>
                  <a:lnTo>
                    <a:pt x="165" y="163"/>
                  </a:lnTo>
                  <a:lnTo>
                    <a:pt x="164" y="172"/>
                  </a:lnTo>
                  <a:lnTo>
                    <a:pt x="161" y="17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1" name="Freeform 778"/>
            <p:cNvSpPr>
              <a:spLocks/>
            </p:cNvSpPr>
            <p:nvPr/>
          </p:nvSpPr>
          <p:spPr bwMode="gray">
            <a:xfrm>
              <a:off x="3395" y="2203"/>
              <a:ext cx="205" cy="148"/>
            </a:xfrm>
            <a:custGeom>
              <a:avLst/>
              <a:gdLst>
                <a:gd name="T0" fmla="*/ 2147483647 w 157"/>
                <a:gd name="T1" fmla="*/ 2147483647 h 114"/>
                <a:gd name="T2" fmla="*/ 2147483647 w 157"/>
                <a:gd name="T3" fmla="*/ 2147483647 h 114"/>
                <a:gd name="T4" fmla="*/ 2147483647 w 157"/>
                <a:gd name="T5" fmla="*/ 2147483647 h 114"/>
                <a:gd name="T6" fmla="*/ 2147483647 w 157"/>
                <a:gd name="T7" fmla="*/ 2147483647 h 114"/>
                <a:gd name="T8" fmla="*/ 2147483647 w 157"/>
                <a:gd name="T9" fmla="*/ 2147483647 h 114"/>
                <a:gd name="T10" fmla="*/ 2147483647 w 157"/>
                <a:gd name="T11" fmla="*/ 2147483647 h 114"/>
                <a:gd name="T12" fmla="*/ 2147483647 w 157"/>
                <a:gd name="T13" fmla="*/ 2147483647 h 114"/>
                <a:gd name="T14" fmla="*/ 2147483647 w 157"/>
                <a:gd name="T15" fmla="*/ 2147483647 h 114"/>
                <a:gd name="T16" fmla="*/ 2147483647 w 157"/>
                <a:gd name="T17" fmla="*/ 2147483647 h 114"/>
                <a:gd name="T18" fmla="*/ 2147483647 w 157"/>
                <a:gd name="T19" fmla="*/ 2147483647 h 114"/>
                <a:gd name="T20" fmla="*/ 2147483647 w 157"/>
                <a:gd name="T21" fmla="*/ 2147483647 h 114"/>
                <a:gd name="T22" fmla="*/ 2147483647 w 157"/>
                <a:gd name="T23" fmla="*/ 2147483647 h 114"/>
                <a:gd name="T24" fmla="*/ 2147483647 w 157"/>
                <a:gd name="T25" fmla="*/ 2147483647 h 114"/>
                <a:gd name="T26" fmla="*/ 2147483647 w 157"/>
                <a:gd name="T27" fmla="*/ 2147483647 h 114"/>
                <a:gd name="T28" fmla="*/ 2147483647 w 157"/>
                <a:gd name="T29" fmla="*/ 2147483647 h 114"/>
                <a:gd name="T30" fmla="*/ 2147483647 w 157"/>
                <a:gd name="T31" fmla="*/ 2147483647 h 114"/>
                <a:gd name="T32" fmla="*/ 2147483647 w 157"/>
                <a:gd name="T33" fmla="*/ 2147483647 h 114"/>
                <a:gd name="T34" fmla="*/ 2147483647 w 157"/>
                <a:gd name="T35" fmla="*/ 2147483647 h 114"/>
                <a:gd name="T36" fmla="*/ 2147483647 w 157"/>
                <a:gd name="T37" fmla="*/ 2147483647 h 114"/>
                <a:gd name="T38" fmla="*/ 2147483647 w 157"/>
                <a:gd name="T39" fmla="*/ 2147483647 h 114"/>
                <a:gd name="T40" fmla="*/ 2147483647 w 157"/>
                <a:gd name="T41" fmla="*/ 2147483647 h 114"/>
                <a:gd name="T42" fmla="*/ 0 w 157"/>
                <a:gd name="T43" fmla="*/ 2147483647 h 114"/>
                <a:gd name="T44" fmla="*/ 2147483647 w 157"/>
                <a:gd name="T45" fmla="*/ 0 h 114"/>
                <a:gd name="T46" fmla="*/ 2147483647 w 157"/>
                <a:gd name="T47" fmla="*/ 2147483647 h 114"/>
                <a:gd name="T48" fmla="*/ 2147483647 w 157"/>
                <a:gd name="T49" fmla="*/ 2147483647 h 114"/>
                <a:gd name="T50" fmla="*/ 2147483647 w 157"/>
                <a:gd name="T51" fmla="*/ 2147483647 h 114"/>
                <a:gd name="T52" fmla="*/ 2147483647 w 157"/>
                <a:gd name="T53" fmla="*/ 2147483647 h 114"/>
                <a:gd name="T54" fmla="*/ 2147483647 w 157"/>
                <a:gd name="T55" fmla="*/ 2147483647 h 114"/>
                <a:gd name="T56" fmla="*/ 2147483647 w 157"/>
                <a:gd name="T57" fmla="*/ 2147483647 h 114"/>
                <a:gd name="T58" fmla="*/ 2147483647 w 157"/>
                <a:gd name="T59" fmla="*/ 2147483647 h 114"/>
                <a:gd name="T60" fmla="*/ 2147483647 w 157"/>
                <a:gd name="T61" fmla="*/ 2147483647 h 114"/>
                <a:gd name="T62" fmla="*/ 2147483647 w 157"/>
                <a:gd name="T63" fmla="*/ 2147483647 h 114"/>
                <a:gd name="T64" fmla="*/ 2147483647 w 157"/>
                <a:gd name="T65" fmla="*/ 2147483647 h 114"/>
                <a:gd name="T66" fmla="*/ 2147483647 w 157"/>
                <a:gd name="T67" fmla="*/ 2147483647 h 114"/>
                <a:gd name="T68" fmla="*/ 2147483647 w 157"/>
                <a:gd name="T69" fmla="*/ 2147483647 h 114"/>
                <a:gd name="T70" fmla="*/ 2147483647 w 157"/>
                <a:gd name="T71" fmla="*/ 2147483647 h 114"/>
                <a:gd name="T72" fmla="*/ 2147483647 w 157"/>
                <a:gd name="T73" fmla="*/ 2147483647 h 114"/>
                <a:gd name="T74" fmla="*/ 2147483647 w 157"/>
                <a:gd name="T75" fmla="*/ 2147483647 h 114"/>
                <a:gd name="T76" fmla="*/ 2147483647 w 157"/>
                <a:gd name="T77" fmla="*/ 2147483647 h 114"/>
                <a:gd name="T78" fmla="*/ 2147483647 w 157"/>
                <a:gd name="T79" fmla="*/ 2147483647 h 114"/>
                <a:gd name="T80" fmla="*/ 2147483647 w 157"/>
                <a:gd name="T81" fmla="*/ 2147483647 h 114"/>
                <a:gd name="T82" fmla="*/ 2147483647 w 157"/>
                <a:gd name="T83" fmla="*/ 2147483647 h 114"/>
                <a:gd name="T84" fmla="*/ 2147483647 w 157"/>
                <a:gd name="T85" fmla="*/ 2147483647 h 114"/>
                <a:gd name="T86" fmla="*/ 2147483647 w 157"/>
                <a:gd name="T87" fmla="*/ 2147483647 h 114"/>
                <a:gd name="T88" fmla="*/ 2147483647 w 157"/>
                <a:gd name="T89" fmla="*/ 2147483647 h 114"/>
                <a:gd name="T90" fmla="*/ 2147483647 w 157"/>
                <a:gd name="T91" fmla="*/ 2147483647 h 114"/>
                <a:gd name="T92" fmla="*/ 2147483647 w 157"/>
                <a:gd name="T93" fmla="*/ 2147483647 h 114"/>
                <a:gd name="T94" fmla="*/ 2147483647 w 157"/>
                <a:gd name="T95" fmla="*/ 2147483647 h 114"/>
                <a:gd name="T96" fmla="*/ 2147483647 w 157"/>
                <a:gd name="T97" fmla="*/ 2147483647 h 114"/>
                <a:gd name="T98" fmla="*/ 2147483647 w 157"/>
                <a:gd name="T99" fmla="*/ 2147483647 h 114"/>
                <a:gd name="T100" fmla="*/ 2147483647 w 157"/>
                <a:gd name="T101" fmla="*/ 2147483647 h 114"/>
                <a:gd name="T102" fmla="*/ 2147483647 w 157"/>
                <a:gd name="T103" fmla="*/ 2147483647 h 114"/>
                <a:gd name="T104" fmla="*/ 2147483647 w 157"/>
                <a:gd name="T105" fmla="*/ 2147483647 h 114"/>
                <a:gd name="T106" fmla="*/ 2147483647 w 157"/>
                <a:gd name="T107" fmla="*/ 2147483647 h 114"/>
                <a:gd name="T108" fmla="*/ 2147483647 w 157"/>
                <a:gd name="T109" fmla="*/ 2147483647 h 114"/>
                <a:gd name="T110" fmla="*/ 2147483647 w 157"/>
                <a:gd name="T111" fmla="*/ 2147483647 h 114"/>
                <a:gd name="T112" fmla="*/ 2147483647 w 157"/>
                <a:gd name="T113" fmla="*/ 2147483647 h 114"/>
                <a:gd name="T114" fmla="*/ 2147483647 w 157"/>
                <a:gd name="T115" fmla="*/ 2147483647 h 114"/>
                <a:gd name="T116" fmla="*/ 2147483647 w 157"/>
                <a:gd name="T117" fmla="*/ 2147483647 h 114"/>
                <a:gd name="T118" fmla="*/ 2147483647 w 157"/>
                <a:gd name="T119" fmla="*/ 2147483647 h 114"/>
                <a:gd name="T120" fmla="*/ 2147483647 w 157"/>
                <a:gd name="T121" fmla="*/ 2147483647 h 1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7"/>
                <a:gd name="T184" fmla="*/ 0 h 114"/>
                <a:gd name="T185" fmla="*/ 157 w 157"/>
                <a:gd name="T186" fmla="*/ 114 h 1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7" h="114">
                  <a:moveTo>
                    <a:pt x="114" y="114"/>
                  </a:moveTo>
                  <a:lnTo>
                    <a:pt x="101" y="111"/>
                  </a:lnTo>
                  <a:lnTo>
                    <a:pt x="97" y="105"/>
                  </a:lnTo>
                  <a:lnTo>
                    <a:pt x="91" y="104"/>
                  </a:lnTo>
                  <a:lnTo>
                    <a:pt x="83" y="99"/>
                  </a:lnTo>
                  <a:lnTo>
                    <a:pt x="74" y="95"/>
                  </a:lnTo>
                  <a:lnTo>
                    <a:pt x="67" y="85"/>
                  </a:lnTo>
                  <a:lnTo>
                    <a:pt x="63" y="72"/>
                  </a:lnTo>
                  <a:lnTo>
                    <a:pt x="58" y="65"/>
                  </a:lnTo>
                  <a:lnTo>
                    <a:pt x="52" y="63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31" y="41"/>
                  </a:lnTo>
                  <a:lnTo>
                    <a:pt x="28" y="41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19" y="46"/>
                  </a:lnTo>
                  <a:lnTo>
                    <a:pt x="16" y="57"/>
                  </a:lnTo>
                  <a:lnTo>
                    <a:pt x="1" y="54"/>
                  </a:lnTo>
                  <a:lnTo>
                    <a:pt x="0" y="15"/>
                  </a:lnTo>
                  <a:lnTo>
                    <a:pt x="26" y="0"/>
                  </a:lnTo>
                  <a:lnTo>
                    <a:pt x="52" y="19"/>
                  </a:lnTo>
                  <a:lnTo>
                    <a:pt x="59" y="28"/>
                  </a:lnTo>
                  <a:lnTo>
                    <a:pt x="65" y="27"/>
                  </a:lnTo>
                  <a:lnTo>
                    <a:pt x="74" y="28"/>
                  </a:lnTo>
                  <a:lnTo>
                    <a:pt x="78" y="27"/>
                  </a:lnTo>
                  <a:lnTo>
                    <a:pt x="86" y="32"/>
                  </a:lnTo>
                  <a:lnTo>
                    <a:pt x="90" y="43"/>
                  </a:lnTo>
                  <a:lnTo>
                    <a:pt x="96" y="41"/>
                  </a:lnTo>
                  <a:lnTo>
                    <a:pt x="102" y="59"/>
                  </a:lnTo>
                  <a:lnTo>
                    <a:pt x="105" y="60"/>
                  </a:lnTo>
                  <a:lnTo>
                    <a:pt x="111" y="66"/>
                  </a:lnTo>
                  <a:lnTo>
                    <a:pt x="114" y="65"/>
                  </a:lnTo>
                  <a:lnTo>
                    <a:pt x="118" y="62"/>
                  </a:lnTo>
                  <a:lnTo>
                    <a:pt x="123" y="60"/>
                  </a:lnTo>
                  <a:lnTo>
                    <a:pt x="124" y="54"/>
                  </a:lnTo>
                  <a:lnTo>
                    <a:pt x="130" y="47"/>
                  </a:lnTo>
                  <a:lnTo>
                    <a:pt x="142" y="44"/>
                  </a:lnTo>
                  <a:lnTo>
                    <a:pt x="140" y="51"/>
                  </a:lnTo>
                  <a:lnTo>
                    <a:pt x="134" y="51"/>
                  </a:lnTo>
                  <a:lnTo>
                    <a:pt x="130" y="55"/>
                  </a:lnTo>
                  <a:lnTo>
                    <a:pt x="137" y="56"/>
                  </a:lnTo>
                  <a:lnTo>
                    <a:pt x="147" y="57"/>
                  </a:lnTo>
                  <a:lnTo>
                    <a:pt x="150" y="63"/>
                  </a:lnTo>
                  <a:lnTo>
                    <a:pt x="157" y="64"/>
                  </a:lnTo>
                  <a:lnTo>
                    <a:pt x="157" y="69"/>
                  </a:lnTo>
                  <a:lnTo>
                    <a:pt x="148" y="75"/>
                  </a:lnTo>
                  <a:lnTo>
                    <a:pt x="138" y="77"/>
                  </a:lnTo>
                  <a:lnTo>
                    <a:pt x="139" y="71"/>
                  </a:lnTo>
                  <a:lnTo>
                    <a:pt x="144" y="67"/>
                  </a:lnTo>
                  <a:lnTo>
                    <a:pt x="136" y="64"/>
                  </a:lnTo>
                  <a:lnTo>
                    <a:pt x="126" y="68"/>
                  </a:lnTo>
                  <a:lnTo>
                    <a:pt x="125" y="77"/>
                  </a:lnTo>
                  <a:lnTo>
                    <a:pt x="118" y="79"/>
                  </a:lnTo>
                  <a:lnTo>
                    <a:pt x="111" y="81"/>
                  </a:lnTo>
                  <a:lnTo>
                    <a:pt x="114" y="93"/>
                  </a:lnTo>
                  <a:lnTo>
                    <a:pt x="117" y="97"/>
                  </a:lnTo>
                  <a:lnTo>
                    <a:pt x="115" y="105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2" name="Freeform 779"/>
            <p:cNvSpPr>
              <a:spLocks/>
            </p:cNvSpPr>
            <p:nvPr/>
          </p:nvSpPr>
          <p:spPr bwMode="gray">
            <a:xfrm>
              <a:off x="3360" y="2256"/>
              <a:ext cx="167" cy="129"/>
            </a:xfrm>
            <a:custGeom>
              <a:avLst/>
              <a:gdLst>
                <a:gd name="T0" fmla="*/ 2147483647 w 128"/>
                <a:gd name="T1" fmla="*/ 2147483647 h 99"/>
                <a:gd name="T2" fmla="*/ 2147483647 w 128"/>
                <a:gd name="T3" fmla="*/ 2147483647 h 99"/>
                <a:gd name="T4" fmla="*/ 2147483647 w 128"/>
                <a:gd name="T5" fmla="*/ 0 h 99"/>
                <a:gd name="T6" fmla="*/ 2147483647 w 128"/>
                <a:gd name="T7" fmla="*/ 2147483647 h 99"/>
                <a:gd name="T8" fmla="*/ 2147483647 w 128"/>
                <a:gd name="T9" fmla="*/ 2147483647 h 99"/>
                <a:gd name="T10" fmla="*/ 2147483647 w 128"/>
                <a:gd name="T11" fmla="*/ 2147483647 h 99"/>
                <a:gd name="T12" fmla="*/ 2147483647 w 128"/>
                <a:gd name="T13" fmla="*/ 2147483647 h 99"/>
                <a:gd name="T14" fmla="*/ 2147483647 w 128"/>
                <a:gd name="T15" fmla="*/ 2147483647 h 99"/>
                <a:gd name="T16" fmla="*/ 2147483647 w 128"/>
                <a:gd name="T17" fmla="*/ 2147483647 h 99"/>
                <a:gd name="T18" fmla="*/ 2147483647 w 128"/>
                <a:gd name="T19" fmla="*/ 2147483647 h 99"/>
                <a:gd name="T20" fmla="*/ 2147483647 w 128"/>
                <a:gd name="T21" fmla="*/ 2147483647 h 99"/>
                <a:gd name="T22" fmla="*/ 2147483647 w 128"/>
                <a:gd name="T23" fmla="*/ 2147483647 h 99"/>
                <a:gd name="T24" fmla="*/ 2147483647 w 128"/>
                <a:gd name="T25" fmla="*/ 2147483647 h 99"/>
                <a:gd name="T26" fmla="*/ 2147483647 w 128"/>
                <a:gd name="T27" fmla="*/ 2147483647 h 99"/>
                <a:gd name="T28" fmla="*/ 2147483647 w 128"/>
                <a:gd name="T29" fmla="*/ 2147483647 h 99"/>
                <a:gd name="T30" fmla="*/ 2147483647 w 128"/>
                <a:gd name="T31" fmla="*/ 2147483647 h 99"/>
                <a:gd name="T32" fmla="*/ 2147483647 w 128"/>
                <a:gd name="T33" fmla="*/ 2147483647 h 99"/>
                <a:gd name="T34" fmla="*/ 2147483647 w 128"/>
                <a:gd name="T35" fmla="*/ 2147483647 h 99"/>
                <a:gd name="T36" fmla="*/ 2147483647 w 128"/>
                <a:gd name="T37" fmla="*/ 2147483647 h 99"/>
                <a:gd name="T38" fmla="*/ 2147483647 w 128"/>
                <a:gd name="T39" fmla="*/ 2147483647 h 99"/>
                <a:gd name="T40" fmla="*/ 2147483647 w 128"/>
                <a:gd name="T41" fmla="*/ 2147483647 h 99"/>
                <a:gd name="T42" fmla="*/ 2147483647 w 128"/>
                <a:gd name="T43" fmla="*/ 2147483647 h 99"/>
                <a:gd name="T44" fmla="*/ 2147483647 w 128"/>
                <a:gd name="T45" fmla="*/ 2147483647 h 99"/>
                <a:gd name="T46" fmla="*/ 2147483647 w 128"/>
                <a:gd name="T47" fmla="*/ 2147483647 h 99"/>
                <a:gd name="T48" fmla="*/ 2147483647 w 128"/>
                <a:gd name="T49" fmla="*/ 2147483647 h 99"/>
                <a:gd name="T50" fmla="*/ 2147483647 w 128"/>
                <a:gd name="T51" fmla="*/ 2147483647 h 99"/>
                <a:gd name="T52" fmla="*/ 2147483647 w 128"/>
                <a:gd name="T53" fmla="*/ 2147483647 h 99"/>
                <a:gd name="T54" fmla="*/ 2147483647 w 128"/>
                <a:gd name="T55" fmla="*/ 2147483647 h 99"/>
                <a:gd name="T56" fmla="*/ 2147483647 w 128"/>
                <a:gd name="T57" fmla="*/ 2147483647 h 99"/>
                <a:gd name="T58" fmla="*/ 2147483647 w 128"/>
                <a:gd name="T59" fmla="*/ 2147483647 h 99"/>
                <a:gd name="T60" fmla="*/ 2147483647 w 128"/>
                <a:gd name="T61" fmla="*/ 2147483647 h 99"/>
                <a:gd name="T62" fmla="*/ 2147483647 w 128"/>
                <a:gd name="T63" fmla="*/ 2147483647 h 99"/>
                <a:gd name="T64" fmla="*/ 2147483647 w 128"/>
                <a:gd name="T65" fmla="*/ 2147483647 h 99"/>
                <a:gd name="T66" fmla="*/ 2147483647 w 128"/>
                <a:gd name="T67" fmla="*/ 2147483647 h 99"/>
                <a:gd name="T68" fmla="*/ 2147483647 w 128"/>
                <a:gd name="T69" fmla="*/ 2147483647 h 99"/>
                <a:gd name="T70" fmla="*/ 0 w 128"/>
                <a:gd name="T71" fmla="*/ 2147483647 h 99"/>
                <a:gd name="T72" fmla="*/ 2147483647 w 128"/>
                <a:gd name="T73" fmla="*/ 2147483647 h 99"/>
                <a:gd name="T74" fmla="*/ 2147483647 w 128"/>
                <a:gd name="T75" fmla="*/ 2147483647 h 99"/>
                <a:gd name="T76" fmla="*/ 2147483647 w 128"/>
                <a:gd name="T77" fmla="*/ 2147483647 h 9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8"/>
                <a:gd name="T118" fmla="*/ 0 h 99"/>
                <a:gd name="T119" fmla="*/ 128 w 128"/>
                <a:gd name="T120" fmla="*/ 99 h 9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8" h="99">
                  <a:moveTo>
                    <a:pt x="28" y="13"/>
                  </a:moveTo>
                  <a:lnTo>
                    <a:pt x="44" y="16"/>
                  </a:lnTo>
                  <a:lnTo>
                    <a:pt x="46" y="5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64" y="3"/>
                  </a:lnTo>
                  <a:lnTo>
                    <a:pt x="66" y="6"/>
                  </a:lnTo>
                  <a:lnTo>
                    <a:pt x="67" y="12"/>
                  </a:lnTo>
                  <a:lnTo>
                    <a:pt x="66" y="16"/>
                  </a:lnTo>
                  <a:lnTo>
                    <a:pt x="79" y="22"/>
                  </a:lnTo>
                  <a:lnTo>
                    <a:pt x="85" y="24"/>
                  </a:lnTo>
                  <a:lnTo>
                    <a:pt x="91" y="31"/>
                  </a:lnTo>
                  <a:lnTo>
                    <a:pt x="94" y="45"/>
                  </a:lnTo>
                  <a:lnTo>
                    <a:pt x="101" y="54"/>
                  </a:lnTo>
                  <a:lnTo>
                    <a:pt x="110" y="58"/>
                  </a:lnTo>
                  <a:lnTo>
                    <a:pt x="118" y="63"/>
                  </a:lnTo>
                  <a:lnTo>
                    <a:pt x="124" y="64"/>
                  </a:lnTo>
                  <a:lnTo>
                    <a:pt x="128" y="70"/>
                  </a:lnTo>
                  <a:lnTo>
                    <a:pt x="117" y="71"/>
                  </a:lnTo>
                  <a:lnTo>
                    <a:pt x="113" y="81"/>
                  </a:lnTo>
                  <a:lnTo>
                    <a:pt x="95" y="92"/>
                  </a:lnTo>
                  <a:lnTo>
                    <a:pt x="93" y="99"/>
                  </a:lnTo>
                  <a:lnTo>
                    <a:pt x="88" y="94"/>
                  </a:lnTo>
                  <a:lnTo>
                    <a:pt x="80" y="92"/>
                  </a:lnTo>
                  <a:lnTo>
                    <a:pt x="78" y="82"/>
                  </a:lnTo>
                  <a:lnTo>
                    <a:pt x="61" y="69"/>
                  </a:lnTo>
                  <a:lnTo>
                    <a:pt x="54" y="68"/>
                  </a:lnTo>
                  <a:lnTo>
                    <a:pt x="51" y="64"/>
                  </a:lnTo>
                  <a:lnTo>
                    <a:pt x="29" y="6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13" y="50"/>
                  </a:lnTo>
                  <a:lnTo>
                    <a:pt x="12" y="48"/>
                  </a:lnTo>
                  <a:lnTo>
                    <a:pt x="10" y="47"/>
                  </a:lnTo>
                  <a:lnTo>
                    <a:pt x="9" y="45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11" y="41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9" y="30"/>
                  </a:lnTo>
                  <a:lnTo>
                    <a:pt x="13" y="30"/>
                  </a:lnTo>
                  <a:lnTo>
                    <a:pt x="17" y="28"/>
                  </a:lnTo>
                  <a:lnTo>
                    <a:pt x="20" y="26"/>
                  </a:lnTo>
                  <a:lnTo>
                    <a:pt x="21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5" y="17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9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1"/>
                  </a:lnTo>
                  <a:lnTo>
                    <a:pt x="1" y="14"/>
                  </a:lnTo>
                  <a:lnTo>
                    <a:pt x="0" y="12"/>
                  </a:lnTo>
                  <a:lnTo>
                    <a:pt x="1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14" y="6"/>
                  </a:lnTo>
                  <a:lnTo>
                    <a:pt x="20" y="14"/>
                  </a:lnTo>
                  <a:lnTo>
                    <a:pt x="28" y="1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3" name="Freeform 780"/>
            <p:cNvSpPr>
              <a:spLocks/>
            </p:cNvSpPr>
            <p:nvPr/>
          </p:nvSpPr>
          <p:spPr bwMode="gray">
            <a:xfrm>
              <a:off x="3690" y="2751"/>
              <a:ext cx="27" cy="50"/>
            </a:xfrm>
            <a:custGeom>
              <a:avLst/>
              <a:gdLst>
                <a:gd name="T0" fmla="*/ 2147483647 w 21"/>
                <a:gd name="T1" fmla="*/ 2147483647 h 38"/>
                <a:gd name="T2" fmla="*/ 2147483647 w 21"/>
                <a:gd name="T3" fmla="*/ 2147483647 h 38"/>
                <a:gd name="T4" fmla="*/ 2147483647 w 21"/>
                <a:gd name="T5" fmla="*/ 2147483647 h 38"/>
                <a:gd name="T6" fmla="*/ 2147483647 w 21"/>
                <a:gd name="T7" fmla="*/ 2147483647 h 38"/>
                <a:gd name="T8" fmla="*/ 2147483647 w 21"/>
                <a:gd name="T9" fmla="*/ 2147483647 h 38"/>
                <a:gd name="T10" fmla="*/ 2147483647 w 21"/>
                <a:gd name="T11" fmla="*/ 2147483647 h 38"/>
                <a:gd name="T12" fmla="*/ 2147483647 w 21"/>
                <a:gd name="T13" fmla="*/ 2147483647 h 38"/>
                <a:gd name="T14" fmla="*/ 2147483647 w 21"/>
                <a:gd name="T15" fmla="*/ 2147483647 h 38"/>
                <a:gd name="T16" fmla="*/ 2147483647 w 21"/>
                <a:gd name="T17" fmla="*/ 2147483647 h 38"/>
                <a:gd name="T18" fmla="*/ 0 w 21"/>
                <a:gd name="T19" fmla="*/ 2147483647 h 38"/>
                <a:gd name="T20" fmla="*/ 2147483647 w 21"/>
                <a:gd name="T21" fmla="*/ 2147483647 h 38"/>
                <a:gd name="T22" fmla="*/ 2147483647 w 21"/>
                <a:gd name="T23" fmla="*/ 2147483647 h 38"/>
                <a:gd name="T24" fmla="*/ 2147483647 w 21"/>
                <a:gd name="T25" fmla="*/ 0 h 38"/>
                <a:gd name="T26" fmla="*/ 2147483647 w 21"/>
                <a:gd name="T27" fmla="*/ 0 h 38"/>
                <a:gd name="T28" fmla="*/ 2147483647 w 21"/>
                <a:gd name="T29" fmla="*/ 2147483647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38"/>
                <a:gd name="T47" fmla="*/ 21 w 21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38">
                  <a:moveTo>
                    <a:pt x="10" y="5"/>
                  </a:moveTo>
                  <a:lnTo>
                    <a:pt x="11" y="9"/>
                  </a:lnTo>
                  <a:lnTo>
                    <a:pt x="18" y="15"/>
                  </a:lnTo>
                  <a:lnTo>
                    <a:pt x="19" y="22"/>
                  </a:lnTo>
                  <a:lnTo>
                    <a:pt x="20" y="24"/>
                  </a:lnTo>
                  <a:lnTo>
                    <a:pt x="21" y="28"/>
                  </a:lnTo>
                  <a:lnTo>
                    <a:pt x="12" y="38"/>
                  </a:lnTo>
                  <a:lnTo>
                    <a:pt x="6" y="38"/>
                  </a:lnTo>
                  <a:lnTo>
                    <a:pt x="3" y="34"/>
                  </a:lnTo>
                  <a:lnTo>
                    <a:pt x="0" y="15"/>
                  </a:lnTo>
                  <a:lnTo>
                    <a:pt x="1" y="10"/>
                  </a:lnTo>
                  <a:lnTo>
                    <a:pt x="2" y="5"/>
                  </a:lnTo>
                  <a:lnTo>
                    <a:pt x="5" y="0"/>
                  </a:lnTo>
                  <a:lnTo>
                    <a:pt x="8" y="0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4" name="Freeform 781"/>
            <p:cNvSpPr>
              <a:spLocks/>
            </p:cNvSpPr>
            <p:nvPr/>
          </p:nvSpPr>
          <p:spPr bwMode="gray">
            <a:xfrm>
              <a:off x="3660" y="2381"/>
              <a:ext cx="23" cy="40"/>
            </a:xfrm>
            <a:custGeom>
              <a:avLst/>
              <a:gdLst>
                <a:gd name="T0" fmla="*/ 2147483647 w 18"/>
                <a:gd name="T1" fmla="*/ 2147483647 h 31"/>
                <a:gd name="T2" fmla="*/ 2147483647 w 18"/>
                <a:gd name="T3" fmla="*/ 2147483647 h 31"/>
                <a:gd name="T4" fmla="*/ 2147483647 w 18"/>
                <a:gd name="T5" fmla="*/ 2147483647 h 31"/>
                <a:gd name="T6" fmla="*/ 2147483647 w 18"/>
                <a:gd name="T7" fmla="*/ 2147483647 h 31"/>
                <a:gd name="T8" fmla="*/ 2147483647 w 18"/>
                <a:gd name="T9" fmla="*/ 2147483647 h 31"/>
                <a:gd name="T10" fmla="*/ 2147483647 w 18"/>
                <a:gd name="T11" fmla="*/ 2147483647 h 31"/>
                <a:gd name="T12" fmla="*/ 0 w 18"/>
                <a:gd name="T13" fmla="*/ 2147483647 h 31"/>
                <a:gd name="T14" fmla="*/ 2147483647 w 18"/>
                <a:gd name="T15" fmla="*/ 0 h 31"/>
                <a:gd name="T16" fmla="*/ 2147483647 w 18"/>
                <a:gd name="T17" fmla="*/ 0 h 31"/>
                <a:gd name="T18" fmla="*/ 2147483647 w 18"/>
                <a:gd name="T19" fmla="*/ 2147483647 h 31"/>
                <a:gd name="T20" fmla="*/ 2147483647 w 18"/>
                <a:gd name="T21" fmla="*/ 2147483647 h 31"/>
                <a:gd name="T22" fmla="*/ 2147483647 w 18"/>
                <a:gd name="T23" fmla="*/ 2147483647 h 31"/>
                <a:gd name="T24" fmla="*/ 2147483647 w 18"/>
                <a:gd name="T25" fmla="*/ 2147483647 h 31"/>
                <a:gd name="T26" fmla="*/ 2147483647 w 18"/>
                <a:gd name="T27" fmla="*/ 2147483647 h 31"/>
                <a:gd name="T28" fmla="*/ 2147483647 w 18"/>
                <a:gd name="T29" fmla="*/ 2147483647 h 31"/>
                <a:gd name="T30" fmla="*/ 2147483647 w 18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31"/>
                <a:gd name="T50" fmla="*/ 18 w 18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31">
                  <a:moveTo>
                    <a:pt x="16" y="31"/>
                  </a:moveTo>
                  <a:lnTo>
                    <a:pt x="16" y="30"/>
                  </a:lnTo>
                  <a:lnTo>
                    <a:pt x="17" y="29"/>
                  </a:lnTo>
                  <a:lnTo>
                    <a:pt x="15" y="23"/>
                  </a:lnTo>
                  <a:lnTo>
                    <a:pt x="11" y="13"/>
                  </a:lnTo>
                  <a:lnTo>
                    <a:pt x="4" y="6"/>
                  </a:lnTo>
                  <a:lnTo>
                    <a:pt x="0" y="5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7" y="9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7" y="26"/>
                  </a:lnTo>
                  <a:lnTo>
                    <a:pt x="18" y="30"/>
                  </a:lnTo>
                  <a:lnTo>
                    <a:pt x="16" y="3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5" name="Freeform 782"/>
            <p:cNvSpPr>
              <a:spLocks/>
            </p:cNvSpPr>
            <p:nvPr/>
          </p:nvSpPr>
          <p:spPr bwMode="gray">
            <a:xfrm>
              <a:off x="3695" y="2458"/>
              <a:ext cx="97" cy="60"/>
            </a:xfrm>
            <a:custGeom>
              <a:avLst/>
              <a:gdLst>
                <a:gd name="T0" fmla="*/ 2147483647 w 74"/>
                <a:gd name="T1" fmla="*/ 2147483647 h 46"/>
                <a:gd name="T2" fmla="*/ 2147483647 w 74"/>
                <a:gd name="T3" fmla="*/ 2147483647 h 46"/>
                <a:gd name="T4" fmla="*/ 2147483647 w 74"/>
                <a:gd name="T5" fmla="*/ 2147483647 h 46"/>
                <a:gd name="T6" fmla="*/ 2147483647 w 74"/>
                <a:gd name="T7" fmla="*/ 2147483647 h 46"/>
                <a:gd name="T8" fmla="*/ 2147483647 w 74"/>
                <a:gd name="T9" fmla="*/ 2147483647 h 46"/>
                <a:gd name="T10" fmla="*/ 2147483647 w 74"/>
                <a:gd name="T11" fmla="*/ 2147483647 h 46"/>
                <a:gd name="T12" fmla="*/ 2147483647 w 74"/>
                <a:gd name="T13" fmla="*/ 2147483647 h 46"/>
                <a:gd name="T14" fmla="*/ 2147483647 w 74"/>
                <a:gd name="T15" fmla="*/ 2147483647 h 46"/>
                <a:gd name="T16" fmla="*/ 2147483647 w 74"/>
                <a:gd name="T17" fmla="*/ 2147483647 h 46"/>
                <a:gd name="T18" fmla="*/ 2147483647 w 74"/>
                <a:gd name="T19" fmla="*/ 2147483647 h 46"/>
                <a:gd name="T20" fmla="*/ 0 w 74"/>
                <a:gd name="T21" fmla="*/ 2147483647 h 46"/>
                <a:gd name="T22" fmla="*/ 2147483647 w 74"/>
                <a:gd name="T23" fmla="*/ 2147483647 h 46"/>
                <a:gd name="T24" fmla="*/ 2147483647 w 74"/>
                <a:gd name="T25" fmla="*/ 2147483647 h 46"/>
                <a:gd name="T26" fmla="*/ 2147483647 w 74"/>
                <a:gd name="T27" fmla="*/ 0 h 46"/>
                <a:gd name="T28" fmla="*/ 2147483647 w 74"/>
                <a:gd name="T29" fmla="*/ 2147483647 h 46"/>
                <a:gd name="T30" fmla="*/ 2147483647 w 74"/>
                <a:gd name="T31" fmla="*/ 2147483647 h 46"/>
                <a:gd name="T32" fmla="*/ 2147483647 w 74"/>
                <a:gd name="T33" fmla="*/ 2147483647 h 46"/>
                <a:gd name="T34" fmla="*/ 2147483647 w 74"/>
                <a:gd name="T35" fmla="*/ 2147483647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4"/>
                <a:gd name="T55" fmla="*/ 0 h 46"/>
                <a:gd name="T56" fmla="*/ 74 w 74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4" h="46">
                  <a:moveTo>
                    <a:pt x="72" y="28"/>
                  </a:moveTo>
                  <a:lnTo>
                    <a:pt x="74" y="36"/>
                  </a:lnTo>
                  <a:lnTo>
                    <a:pt x="71" y="44"/>
                  </a:lnTo>
                  <a:lnTo>
                    <a:pt x="60" y="46"/>
                  </a:lnTo>
                  <a:lnTo>
                    <a:pt x="50" y="42"/>
                  </a:lnTo>
                  <a:lnTo>
                    <a:pt x="39" y="33"/>
                  </a:lnTo>
                  <a:lnTo>
                    <a:pt x="29" y="32"/>
                  </a:lnTo>
                  <a:lnTo>
                    <a:pt x="12" y="28"/>
                  </a:lnTo>
                  <a:lnTo>
                    <a:pt x="8" y="25"/>
                  </a:lnTo>
                  <a:lnTo>
                    <a:pt x="2" y="23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1"/>
                  </a:lnTo>
                  <a:lnTo>
                    <a:pt x="16" y="0"/>
                  </a:lnTo>
                  <a:lnTo>
                    <a:pt x="28" y="10"/>
                  </a:lnTo>
                  <a:lnTo>
                    <a:pt x="39" y="15"/>
                  </a:lnTo>
                  <a:lnTo>
                    <a:pt x="50" y="23"/>
                  </a:lnTo>
                  <a:lnTo>
                    <a:pt x="72" y="2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6" name="Freeform 783"/>
            <p:cNvSpPr>
              <a:spLocks/>
            </p:cNvSpPr>
            <p:nvPr/>
          </p:nvSpPr>
          <p:spPr bwMode="gray">
            <a:xfrm>
              <a:off x="3621" y="2389"/>
              <a:ext cx="60" cy="32"/>
            </a:xfrm>
            <a:custGeom>
              <a:avLst/>
              <a:gdLst>
                <a:gd name="T0" fmla="*/ 2147483647 w 46"/>
                <a:gd name="T1" fmla="*/ 2147483647 h 25"/>
                <a:gd name="T2" fmla="*/ 2147483647 w 46"/>
                <a:gd name="T3" fmla="*/ 2147483647 h 25"/>
                <a:gd name="T4" fmla="*/ 2147483647 w 46"/>
                <a:gd name="T5" fmla="*/ 2147483647 h 25"/>
                <a:gd name="T6" fmla="*/ 2147483647 w 46"/>
                <a:gd name="T7" fmla="*/ 2147483647 h 25"/>
                <a:gd name="T8" fmla="*/ 0 w 46"/>
                <a:gd name="T9" fmla="*/ 2147483647 h 25"/>
                <a:gd name="T10" fmla="*/ 0 w 46"/>
                <a:gd name="T11" fmla="*/ 2147483647 h 25"/>
                <a:gd name="T12" fmla="*/ 2147483647 w 46"/>
                <a:gd name="T13" fmla="*/ 0 h 25"/>
                <a:gd name="T14" fmla="*/ 2147483647 w 46"/>
                <a:gd name="T15" fmla="*/ 2147483647 h 25"/>
                <a:gd name="T16" fmla="*/ 2147483647 w 46"/>
                <a:gd name="T17" fmla="*/ 0 h 25"/>
                <a:gd name="T18" fmla="*/ 2147483647 w 46"/>
                <a:gd name="T19" fmla="*/ 2147483647 h 25"/>
                <a:gd name="T20" fmla="*/ 2147483647 w 46"/>
                <a:gd name="T21" fmla="*/ 2147483647 h 25"/>
                <a:gd name="T22" fmla="*/ 2147483647 w 46"/>
                <a:gd name="T23" fmla="*/ 2147483647 h 25"/>
                <a:gd name="T24" fmla="*/ 2147483647 w 46"/>
                <a:gd name="T25" fmla="*/ 2147483647 h 25"/>
                <a:gd name="T26" fmla="*/ 2147483647 w 46"/>
                <a:gd name="T27" fmla="*/ 2147483647 h 25"/>
                <a:gd name="T28" fmla="*/ 2147483647 w 46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5"/>
                <a:gd name="T47" fmla="*/ 46 w 4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5">
                  <a:moveTo>
                    <a:pt x="46" y="24"/>
                  </a:moveTo>
                  <a:lnTo>
                    <a:pt x="44" y="25"/>
                  </a:lnTo>
                  <a:lnTo>
                    <a:pt x="18" y="7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9" y="0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32" y="1"/>
                  </a:lnTo>
                  <a:lnTo>
                    <a:pt x="35" y="5"/>
                  </a:lnTo>
                  <a:lnTo>
                    <a:pt x="39" y="8"/>
                  </a:lnTo>
                  <a:lnTo>
                    <a:pt x="41" y="15"/>
                  </a:lnTo>
                  <a:lnTo>
                    <a:pt x="45" y="22"/>
                  </a:lnTo>
                  <a:lnTo>
                    <a:pt x="46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7" name="Freeform 784"/>
            <p:cNvSpPr>
              <a:spLocks/>
            </p:cNvSpPr>
            <p:nvPr/>
          </p:nvSpPr>
          <p:spPr bwMode="gray">
            <a:xfrm>
              <a:off x="3660" y="2388"/>
              <a:ext cx="22" cy="33"/>
            </a:xfrm>
            <a:custGeom>
              <a:avLst/>
              <a:gdLst>
                <a:gd name="T0" fmla="*/ 0 w 17"/>
                <a:gd name="T1" fmla="*/ 0 h 25"/>
                <a:gd name="T2" fmla="*/ 2147483647 w 17"/>
                <a:gd name="T3" fmla="*/ 2147483647 h 25"/>
                <a:gd name="T4" fmla="*/ 2147483647 w 17"/>
                <a:gd name="T5" fmla="*/ 2147483647 h 25"/>
                <a:gd name="T6" fmla="*/ 2147483647 w 17"/>
                <a:gd name="T7" fmla="*/ 2147483647 h 25"/>
                <a:gd name="T8" fmla="*/ 2147483647 w 17"/>
                <a:gd name="T9" fmla="*/ 2147483647 h 25"/>
                <a:gd name="T10" fmla="*/ 2147483647 w 17"/>
                <a:gd name="T11" fmla="*/ 2147483647 h 25"/>
                <a:gd name="T12" fmla="*/ 2147483647 w 17"/>
                <a:gd name="T13" fmla="*/ 2147483647 h 25"/>
                <a:gd name="T14" fmla="*/ 2147483647 w 17"/>
                <a:gd name="T15" fmla="*/ 2147483647 h 25"/>
                <a:gd name="T16" fmla="*/ 2147483647 w 17"/>
                <a:gd name="T17" fmla="*/ 2147483647 h 25"/>
                <a:gd name="T18" fmla="*/ 2147483647 w 17"/>
                <a:gd name="T19" fmla="*/ 2147483647 h 25"/>
                <a:gd name="T20" fmla="*/ 2147483647 w 17"/>
                <a:gd name="T21" fmla="*/ 2147483647 h 25"/>
                <a:gd name="T22" fmla="*/ 0 w 17"/>
                <a:gd name="T23" fmla="*/ 2147483647 h 25"/>
                <a:gd name="T24" fmla="*/ 0 w 17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25"/>
                <a:gd name="T41" fmla="*/ 17 w 17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25">
                  <a:moveTo>
                    <a:pt x="0" y="0"/>
                  </a:moveTo>
                  <a:lnTo>
                    <a:pt x="4" y="1"/>
                  </a:lnTo>
                  <a:lnTo>
                    <a:pt x="11" y="8"/>
                  </a:lnTo>
                  <a:lnTo>
                    <a:pt x="15" y="18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5" y="23"/>
                  </a:lnTo>
                  <a:lnTo>
                    <a:pt x="11" y="16"/>
                  </a:lnTo>
                  <a:lnTo>
                    <a:pt x="9" y="9"/>
                  </a:lnTo>
                  <a:lnTo>
                    <a:pt x="5" y="6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8" name="Freeform 785"/>
            <p:cNvSpPr>
              <a:spLocks/>
            </p:cNvSpPr>
            <p:nvPr/>
          </p:nvSpPr>
          <p:spPr bwMode="gray">
            <a:xfrm>
              <a:off x="3540" y="2286"/>
              <a:ext cx="92" cy="71"/>
            </a:xfrm>
            <a:custGeom>
              <a:avLst/>
              <a:gdLst>
                <a:gd name="T0" fmla="*/ 2147483647 w 71"/>
                <a:gd name="T1" fmla="*/ 2147483647 h 54"/>
                <a:gd name="T2" fmla="*/ 2147483647 w 71"/>
                <a:gd name="T3" fmla="*/ 2147483647 h 54"/>
                <a:gd name="T4" fmla="*/ 2147483647 w 71"/>
                <a:gd name="T5" fmla="*/ 2147483647 h 54"/>
                <a:gd name="T6" fmla="*/ 2147483647 w 71"/>
                <a:gd name="T7" fmla="*/ 2147483647 h 54"/>
                <a:gd name="T8" fmla="*/ 2147483647 w 71"/>
                <a:gd name="T9" fmla="*/ 2147483647 h 54"/>
                <a:gd name="T10" fmla="*/ 2147483647 w 71"/>
                <a:gd name="T11" fmla="*/ 2147483647 h 54"/>
                <a:gd name="T12" fmla="*/ 2147483647 w 71"/>
                <a:gd name="T13" fmla="*/ 2147483647 h 54"/>
                <a:gd name="T14" fmla="*/ 2147483647 w 71"/>
                <a:gd name="T15" fmla="*/ 2147483647 h 54"/>
                <a:gd name="T16" fmla="*/ 2147483647 w 71"/>
                <a:gd name="T17" fmla="*/ 2147483647 h 54"/>
                <a:gd name="T18" fmla="*/ 2147483647 w 71"/>
                <a:gd name="T19" fmla="*/ 2147483647 h 54"/>
                <a:gd name="T20" fmla="*/ 2147483647 w 71"/>
                <a:gd name="T21" fmla="*/ 2147483647 h 54"/>
                <a:gd name="T22" fmla="*/ 2147483647 w 71"/>
                <a:gd name="T23" fmla="*/ 2147483647 h 54"/>
                <a:gd name="T24" fmla="*/ 2147483647 w 71"/>
                <a:gd name="T25" fmla="*/ 2147483647 h 54"/>
                <a:gd name="T26" fmla="*/ 2147483647 w 71"/>
                <a:gd name="T27" fmla="*/ 2147483647 h 54"/>
                <a:gd name="T28" fmla="*/ 2147483647 w 71"/>
                <a:gd name="T29" fmla="*/ 2147483647 h 54"/>
                <a:gd name="T30" fmla="*/ 0 w 71"/>
                <a:gd name="T31" fmla="*/ 2147483647 h 54"/>
                <a:gd name="T32" fmla="*/ 2147483647 w 71"/>
                <a:gd name="T33" fmla="*/ 2147483647 h 54"/>
                <a:gd name="T34" fmla="*/ 2147483647 w 71"/>
                <a:gd name="T35" fmla="*/ 2147483647 h 54"/>
                <a:gd name="T36" fmla="*/ 2147483647 w 71"/>
                <a:gd name="T37" fmla="*/ 2147483647 h 54"/>
                <a:gd name="T38" fmla="*/ 2147483647 w 71"/>
                <a:gd name="T39" fmla="*/ 0 h 54"/>
                <a:gd name="T40" fmla="*/ 2147483647 w 71"/>
                <a:gd name="T41" fmla="*/ 2147483647 h 54"/>
                <a:gd name="T42" fmla="*/ 2147483647 w 71"/>
                <a:gd name="T43" fmla="*/ 2147483647 h 54"/>
                <a:gd name="T44" fmla="*/ 2147483647 w 71"/>
                <a:gd name="T45" fmla="*/ 2147483647 h 54"/>
                <a:gd name="T46" fmla="*/ 2147483647 w 71"/>
                <a:gd name="T47" fmla="*/ 2147483647 h 54"/>
                <a:gd name="T48" fmla="*/ 2147483647 w 71"/>
                <a:gd name="T49" fmla="*/ 2147483647 h 54"/>
                <a:gd name="T50" fmla="*/ 2147483647 w 71"/>
                <a:gd name="T51" fmla="*/ 2147483647 h 54"/>
                <a:gd name="T52" fmla="*/ 2147483647 w 71"/>
                <a:gd name="T53" fmla="*/ 2147483647 h 54"/>
                <a:gd name="T54" fmla="*/ 2147483647 w 71"/>
                <a:gd name="T55" fmla="*/ 2147483647 h 54"/>
                <a:gd name="T56" fmla="*/ 2147483647 w 71"/>
                <a:gd name="T57" fmla="*/ 2147483647 h 54"/>
                <a:gd name="T58" fmla="*/ 2147483647 w 71"/>
                <a:gd name="T59" fmla="*/ 2147483647 h 54"/>
                <a:gd name="T60" fmla="*/ 2147483647 w 71"/>
                <a:gd name="T61" fmla="*/ 2147483647 h 54"/>
                <a:gd name="T62" fmla="*/ 2147483647 w 71"/>
                <a:gd name="T63" fmla="*/ 2147483647 h 54"/>
                <a:gd name="T64" fmla="*/ 2147483647 w 71"/>
                <a:gd name="T65" fmla="*/ 2147483647 h 54"/>
                <a:gd name="T66" fmla="*/ 2147483647 w 71"/>
                <a:gd name="T67" fmla="*/ 2147483647 h 54"/>
                <a:gd name="T68" fmla="*/ 2147483647 w 71"/>
                <a:gd name="T69" fmla="*/ 2147483647 h 54"/>
                <a:gd name="T70" fmla="*/ 2147483647 w 71"/>
                <a:gd name="T71" fmla="*/ 2147483647 h 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1"/>
                <a:gd name="T109" fmla="*/ 0 h 54"/>
                <a:gd name="T110" fmla="*/ 71 w 71"/>
                <a:gd name="T111" fmla="*/ 54 h 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1" h="54">
                  <a:moveTo>
                    <a:pt x="66" y="48"/>
                  </a:moveTo>
                  <a:lnTo>
                    <a:pt x="63" y="46"/>
                  </a:lnTo>
                  <a:lnTo>
                    <a:pt x="57" y="46"/>
                  </a:lnTo>
                  <a:lnTo>
                    <a:pt x="49" y="53"/>
                  </a:lnTo>
                  <a:lnTo>
                    <a:pt x="38" y="54"/>
                  </a:lnTo>
                  <a:lnTo>
                    <a:pt x="39" y="45"/>
                  </a:lnTo>
                  <a:lnTo>
                    <a:pt x="38" y="35"/>
                  </a:lnTo>
                  <a:lnTo>
                    <a:pt x="33" y="31"/>
                  </a:lnTo>
                  <a:lnTo>
                    <a:pt x="27" y="38"/>
                  </a:lnTo>
                  <a:lnTo>
                    <a:pt x="23" y="44"/>
                  </a:lnTo>
                  <a:lnTo>
                    <a:pt x="10" y="51"/>
                  </a:lnTo>
                  <a:lnTo>
                    <a:pt x="3" y="50"/>
                  </a:lnTo>
                  <a:lnTo>
                    <a:pt x="4" y="41"/>
                  </a:lnTo>
                  <a:lnTo>
                    <a:pt x="6" y="33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7" y="15"/>
                  </a:lnTo>
                  <a:lnTo>
                    <a:pt x="14" y="13"/>
                  </a:lnTo>
                  <a:lnTo>
                    <a:pt x="15" y="4"/>
                  </a:lnTo>
                  <a:lnTo>
                    <a:pt x="25" y="0"/>
                  </a:lnTo>
                  <a:lnTo>
                    <a:pt x="33" y="3"/>
                  </a:lnTo>
                  <a:lnTo>
                    <a:pt x="28" y="7"/>
                  </a:lnTo>
                  <a:lnTo>
                    <a:pt x="27" y="13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4" y="20"/>
                  </a:lnTo>
                  <a:lnTo>
                    <a:pt x="29" y="20"/>
                  </a:lnTo>
                  <a:lnTo>
                    <a:pt x="33" y="19"/>
                  </a:lnTo>
                  <a:lnTo>
                    <a:pt x="41" y="18"/>
                  </a:lnTo>
                  <a:lnTo>
                    <a:pt x="42" y="22"/>
                  </a:lnTo>
                  <a:lnTo>
                    <a:pt x="50" y="22"/>
                  </a:lnTo>
                  <a:lnTo>
                    <a:pt x="58" y="19"/>
                  </a:lnTo>
                  <a:lnTo>
                    <a:pt x="60" y="29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66" y="48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89" name="Freeform 786"/>
            <p:cNvSpPr>
              <a:spLocks/>
            </p:cNvSpPr>
            <p:nvPr/>
          </p:nvSpPr>
          <p:spPr bwMode="gray">
            <a:xfrm>
              <a:off x="3563" y="2242"/>
              <a:ext cx="130" cy="73"/>
            </a:xfrm>
            <a:custGeom>
              <a:avLst/>
              <a:gdLst>
                <a:gd name="T0" fmla="*/ 2147483647 w 100"/>
                <a:gd name="T1" fmla="*/ 2147483647 h 56"/>
                <a:gd name="T2" fmla="*/ 2147483647 w 100"/>
                <a:gd name="T3" fmla="*/ 2147483647 h 56"/>
                <a:gd name="T4" fmla="*/ 2147483647 w 100"/>
                <a:gd name="T5" fmla="*/ 2147483647 h 56"/>
                <a:gd name="T6" fmla="*/ 2147483647 w 100"/>
                <a:gd name="T7" fmla="*/ 2147483647 h 56"/>
                <a:gd name="T8" fmla="*/ 2147483647 w 100"/>
                <a:gd name="T9" fmla="*/ 2147483647 h 56"/>
                <a:gd name="T10" fmla="*/ 2147483647 w 100"/>
                <a:gd name="T11" fmla="*/ 2147483647 h 56"/>
                <a:gd name="T12" fmla="*/ 2147483647 w 100"/>
                <a:gd name="T13" fmla="*/ 2147483647 h 56"/>
                <a:gd name="T14" fmla="*/ 2147483647 w 100"/>
                <a:gd name="T15" fmla="*/ 2147483647 h 56"/>
                <a:gd name="T16" fmla="*/ 0 w 100"/>
                <a:gd name="T17" fmla="*/ 2147483647 h 56"/>
                <a:gd name="T18" fmla="*/ 2147483647 w 100"/>
                <a:gd name="T19" fmla="*/ 2147483647 h 56"/>
                <a:gd name="T20" fmla="*/ 2147483647 w 100"/>
                <a:gd name="T21" fmla="*/ 2147483647 h 56"/>
                <a:gd name="T22" fmla="*/ 2147483647 w 100"/>
                <a:gd name="T23" fmla="*/ 2147483647 h 56"/>
                <a:gd name="T24" fmla="*/ 2147483647 w 100"/>
                <a:gd name="T25" fmla="*/ 2147483647 h 56"/>
                <a:gd name="T26" fmla="*/ 2147483647 w 100"/>
                <a:gd name="T27" fmla="*/ 2147483647 h 56"/>
                <a:gd name="T28" fmla="*/ 2147483647 w 100"/>
                <a:gd name="T29" fmla="*/ 2147483647 h 56"/>
                <a:gd name="T30" fmla="*/ 2147483647 w 100"/>
                <a:gd name="T31" fmla="*/ 2147483647 h 56"/>
                <a:gd name="T32" fmla="*/ 2147483647 w 100"/>
                <a:gd name="T33" fmla="*/ 2147483647 h 56"/>
                <a:gd name="T34" fmla="*/ 2147483647 w 100"/>
                <a:gd name="T35" fmla="*/ 2147483647 h 56"/>
                <a:gd name="T36" fmla="*/ 2147483647 w 100"/>
                <a:gd name="T37" fmla="*/ 2147483647 h 56"/>
                <a:gd name="T38" fmla="*/ 2147483647 w 100"/>
                <a:gd name="T39" fmla="*/ 2147483647 h 56"/>
                <a:gd name="T40" fmla="*/ 2147483647 w 100"/>
                <a:gd name="T41" fmla="*/ 2147483647 h 56"/>
                <a:gd name="T42" fmla="*/ 2147483647 w 100"/>
                <a:gd name="T43" fmla="*/ 2147483647 h 56"/>
                <a:gd name="T44" fmla="*/ 2147483647 w 100"/>
                <a:gd name="T45" fmla="*/ 2147483647 h 56"/>
                <a:gd name="T46" fmla="*/ 2147483647 w 100"/>
                <a:gd name="T47" fmla="*/ 2147483647 h 56"/>
                <a:gd name="T48" fmla="*/ 2147483647 w 100"/>
                <a:gd name="T49" fmla="*/ 2147483647 h 56"/>
                <a:gd name="T50" fmla="*/ 2147483647 w 100"/>
                <a:gd name="T51" fmla="*/ 0 h 56"/>
                <a:gd name="T52" fmla="*/ 2147483647 w 100"/>
                <a:gd name="T53" fmla="*/ 2147483647 h 56"/>
                <a:gd name="T54" fmla="*/ 2147483647 w 100"/>
                <a:gd name="T55" fmla="*/ 2147483647 h 56"/>
                <a:gd name="T56" fmla="*/ 2147483647 w 100"/>
                <a:gd name="T57" fmla="*/ 2147483647 h 56"/>
                <a:gd name="T58" fmla="*/ 2147483647 w 100"/>
                <a:gd name="T59" fmla="*/ 2147483647 h 56"/>
                <a:gd name="T60" fmla="*/ 2147483647 w 100"/>
                <a:gd name="T61" fmla="*/ 2147483647 h 56"/>
                <a:gd name="T62" fmla="*/ 2147483647 w 100"/>
                <a:gd name="T63" fmla="*/ 2147483647 h 56"/>
                <a:gd name="T64" fmla="*/ 2147483647 w 100"/>
                <a:gd name="T65" fmla="*/ 2147483647 h 56"/>
                <a:gd name="T66" fmla="*/ 2147483647 w 100"/>
                <a:gd name="T67" fmla="*/ 2147483647 h 56"/>
                <a:gd name="T68" fmla="*/ 2147483647 w 100"/>
                <a:gd name="T69" fmla="*/ 2147483647 h 56"/>
                <a:gd name="T70" fmla="*/ 2147483647 w 100"/>
                <a:gd name="T71" fmla="*/ 2147483647 h 56"/>
                <a:gd name="T72" fmla="*/ 2147483647 w 100"/>
                <a:gd name="T73" fmla="*/ 2147483647 h 56"/>
                <a:gd name="T74" fmla="*/ 2147483647 w 100"/>
                <a:gd name="T75" fmla="*/ 2147483647 h 56"/>
                <a:gd name="T76" fmla="*/ 2147483647 w 100"/>
                <a:gd name="T77" fmla="*/ 2147483647 h 56"/>
                <a:gd name="T78" fmla="*/ 2147483647 w 100"/>
                <a:gd name="T79" fmla="*/ 2147483647 h 56"/>
                <a:gd name="T80" fmla="*/ 2147483647 w 100"/>
                <a:gd name="T81" fmla="*/ 2147483647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56"/>
                <a:gd name="T125" fmla="*/ 100 w 100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56">
                  <a:moveTo>
                    <a:pt x="40" y="53"/>
                  </a:moveTo>
                  <a:lnTo>
                    <a:pt x="32" y="56"/>
                  </a:lnTo>
                  <a:lnTo>
                    <a:pt x="24" y="56"/>
                  </a:lnTo>
                  <a:lnTo>
                    <a:pt x="23" y="52"/>
                  </a:lnTo>
                  <a:lnTo>
                    <a:pt x="15" y="53"/>
                  </a:lnTo>
                  <a:lnTo>
                    <a:pt x="11" y="54"/>
                  </a:lnTo>
                  <a:lnTo>
                    <a:pt x="6" y="54"/>
                  </a:lnTo>
                  <a:lnTo>
                    <a:pt x="1" y="56"/>
                  </a:lnTo>
                  <a:lnTo>
                    <a:pt x="0" y="53"/>
                  </a:lnTo>
                  <a:lnTo>
                    <a:pt x="9" y="47"/>
                  </a:lnTo>
                  <a:lnTo>
                    <a:pt x="19" y="45"/>
                  </a:lnTo>
                  <a:lnTo>
                    <a:pt x="28" y="39"/>
                  </a:lnTo>
                  <a:lnTo>
                    <a:pt x="28" y="34"/>
                  </a:lnTo>
                  <a:lnTo>
                    <a:pt x="21" y="33"/>
                  </a:lnTo>
                  <a:lnTo>
                    <a:pt x="18" y="27"/>
                  </a:lnTo>
                  <a:lnTo>
                    <a:pt x="8" y="26"/>
                  </a:lnTo>
                  <a:lnTo>
                    <a:pt x="1" y="25"/>
                  </a:lnTo>
                  <a:lnTo>
                    <a:pt x="5" y="21"/>
                  </a:lnTo>
                  <a:lnTo>
                    <a:pt x="11" y="21"/>
                  </a:lnTo>
                  <a:lnTo>
                    <a:pt x="13" y="14"/>
                  </a:lnTo>
                  <a:lnTo>
                    <a:pt x="18" y="9"/>
                  </a:lnTo>
                  <a:lnTo>
                    <a:pt x="24" y="9"/>
                  </a:lnTo>
                  <a:lnTo>
                    <a:pt x="29" y="13"/>
                  </a:lnTo>
                  <a:lnTo>
                    <a:pt x="39" y="12"/>
                  </a:lnTo>
                  <a:lnTo>
                    <a:pt x="37" y="6"/>
                  </a:lnTo>
                  <a:lnTo>
                    <a:pt x="46" y="0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68" y="3"/>
                  </a:lnTo>
                  <a:lnTo>
                    <a:pt x="84" y="6"/>
                  </a:lnTo>
                  <a:lnTo>
                    <a:pt x="96" y="10"/>
                  </a:lnTo>
                  <a:lnTo>
                    <a:pt x="100" y="14"/>
                  </a:lnTo>
                  <a:lnTo>
                    <a:pt x="93" y="24"/>
                  </a:lnTo>
                  <a:lnTo>
                    <a:pt x="83" y="27"/>
                  </a:lnTo>
                  <a:lnTo>
                    <a:pt x="75" y="33"/>
                  </a:lnTo>
                  <a:lnTo>
                    <a:pt x="69" y="34"/>
                  </a:lnTo>
                  <a:lnTo>
                    <a:pt x="68" y="42"/>
                  </a:lnTo>
                  <a:lnTo>
                    <a:pt x="62" y="43"/>
                  </a:lnTo>
                  <a:lnTo>
                    <a:pt x="57" y="38"/>
                  </a:lnTo>
                  <a:lnTo>
                    <a:pt x="43" y="47"/>
                  </a:lnTo>
                  <a:lnTo>
                    <a:pt x="4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0" name="Freeform 787"/>
            <p:cNvSpPr>
              <a:spLocks/>
            </p:cNvSpPr>
            <p:nvPr/>
          </p:nvSpPr>
          <p:spPr bwMode="gray">
            <a:xfrm>
              <a:off x="3652" y="2381"/>
              <a:ext cx="8" cy="7"/>
            </a:xfrm>
            <a:custGeom>
              <a:avLst/>
              <a:gdLst>
                <a:gd name="T0" fmla="*/ 0 w 6"/>
                <a:gd name="T1" fmla="*/ 0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0 w 6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1" name="Freeform 788"/>
            <p:cNvSpPr>
              <a:spLocks/>
            </p:cNvSpPr>
            <p:nvPr/>
          </p:nvSpPr>
          <p:spPr bwMode="gray">
            <a:xfrm>
              <a:off x="3618" y="2388"/>
              <a:ext cx="42" cy="7"/>
            </a:xfrm>
            <a:custGeom>
              <a:avLst/>
              <a:gdLst>
                <a:gd name="T0" fmla="*/ 2147483647 w 32"/>
                <a:gd name="T1" fmla="*/ 2147483647 h 5"/>
                <a:gd name="T2" fmla="*/ 2147483647 w 32"/>
                <a:gd name="T3" fmla="*/ 2147483647 h 5"/>
                <a:gd name="T4" fmla="*/ 2147483647 w 32"/>
                <a:gd name="T5" fmla="*/ 2147483647 h 5"/>
                <a:gd name="T6" fmla="*/ 2147483647 w 32"/>
                <a:gd name="T7" fmla="*/ 2147483647 h 5"/>
                <a:gd name="T8" fmla="*/ 2147483647 w 32"/>
                <a:gd name="T9" fmla="*/ 2147483647 h 5"/>
                <a:gd name="T10" fmla="*/ 0 w 32"/>
                <a:gd name="T11" fmla="*/ 2147483647 h 5"/>
                <a:gd name="T12" fmla="*/ 2147483647 w 32"/>
                <a:gd name="T13" fmla="*/ 0 h 5"/>
                <a:gd name="T14" fmla="*/ 2147483647 w 32"/>
                <a:gd name="T15" fmla="*/ 0 h 5"/>
                <a:gd name="T16" fmla="*/ 2147483647 w 32"/>
                <a:gd name="T17" fmla="*/ 0 h 5"/>
                <a:gd name="T18" fmla="*/ 2147483647 w 32"/>
                <a:gd name="T19" fmla="*/ 2147483647 h 5"/>
                <a:gd name="T20" fmla="*/ 2147483647 w 32"/>
                <a:gd name="T21" fmla="*/ 2147483647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"/>
                <a:gd name="T35" fmla="*/ 32 w 32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">
                  <a:moveTo>
                    <a:pt x="32" y="1"/>
                  </a:moveTo>
                  <a:lnTo>
                    <a:pt x="20" y="3"/>
                  </a:lnTo>
                  <a:lnTo>
                    <a:pt x="11" y="1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2" name="Freeform 789"/>
            <p:cNvSpPr>
              <a:spLocks/>
            </p:cNvSpPr>
            <p:nvPr/>
          </p:nvSpPr>
          <p:spPr bwMode="gray">
            <a:xfrm>
              <a:off x="3459" y="2353"/>
              <a:ext cx="199" cy="205"/>
            </a:xfrm>
            <a:custGeom>
              <a:avLst/>
              <a:gdLst>
                <a:gd name="T0" fmla="*/ 2147483647 w 153"/>
                <a:gd name="T1" fmla="*/ 2147483647 h 158"/>
                <a:gd name="T2" fmla="*/ 2147483647 w 153"/>
                <a:gd name="T3" fmla="*/ 2147483647 h 158"/>
                <a:gd name="T4" fmla="*/ 2147483647 w 153"/>
                <a:gd name="T5" fmla="*/ 2147483647 h 158"/>
                <a:gd name="T6" fmla="*/ 2147483647 w 153"/>
                <a:gd name="T7" fmla="*/ 2147483647 h 158"/>
                <a:gd name="T8" fmla="*/ 2147483647 w 153"/>
                <a:gd name="T9" fmla="*/ 2147483647 h 158"/>
                <a:gd name="T10" fmla="*/ 2147483647 w 153"/>
                <a:gd name="T11" fmla="*/ 2147483647 h 158"/>
                <a:gd name="T12" fmla="*/ 2147483647 w 153"/>
                <a:gd name="T13" fmla="*/ 2147483647 h 158"/>
                <a:gd name="T14" fmla="*/ 2147483647 w 153"/>
                <a:gd name="T15" fmla="*/ 2147483647 h 158"/>
                <a:gd name="T16" fmla="*/ 2147483647 w 153"/>
                <a:gd name="T17" fmla="*/ 2147483647 h 158"/>
                <a:gd name="T18" fmla="*/ 2147483647 w 153"/>
                <a:gd name="T19" fmla="*/ 2147483647 h 158"/>
                <a:gd name="T20" fmla="*/ 2147483647 w 153"/>
                <a:gd name="T21" fmla="*/ 2147483647 h 158"/>
                <a:gd name="T22" fmla="*/ 2147483647 w 153"/>
                <a:gd name="T23" fmla="*/ 2147483647 h 158"/>
                <a:gd name="T24" fmla="*/ 2147483647 w 153"/>
                <a:gd name="T25" fmla="*/ 2147483647 h 158"/>
                <a:gd name="T26" fmla="*/ 2147483647 w 153"/>
                <a:gd name="T27" fmla="*/ 2147483647 h 158"/>
                <a:gd name="T28" fmla="*/ 2147483647 w 153"/>
                <a:gd name="T29" fmla="*/ 2147483647 h 158"/>
                <a:gd name="T30" fmla="*/ 2147483647 w 153"/>
                <a:gd name="T31" fmla="*/ 2147483647 h 158"/>
                <a:gd name="T32" fmla="*/ 2147483647 w 153"/>
                <a:gd name="T33" fmla="*/ 2147483647 h 158"/>
                <a:gd name="T34" fmla="*/ 2147483647 w 153"/>
                <a:gd name="T35" fmla="*/ 2147483647 h 158"/>
                <a:gd name="T36" fmla="*/ 2147483647 w 153"/>
                <a:gd name="T37" fmla="*/ 2147483647 h 158"/>
                <a:gd name="T38" fmla="*/ 2147483647 w 153"/>
                <a:gd name="T39" fmla="*/ 2147483647 h 158"/>
                <a:gd name="T40" fmla="*/ 2147483647 w 153"/>
                <a:gd name="T41" fmla="*/ 2147483647 h 158"/>
                <a:gd name="T42" fmla="*/ 2147483647 w 153"/>
                <a:gd name="T43" fmla="*/ 2147483647 h 158"/>
                <a:gd name="T44" fmla="*/ 2147483647 w 153"/>
                <a:gd name="T45" fmla="*/ 2147483647 h 158"/>
                <a:gd name="T46" fmla="*/ 2147483647 w 153"/>
                <a:gd name="T47" fmla="*/ 2147483647 h 158"/>
                <a:gd name="T48" fmla="*/ 2147483647 w 153"/>
                <a:gd name="T49" fmla="*/ 2147483647 h 158"/>
                <a:gd name="T50" fmla="*/ 2147483647 w 153"/>
                <a:gd name="T51" fmla="*/ 2147483647 h 158"/>
                <a:gd name="T52" fmla="*/ 2147483647 w 153"/>
                <a:gd name="T53" fmla="*/ 2147483647 h 158"/>
                <a:gd name="T54" fmla="*/ 2147483647 w 153"/>
                <a:gd name="T55" fmla="*/ 2147483647 h 158"/>
                <a:gd name="T56" fmla="*/ 2147483647 w 153"/>
                <a:gd name="T57" fmla="*/ 2147483647 h 158"/>
                <a:gd name="T58" fmla="*/ 2147483647 w 153"/>
                <a:gd name="T59" fmla="*/ 2147483647 h 158"/>
                <a:gd name="T60" fmla="*/ 2147483647 w 153"/>
                <a:gd name="T61" fmla="*/ 2147483647 h 158"/>
                <a:gd name="T62" fmla="*/ 2147483647 w 153"/>
                <a:gd name="T63" fmla="*/ 2147483647 h 158"/>
                <a:gd name="T64" fmla="*/ 2147483647 w 153"/>
                <a:gd name="T65" fmla="*/ 2147483647 h 158"/>
                <a:gd name="T66" fmla="*/ 2147483647 w 153"/>
                <a:gd name="T67" fmla="*/ 2147483647 h 158"/>
                <a:gd name="T68" fmla="*/ 2147483647 w 153"/>
                <a:gd name="T69" fmla="*/ 2147483647 h 158"/>
                <a:gd name="T70" fmla="*/ 0 w 153"/>
                <a:gd name="T71" fmla="*/ 2147483647 h 158"/>
                <a:gd name="T72" fmla="*/ 0 w 153"/>
                <a:gd name="T73" fmla="*/ 2147483647 h 158"/>
                <a:gd name="T74" fmla="*/ 2147483647 w 153"/>
                <a:gd name="T75" fmla="*/ 2147483647 h 158"/>
                <a:gd name="T76" fmla="*/ 2147483647 w 153"/>
                <a:gd name="T77" fmla="*/ 2147483647 h 158"/>
                <a:gd name="T78" fmla="*/ 2147483647 w 153"/>
                <a:gd name="T79" fmla="*/ 2147483647 h 158"/>
                <a:gd name="T80" fmla="*/ 2147483647 w 153"/>
                <a:gd name="T81" fmla="*/ 2147483647 h 158"/>
                <a:gd name="T82" fmla="*/ 2147483647 w 153"/>
                <a:gd name="T83" fmla="*/ 2147483647 h 158"/>
                <a:gd name="T84" fmla="*/ 2147483647 w 153"/>
                <a:gd name="T85" fmla="*/ 2147483647 h 158"/>
                <a:gd name="T86" fmla="*/ 2147483647 w 153"/>
                <a:gd name="T87" fmla="*/ 2147483647 h 158"/>
                <a:gd name="T88" fmla="*/ 2147483647 w 153"/>
                <a:gd name="T89" fmla="*/ 2147483647 h 158"/>
                <a:gd name="T90" fmla="*/ 2147483647 w 153"/>
                <a:gd name="T91" fmla="*/ 2147483647 h 158"/>
                <a:gd name="T92" fmla="*/ 2147483647 w 153"/>
                <a:gd name="T93" fmla="*/ 2147483647 h 158"/>
                <a:gd name="T94" fmla="*/ 2147483647 w 153"/>
                <a:gd name="T95" fmla="*/ 2147483647 h 158"/>
                <a:gd name="T96" fmla="*/ 2147483647 w 153"/>
                <a:gd name="T97" fmla="*/ 2147483647 h 158"/>
                <a:gd name="T98" fmla="*/ 2147483647 w 153"/>
                <a:gd name="T99" fmla="*/ 2147483647 h 158"/>
                <a:gd name="T100" fmla="*/ 2147483647 w 153"/>
                <a:gd name="T101" fmla="*/ 2147483647 h 158"/>
                <a:gd name="T102" fmla="*/ 2147483647 w 153"/>
                <a:gd name="T103" fmla="*/ 2147483647 h 158"/>
                <a:gd name="T104" fmla="*/ 2147483647 w 153"/>
                <a:gd name="T105" fmla="*/ 2147483647 h 158"/>
                <a:gd name="T106" fmla="*/ 2147483647 w 153"/>
                <a:gd name="T107" fmla="*/ 0 h 158"/>
                <a:gd name="T108" fmla="*/ 2147483647 w 153"/>
                <a:gd name="T109" fmla="*/ 2147483647 h 158"/>
                <a:gd name="T110" fmla="*/ 2147483647 w 153"/>
                <a:gd name="T111" fmla="*/ 2147483647 h 158"/>
                <a:gd name="T112" fmla="*/ 2147483647 w 153"/>
                <a:gd name="T113" fmla="*/ 2147483647 h 158"/>
                <a:gd name="T114" fmla="*/ 2147483647 w 153"/>
                <a:gd name="T115" fmla="*/ 2147483647 h 158"/>
                <a:gd name="T116" fmla="*/ 2147483647 w 153"/>
                <a:gd name="T117" fmla="*/ 2147483647 h 158"/>
                <a:gd name="T118" fmla="*/ 2147483647 w 153"/>
                <a:gd name="T119" fmla="*/ 2147483647 h 158"/>
                <a:gd name="T120" fmla="*/ 2147483647 w 153"/>
                <a:gd name="T121" fmla="*/ 2147483647 h 158"/>
                <a:gd name="T122" fmla="*/ 2147483647 w 153"/>
                <a:gd name="T123" fmla="*/ 2147483647 h 158"/>
                <a:gd name="T124" fmla="*/ 2147483647 w 153"/>
                <a:gd name="T125" fmla="*/ 2147483647 h 15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3"/>
                <a:gd name="T190" fmla="*/ 0 h 158"/>
                <a:gd name="T191" fmla="*/ 153 w 153"/>
                <a:gd name="T192" fmla="*/ 158 h 15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3" h="158">
                  <a:moveTo>
                    <a:pt x="124" y="32"/>
                  </a:moveTo>
                  <a:lnTo>
                    <a:pt x="123" y="48"/>
                  </a:lnTo>
                  <a:lnTo>
                    <a:pt x="130" y="51"/>
                  </a:lnTo>
                  <a:lnTo>
                    <a:pt x="136" y="58"/>
                  </a:lnTo>
                  <a:lnTo>
                    <a:pt x="134" y="64"/>
                  </a:lnTo>
                  <a:lnTo>
                    <a:pt x="128" y="70"/>
                  </a:lnTo>
                  <a:lnTo>
                    <a:pt x="126" y="80"/>
                  </a:lnTo>
                  <a:lnTo>
                    <a:pt x="120" y="84"/>
                  </a:lnTo>
                  <a:lnTo>
                    <a:pt x="118" y="93"/>
                  </a:lnTo>
                  <a:lnTo>
                    <a:pt x="100" y="112"/>
                  </a:lnTo>
                  <a:lnTo>
                    <a:pt x="92" y="113"/>
                  </a:lnTo>
                  <a:lnTo>
                    <a:pt x="88" y="109"/>
                  </a:lnTo>
                  <a:lnTo>
                    <a:pt x="83" y="122"/>
                  </a:lnTo>
                  <a:lnTo>
                    <a:pt x="95" y="142"/>
                  </a:lnTo>
                  <a:lnTo>
                    <a:pt x="93" y="150"/>
                  </a:lnTo>
                  <a:lnTo>
                    <a:pt x="80" y="148"/>
                  </a:lnTo>
                  <a:lnTo>
                    <a:pt x="72" y="153"/>
                  </a:lnTo>
                  <a:lnTo>
                    <a:pt x="67" y="158"/>
                  </a:lnTo>
                  <a:lnTo>
                    <a:pt x="62" y="156"/>
                  </a:lnTo>
                  <a:lnTo>
                    <a:pt x="62" y="153"/>
                  </a:lnTo>
                  <a:lnTo>
                    <a:pt x="58" y="151"/>
                  </a:lnTo>
                  <a:lnTo>
                    <a:pt x="57" y="144"/>
                  </a:lnTo>
                  <a:lnTo>
                    <a:pt x="55" y="142"/>
                  </a:lnTo>
                  <a:lnTo>
                    <a:pt x="48" y="141"/>
                  </a:lnTo>
                  <a:lnTo>
                    <a:pt x="44" y="143"/>
                  </a:lnTo>
                  <a:lnTo>
                    <a:pt x="31" y="142"/>
                  </a:lnTo>
                  <a:lnTo>
                    <a:pt x="28" y="143"/>
                  </a:lnTo>
                  <a:lnTo>
                    <a:pt x="14" y="144"/>
                  </a:lnTo>
                  <a:lnTo>
                    <a:pt x="10" y="142"/>
                  </a:lnTo>
                  <a:lnTo>
                    <a:pt x="9" y="141"/>
                  </a:lnTo>
                  <a:lnTo>
                    <a:pt x="10" y="132"/>
                  </a:lnTo>
                  <a:lnTo>
                    <a:pt x="22" y="126"/>
                  </a:lnTo>
                  <a:lnTo>
                    <a:pt x="22" y="119"/>
                  </a:lnTo>
                  <a:lnTo>
                    <a:pt x="16" y="118"/>
                  </a:lnTo>
                  <a:lnTo>
                    <a:pt x="17" y="111"/>
                  </a:lnTo>
                  <a:lnTo>
                    <a:pt x="0" y="96"/>
                  </a:lnTo>
                  <a:lnTo>
                    <a:pt x="0" y="89"/>
                  </a:lnTo>
                  <a:lnTo>
                    <a:pt x="12" y="90"/>
                  </a:lnTo>
                  <a:lnTo>
                    <a:pt x="17" y="91"/>
                  </a:lnTo>
                  <a:lnTo>
                    <a:pt x="36" y="93"/>
                  </a:lnTo>
                  <a:lnTo>
                    <a:pt x="50" y="89"/>
                  </a:lnTo>
                  <a:lnTo>
                    <a:pt x="50" y="79"/>
                  </a:lnTo>
                  <a:lnTo>
                    <a:pt x="51" y="72"/>
                  </a:lnTo>
                  <a:lnTo>
                    <a:pt x="59" y="71"/>
                  </a:lnTo>
                  <a:lnTo>
                    <a:pt x="65" y="65"/>
                  </a:lnTo>
                  <a:lnTo>
                    <a:pt x="76" y="67"/>
                  </a:lnTo>
                  <a:lnTo>
                    <a:pt x="76" y="55"/>
                  </a:lnTo>
                  <a:lnTo>
                    <a:pt x="85" y="39"/>
                  </a:lnTo>
                  <a:lnTo>
                    <a:pt x="93" y="40"/>
                  </a:lnTo>
                  <a:lnTo>
                    <a:pt x="102" y="25"/>
                  </a:lnTo>
                  <a:lnTo>
                    <a:pt x="98" y="12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0"/>
                  </a:lnTo>
                  <a:lnTo>
                    <a:pt x="135" y="3"/>
                  </a:lnTo>
                  <a:lnTo>
                    <a:pt x="139" y="8"/>
                  </a:lnTo>
                  <a:lnTo>
                    <a:pt x="141" y="16"/>
                  </a:lnTo>
                  <a:lnTo>
                    <a:pt x="148" y="22"/>
                  </a:lnTo>
                  <a:lnTo>
                    <a:pt x="153" y="27"/>
                  </a:lnTo>
                  <a:lnTo>
                    <a:pt x="149" y="27"/>
                  </a:lnTo>
                  <a:lnTo>
                    <a:pt x="124" y="27"/>
                  </a:lnTo>
                  <a:lnTo>
                    <a:pt x="122" y="31"/>
                  </a:lnTo>
                  <a:lnTo>
                    <a:pt x="124" y="3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3" name="Freeform 790"/>
            <p:cNvSpPr>
              <a:spLocks/>
            </p:cNvSpPr>
            <p:nvPr/>
          </p:nvSpPr>
          <p:spPr bwMode="gray">
            <a:xfrm>
              <a:off x="3454" y="2327"/>
              <a:ext cx="175" cy="147"/>
            </a:xfrm>
            <a:custGeom>
              <a:avLst/>
              <a:gdLst>
                <a:gd name="T0" fmla="*/ 2147483647 w 134"/>
                <a:gd name="T1" fmla="*/ 2147483647 h 113"/>
                <a:gd name="T2" fmla="*/ 2147483647 w 134"/>
                <a:gd name="T3" fmla="*/ 2147483647 h 113"/>
                <a:gd name="T4" fmla="*/ 2147483647 w 134"/>
                <a:gd name="T5" fmla="*/ 2147483647 h 113"/>
                <a:gd name="T6" fmla="*/ 2147483647 w 134"/>
                <a:gd name="T7" fmla="*/ 2147483647 h 113"/>
                <a:gd name="T8" fmla="*/ 2147483647 w 134"/>
                <a:gd name="T9" fmla="*/ 2147483647 h 113"/>
                <a:gd name="T10" fmla="*/ 2147483647 w 134"/>
                <a:gd name="T11" fmla="*/ 2147483647 h 113"/>
                <a:gd name="T12" fmla="*/ 2147483647 w 134"/>
                <a:gd name="T13" fmla="*/ 2147483647 h 113"/>
                <a:gd name="T14" fmla="*/ 0 w 134"/>
                <a:gd name="T15" fmla="*/ 2147483647 h 113"/>
                <a:gd name="T16" fmla="*/ 2147483647 w 134"/>
                <a:gd name="T17" fmla="*/ 2147483647 h 113"/>
                <a:gd name="T18" fmla="*/ 2147483647 w 134"/>
                <a:gd name="T19" fmla="*/ 2147483647 h 113"/>
                <a:gd name="T20" fmla="*/ 2147483647 w 134"/>
                <a:gd name="T21" fmla="*/ 2147483647 h 113"/>
                <a:gd name="T22" fmla="*/ 2147483647 w 134"/>
                <a:gd name="T23" fmla="*/ 2147483647 h 113"/>
                <a:gd name="T24" fmla="*/ 2147483647 w 134"/>
                <a:gd name="T25" fmla="*/ 2147483647 h 113"/>
                <a:gd name="T26" fmla="*/ 2147483647 w 134"/>
                <a:gd name="T27" fmla="*/ 2147483647 h 113"/>
                <a:gd name="T28" fmla="*/ 2147483647 w 134"/>
                <a:gd name="T29" fmla="*/ 2147483647 h 113"/>
                <a:gd name="T30" fmla="*/ 2147483647 w 134"/>
                <a:gd name="T31" fmla="*/ 2147483647 h 113"/>
                <a:gd name="T32" fmla="*/ 2147483647 w 134"/>
                <a:gd name="T33" fmla="*/ 2147483647 h 113"/>
                <a:gd name="T34" fmla="*/ 2147483647 w 134"/>
                <a:gd name="T35" fmla="*/ 2147483647 h 113"/>
                <a:gd name="T36" fmla="*/ 2147483647 w 134"/>
                <a:gd name="T37" fmla="*/ 2147483647 h 113"/>
                <a:gd name="T38" fmla="*/ 2147483647 w 134"/>
                <a:gd name="T39" fmla="*/ 2147483647 h 113"/>
                <a:gd name="T40" fmla="*/ 2147483647 w 134"/>
                <a:gd name="T41" fmla="*/ 0 h 113"/>
                <a:gd name="T42" fmla="*/ 2147483647 w 134"/>
                <a:gd name="T43" fmla="*/ 2147483647 h 113"/>
                <a:gd name="T44" fmla="*/ 2147483647 w 134"/>
                <a:gd name="T45" fmla="*/ 2147483647 h 113"/>
                <a:gd name="T46" fmla="*/ 2147483647 w 134"/>
                <a:gd name="T47" fmla="*/ 2147483647 h 113"/>
                <a:gd name="T48" fmla="*/ 2147483647 w 134"/>
                <a:gd name="T49" fmla="*/ 2147483647 h 113"/>
                <a:gd name="T50" fmla="*/ 2147483647 w 134"/>
                <a:gd name="T51" fmla="*/ 2147483647 h 113"/>
                <a:gd name="T52" fmla="*/ 2147483647 w 134"/>
                <a:gd name="T53" fmla="*/ 2147483647 h 113"/>
                <a:gd name="T54" fmla="*/ 2147483647 w 134"/>
                <a:gd name="T55" fmla="*/ 2147483647 h 113"/>
                <a:gd name="T56" fmla="*/ 2147483647 w 134"/>
                <a:gd name="T57" fmla="*/ 2147483647 h 113"/>
                <a:gd name="T58" fmla="*/ 2147483647 w 134"/>
                <a:gd name="T59" fmla="*/ 2147483647 h 113"/>
                <a:gd name="T60" fmla="*/ 2147483647 w 134"/>
                <a:gd name="T61" fmla="*/ 2147483647 h 113"/>
                <a:gd name="T62" fmla="*/ 2147483647 w 134"/>
                <a:gd name="T63" fmla="*/ 2147483647 h 113"/>
                <a:gd name="T64" fmla="*/ 2147483647 w 134"/>
                <a:gd name="T65" fmla="*/ 2147483647 h 113"/>
                <a:gd name="T66" fmla="*/ 2147483647 w 134"/>
                <a:gd name="T67" fmla="*/ 2147483647 h 113"/>
                <a:gd name="T68" fmla="*/ 2147483647 w 134"/>
                <a:gd name="T69" fmla="*/ 2147483647 h 113"/>
                <a:gd name="T70" fmla="*/ 2147483647 w 134"/>
                <a:gd name="T71" fmla="*/ 2147483647 h 113"/>
                <a:gd name="T72" fmla="*/ 2147483647 w 134"/>
                <a:gd name="T73" fmla="*/ 2147483647 h 113"/>
                <a:gd name="T74" fmla="*/ 2147483647 w 134"/>
                <a:gd name="T75" fmla="*/ 2147483647 h 113"/>
                <a:gd name="T76" fmla="*/ 2147483647 w 134"/>
                <a:gd name="T77" fmla="*/ 2147483647 h 113"/>
                <a:gd name="T78" fmla="*/ 2147483647 w 134"/>
                <a:gd name="T79" fmla="*/ 2147483647 h 113"/>
                <a:gd name="T80" fmla="*/ 2147483647 w 134"/>
                <a:gd name="T81" fmla="*/ 2147483647 h 113"/>
                <a:gd name="T82" fmla="*/ 2147483647 w 134"/>
                <a:gd name="T83" fmla="*/ 2147483647 h 113"/>
                <a:gd name="T84" fmla="*/ 2147483647 w 134"/>
                <a:gd name="T85" fmla="*/ 2147483647 h 113"/>
                <a:gd name="T86" fmla="*/ 2147483647 w 134"/>
                <a:gd name="T87" fmla="*/ 2147483647 h 113"/>
                <a:gd name="T88" fmla="*/ 2147483647 w 134"/>
                <a:gd name="T89" fmla="*/ 2147483647 h 113"/>
                <a:gd name="T90" fmla="*/ 2147483647 w 134"/>
                <a:gd name="T91" fmla="*/ 2147483647 h 1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4"/>
                <a:gd name="T139" fmla="*/ 0 h 113"/>
                <a:gd name="T140" fmla="*/ 134 w 134"/>
                <a:gd name="T141" fmla="*/ 113 h 11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4" h="113">
                  <a:moveTo>
                    <a:pt x="4" y="109"/>
                  </a:moveTo>
                  <a:lnTo>
                    <a:pt x="8" y="101"/>
                  </a:lnTo>
                  <a:lnTo>
                    <a:pt x="13" y="93"/>
                  </a:lnTo>
                  <a:lnTo>
                    <a:pt x="9" y="86"/>
                  </a:lnTo>
                  <a:lnTo>
                    <a:pt x="5" y="90"/>
                  </a:lnTo>
                  <a:lnTo>
                    <a:pt x="2" y="84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8" y="47"/>
                  </a:lnTo>
                  <a:lnTo>
                    <a:pt x="8" y="38"/>
                  </a:lnTo>
                  <a:lnTo>
                    <a:pt x="16" y="40"/>
                  </a:lnTo>
                  <a:lnTo>
                    <a:pt x="21" y="45"/>
                  </a:lnTo>
                  <a:lnTo>
                    <a:pt x="23" y="38"/>
                  </a:lnTo>
                  <a:lnTo>
                    <a:pt x="40" y="27"/>
                  </a:lnTo>
                  <a:lnTo>
                    <a:pt x="44" y="17"/>
                  </a:lnTo>
                  <a:lnTo>
                    <a:pt x="56" y="16"/>
                  </a:lnTo>
                  <a:lnTo>
                    <a:pt x="69" y="19"/>
                  </a:lnTo>
                  <a:lnTo>
                    <a:pt x="76" y="20"/>
                  </a:lnTo>
                  <a:lnTo>
                    <a:pt x="89" y="13"/>
                  </a:lnTo>
                  <a:lnTo>
                    <a:pt x="93" y="7"/>
                  </a:lnTo>
                  <a:lnTo>
                    <a:pt x="99" y="0"/>
                  </a:lnTo>
                  <a:lnTo>
                    <a:pt x="104" y="4"/>
                  </a:lnTo>
                  <a:lnTo>
                    <a:pt x="105" y="14"/>
                  </a:lnTo>
                  <a:lnTo>
                    <a:pt x="104" y="23"/>
                  </a:lnTo>
                  <a:lnTo>
                    <a:pt x="115" y="22"/>
                  </a:lnTo>
                  <a:lnTo>
                    <a:pt x="123" y="15"/>
                  </a:lnTo>
                  <a:lnTo>
                    <a:pt x="129" y="15"/>
                  </a:lnTo>
                  <a:lnTo>
                    <a:pt x="132" y="17"/>
                  </a:lnTo>
                  <a:lnTo>
                    <a:pt x="134" y="20"/>
                  </a:lnTo>
                  <a:lnTo>
                    <a:pt x="130" y="22"/>
                  </a:lnTo>
                  <a:lnTo>
                    <a:pt x="124" y="22"/>
                  </a:lnTo>
                  <a:lnTo>
                    <a:pt x="102" y="32"/>
                  </a:lnTo>
                  <a:lnTo>
                    <a:pt x="106" y="45"/>
                  </a:lnTo>
                  <a:lnTo>
                    <a:pt x="97" y="60"/>
                  </a:lnTo>
                  <a:lnTo>
                    <a:pt x="89" y="59"/>
                  </a:lnTo>
                  <a:lnTo>
                    <a:pt x="80" y="75"/>
                  </a:lnTo>
                  <a:lnTo>
                    <a:pt x="80" y="87"/>
                  </a:lnTo>
                  <a:lnTo>
                    <a:pt x="69" y="85"/>
                  </a:lnTo>
                  <a:lnTo>
                    <a:pt x="63" y="91"/>
                  </a:lnTo>
                  <a:lnTo>
                    <a:pt x="55" y="92"/>
                  </a:lnTo>
                  <a:lnTo>
                    <a:pt x="54" y="99"/>
                  </a:lnTo>
                  <a:lnTo>
                    <a:pt x="54" y="109"/>
                  </a:lnTo>
                  <a:lnTo>
                    <a:pt x="40" y="113"/>
                  </a:lnTo>
                  <a:lnTo>
                    <a:pt x="21" y="111"/>
                  </a:lnTo>
                  <a:lnTo>
                    <a:pt x="16" y="110"/>
                  </a:lnTo>
                  <a:lnTo>
                    <a:pt x="4" y="109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4" name="Freeform 791"/>
            <p:cNvSpPr>
              <a:spLocks/>
            </p:cNvSpPr>
            <p:nvPr/>
          </p:nvSpPr>
          <p:spPr bwMode="gray">
            <a:xfrm>
              <a:off x="4042" y="2606"/>
              <a:ext cx="29" cy="26"/>
            </a:xfrm>
            <a:custGeom>
              <a:avLst/>
              <a:gdLst>
                <a:gd name="T0" fmla="*/ 2147483647 w 22"/>
                <a:gd name="T1" fmla="*/ 2147483647 h 20"/>
                <a:gd name="T2" fmla="*/ 2147483647 w 22"/>
                <a:gd name="T3" fmla="*/ 2147483647 h 20"/>
                <a:gd name="T4" fmla="*/ 2147483647 w 22"/>
                <a:gd name="T5" fmla="*/ 2147483647 h 20"/>
                <a:gd name="T6" fmla="*/ 2147483647 w 22"/>
                <a:gd name="T7" fmla="*/ 2147483647 h 20"/>
                <a:gd name="T8" fmla="*/ 2147483647 w 22"/>
                <a:gd name="T9" fmla="*/ 2147483647 h 20"/>
                <a:gd name="T10" fmla="*/ 0 w 22"/>
                <a:gd name="T11" fmla="*/ 2147483647 h 20"/>
                <a:gd name="T12" fmla="*/ 0 w 22"/>
                <a:gd name="T13" fmla="*/ 2147483647 h 20"/>
                <a:gd name="T14" fmla="*/ 2147483647 w 22"/>
                <a:gd name="T15" fmla="*/ 2147483647 h 20"/>
                <a:gd name="T16" fmla="*/ 2147483647 w 22"/>
                <a:gd name="T17" fmla="*/ 2147483647 h 20"/>
                <a:gd name="T18" fmla="*/ 2147483647 w 22"/>
                <a:gd name="T19" fmla="*/ 0 h 20"/>
                <a:gd name="T20" fmla="*/ 2147483647 w 22"/>
                <a:gd name="T21" fmla="*/ 0 h 20"/>
                <a:gd name="T22" fmla="*/ 2147483647 w 22"/>
                <a:gd name="T23" fmla="*/ 214748364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20"/>
                <a:gd name="T38" fmla="*/ 22 w 22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20">
                  <a:moveTo>
                    <a:pt x="22" y="2"/>
                  </a:moveTo>
                  <a:lnTo>
                    <a:pt x="19" y="6"/>
                  </a:lnTo>
                  <a:lnTo>
                    <a:pt x="17" y="14"/>
                  </a:lnTo>
                  <a:lnTo>
                    <a:pt x="12" y="19"/>
                  </a:lnTo>
                  <a:lnTo>
                    <a:pt x="6" y="20"/>
                  </a:lnTo>
                  <a:lnTo>
                    <a:pt x="0" y="16"/>
                  </a:lnTo>
                  <a:lnTo>
                    <a:pt x="0" y="8"/>
                  </a:lnTo>
                  <a:lnTo>
                    <a:pt x="6" y="2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5" name="Freeform 792"/>
            <p:cNvSpPr>
              <a:spLocks/>
            </p:cNvSpPr>
            <p:nvPr/>
          </p:nvSpPr>
          <p:spPr bwMode="gray">
            <a:xfrm>
              <a:off x="3937" y="2570"/>
              <a:ext cx="89" cy="119"/>
            </a:xfrm>
            <a:custGeom>
              <a:avLst/>
              <a:gdLst>
                <a:gd name="T0" fmla="*/ 2147483647 w 68"/>
                <a:gd name="T1" fmla="*/ 2147483647 h 91"/>
                <a:gd name="T2" fmla="*/ 2147483647 w 68"/>
                <a:gd name="T3" fmla="*/ 2147483647 h 91"/>
                <a:gd name="T4" fmla="*/ 2147483647 w 68"/>
                <a:gd name="T5" fmla="*/ 2147483647 h 91"/>
                <a:gd name="T6" fmla="*/ 2147483647 w 68"/>
                <a:gd name="T7" fmla="*/ 0 h 91"/>
                <a:gd name="T8" fmla="*/ 2147483647 w 68"/>
                <a:gd name="T9" fmla="*/ 2147483647 h 91"/>
                <a:gd name="T10" fmla="*/ 2147483647 w 68"/>
                <a:gd name="T11" fmla="*/ 2147483647 h 91"/>
                <a:gd name="T12" fmla="*/ 2147483647 w 68"/>
                <a:gd name="T13" fmla="*/ 2147483647 h 91"/>
                <a:gd name="T14" fmla="*/ 2147483647 w 68"/>
                <a:gd name="T15" fmla="*/ 2147483647 h 91"/>
                <a:gd name="T16" fmla="*/ 2147483647 w 68"/>
                <a:gd name="T17" fmla="*/ 2147483647 h 91"/>
                <a:gd name="T18" fmla="*/ 2147483647 w 68"/>
                <a:gd name="T19" fmla="*/ 2147483647 h 91"/>
                <a:gd name="T20" fmla="*/ 2147483647 w 68"/>
                <a:gd name="T21" fmla="*/ 2147483647 h 91"/>
                <a:gd name="T22" fmla="*/ 2147483647 w 68"/>
                <a:gd name="T23" fmla="*/ 2147483647 h 91"/>
                <a:gd name="T24" fmla="*/ 2147483647 w 68"/>
                <a:gd name="T25" fmla="*/ 2147483647 h 91"/>
                <a:gd name="T26" fmla="*/ 2147483647 w 68"/>
                <a:gd name="T27" fmla="*/ 2147483647 h 91"/>
                <a:gd name="T28" fmla="*/ 2147483647 w 68"/>
                <a:gd name="T29" fmla="*/ 2147483647 h 91"/>
                <a:gd name="T30" fmla="*/ 2147483647 w 68"/>
                <a:gd name="T31" fmla="*/ 2147483647 h 91"/>
                <a:gd name="T32" fmla="*/ 2147483647 w 68"/>
                <a:gd name="T33" fmla="*/ 2147483647 h 91"/>
                <a:gd name="T34" fmla="*/ 2147483647 w 68"/>
                <a:gd name="T35" fmla="*/ 2147483647 h 91"/>
                <a:gd name="T36" fmla="*/ 2147483647 w 68"/>
                <a:gd name="T37" fmla="*/ 2147483647 h 91"/>
                <a:gd name="T38" fmla="*/ 2147483647 w 68"/>
                <a:gd name="T39" fmla="*/ 2147483647 h 91"/>
                <a:gd name="T40" fmla="*/ 2147483647 w 68"/>
                <a:gd name="T41" fmla="*/ 2147483647 h 91"/>
                <a:gd name="T42" fmla="*/ 2147483647 w 68"/>
                <a:gd name="T43" fmla="*/ 2147483647 h 91"/>
                <a:gd name="T44" fmla="*/ 2147483647 w 68"/>
                <a:gd name="T45" fmla="*/ 2147483647 h 91"/>
                <a:gd name="T46" fmla="*/ 2147483647 w 68"/>
                <a:gd name="T47" fmla="*/ 2147483647 h 91"/>
                <a:gd name="T48" fmla="*/ 2147483647 w 68"/>
                <a:gd name="T49" fmla="*/ 2147483647 h 91"/>
                <a:gd name="T50" fmla="*/ 2147483647 w 68"/>
                <a:gd name="T51" fmla="*/ 2147483647 h 91"/>
                <a:gd name="T52" fmla="*/ 2147483647 w 68"/>
                <a:gd name="T53" fmla="*/ 2147483647 h 91"/>
                <a:gd name="T54" fmla="*/ 2147483647 w 68"/>
                <a:gd name="T55" fmla="*/ 2147483647 h 91"/>
                <a:gd name="T56" fmla="*/ 2147483647 w 68"/>
                <a:gd name="T57" fmla="*/ 2147483647 h 91"/>
                <a:gd name="T58" fmla="*/ 2147483647 w 68"/>
                <a:gd name="T59" fmla="*/ 2147483647 h 91"/>
                <a:gd name="T60" fmla="*/ 2147483647 w 68"/>
                <a:gd name="T61" fmla="*/ 2147483647 h 91"/>
                <a:gd name="T62" fmla="*/ 2147483647 w 68"/>
                <a:gd name="T63" fmla="*/ 2147483647 h 91"/>
                <a:gd name="T64" fmla="*/ 2147483647 w 68"/>
                <a:gd name="T65" fmla="*/ 2147483647 h 91"/>
                <a:gd name="T66" fmla="*/ 2147483647 w 68"/>
                <a:gd name="T67" fmla="*/ 2147483647 h 91"/>
                <a:gd name="T68" fmla="*/ 2147483647 w 68"/>
                <a:gd name="T69" fmla="*/ 2147483647 h 91"/>
                <a:gd name="T70" fmla="*/ 0 w 68"/>
                <a:gd name="T71" fmla="*/ 2147483647 h 91"/>
                <a:gd name="T72" fmla="*/ 2147483647 w 68"/>
                <a:gd name="T73" fmla="*/ 2147483647 h 91"/>
                <a:gd name="T74" fmla="*/ 2147483647 w 68"/>
                <a:gd name="T75" fmla="*/ 2147483647 h 91"/>
                <a:gd name="T76" fmla="*/ 2147483647 w 68"/>
                <a:gd name="T77" fmla="*/ 2147483647 h 9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8"/>
                <a:gd name="T118" fmla="*/ 0 h 91"/>
                <a:gd name="T119" fmla="*/ 68 w 68"/>
                <a:gd name="T120" fmla="*/ 91 h 9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8" h="91">
                  <a:moveTo>
                    <a:pt x="10" y="16"/>
                  </a:moveTo>
                  <a:lnTo>
                    <a:pt x="15" y="18"/>
                  </a:lnTo>
                  <a:lnTo>
                    <a:pt x="13" y="6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6" y="19"/>
                  </a:lnTo>
                  <a:lnTo>
                    <a:pt x="36" y="20"/>
                  </a:lnTo>
                  <a:lnTo>
                    <a:pt x="44" y="26"/>
                  </a:lnTo>
                  <a:lnTo>
                    <a:pt x="43" y="42"/>
                  </a:lnTo>
                  <a:lnTo>
                    <a:pt x="50" y="54"/>
                  </a:lnTo>
                  <a:lnTo>
                    <a:pt x="61" y="65"/>
                  </a:lnTo>
                  <a:lnTo>
                    <a:pt x="62" y="70"/>
                  </a:lnTo>
                  <a:lnTo>
                    <a:pt x="68" y="72"/>
                  </a:lnTo>
                  <a:lnTo>
                    <a:pt x="68" y="90"/>
                  </a:lnTo>
                  <a:lnTo>
                    <a:pt x="64" y="90"/>
                  </a:lnTo>
                  <a:lnTo>
                    <a:pt x="60" y="84"/>
                  </a:lnTo>
                  <a:lnTo>
                    <a:pt x="57" y="86"/>
                  </a:lnTo>
                  <a:lnTo>
                    <a:pt x="55" y="91"/>
                  </a:lnTo>
                  <a:lnTo>
                    <a:pt x="46" y="90"/>
                  </a:lnTo>
                  <a:lnTo>
                    <a:pt x="49" y="76"/>
                  </a:lnTo>
                  <a:lnTo>
                    <a:pt x="48" y="71"/>
                  </a:lnTo>
                  <a:lnTo>
                    <a:pt x="39" y="59"/>
                  </a:lnTo>
                  <a:lnTo>
                    <a:pt x="36" y="47"/>
                  </a:lnTo>
                  <a:lnTo>
                    <a:pt x="32" y="46"/>
                  </a:lnTo>
                  <a:lnTo>
                    <a:pt x="27" y="51"/>
                  </a:lnTo>
                  <a:lnTo>
                    <a:pt x="23" y="51"/>
                  </a:lnTo>
                  <a:lnTo>
                    <a:pt x="20" y="47"/>
                  </a:lnTo>
                  <a:lnTo>
                    <a:pt x="15" y="47"/>
                  </a:lnTo>
                  <a:lnTo>
                    <a:pt x="8" y="55"/>
                  </a:lnTo>
                  <a:lnTo>
                    <a:pt x="5" y="51"/>
                  </a:lnTo>
                  <a:lnTo>
                    <a:pt x="6" y="47"/>
                  </a:lnTo>
                  <a:lnTo>
                    <a:pt x="8" y="35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6" y="15"/>
                  </a:lnTo>
                  <a:lnTo>
                    <a:pt x="9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6" name="Freeform 793"/>
            <p:cNvSpPr>
              <a:spLocks/>
            </p:cNvSpPr>
            <p:nvPr/>
          </p:nvSpPr>
          <p:spPr bwMode="gray">
            <a:xfrm>
              <a:off x="3937" y="2795"/>
              <a:ext cx="52" cy="71"/>
            </a:xfrm>
            <a:custGeom>
              <a:avLst/>
              <a:gdLst>
                <a:gd name="T0" fmla="*/ 2147483647 w 39"/>
                <a:gd name="T1" fmla="*/ 2147483647 h 55"/>
                <a:gd name="T2" fmla="*/ 2147483647 w 39"/>
                <a:gd name="T3" fmla="*/ 2147483647 h 55"/>
                <a:gd name="T4" fmla="*/ 2147483647 w 39"/>
                <a:gd name="T5" fmla="*/ 2147483647 h 55"/>
                <a:gd name="T6" fmla="*/ 2147483647 w 39"/>
                <a:gd name="T7" fmla="*/ 2147483647 h 55"/>
                <a:gd name="T8" fmla="*/ 2147483647 w 39"/>
                <a:gd name="T9" fmla="*/ 2147483647 h 55"/>
                <a:gd name="T10" fmla="*/ 2147483647 w 39"/>
                <a:gd name="T11" fmla="*/ 2147483647 h 55"/>
                <a:gd name="T12" fmla="*/ 2147483647 w 39"/>
                <a:gd name="T13" fmla="*/ 2147483647 h 55"/>
                <a:gd name="T14" fmla="*/ 2147483647 w 39"/>
                <a:gd name="T15" fmla="*/ 2147483647 h 55"/>
                <a:gd name="T16" fmla="*/ 2147483647 w 39"/>
                <a:gd name="T17" fmla="*/ 2147483647 h 55"/>
                <a:gd name="T18" fmla="*/ 2147483647 w 39"/>
                <a:gd name="T19" fmla="*/ 2147483647 h 55"/>
                <a:gd name="T20" fmla="*/ 2147483647 w 39"/>
                <a:gd name="T21" fmla="*/ 2147483647 h 55"/>
                <a:gd name="T22" fmla="*/ 2147483647 w 39"/>
                <a:gd name="T23" fmla="*/ 2147483647 h 55"/>
                <a:gd name="T24" fmla="*/ 2147483647 w 39"/>
                <a:gd name="T25" fmla="*/ 2147483647 h 55"/>
                <a:gd name="T26" fmla="*/ 2147483647 w 39"/>
                <a:gd name="T27" fmla="*/ 2147483647 h 55"/>
                <a:gd name="T28" fmla="*/ 2147483647 w 39"/>
                <a:gd name="T29" fmla="*/ 2147483647 h 55"/>
                <a:gd name="T30" fmla="*/ 0 w 39"/>
                <a:gd name="T31" fmla="*/ 2147483647 h 55"/>
                <a:gd name="T32" fmla="*/ 2147483647 w 39"/>
                <a:gd name="T33" fmla="*/ 0 h 55"/>
                <a:gd name="T34" fmla="*/ 2147483647 w 39"/>
                <a:gd name="T35" fmla="*/ 2147483647 h 55"/>
                <a:gd name="T36" fmla="*/ 2147483647 w 39"/>
                <a:gd name="T37" fmla="*/ 2147483647 h 55"/>
                <a:gd name="T38" fmla="*/ 2147483647 w 39"/>
                <a:gd name="T39" fmla="*/ 214748364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9"/>
                <a:gd name="T61" fmla="*/ 0 h 55"/>
                <a:gd name="T62" fmla="*/ 39 w 39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9" h="55">
                  <a:moveTo>
                    <a:pt x="23" y="7"/>
                  </a:moveTo>
                  <a:lnTo>
                    <a:pt x="29" y="19"/>
                  </a:lnTo>
                  <a:lnTo>
                    <a:pt x="30" y="33"/>
                  </a:lnTo>
                  <a:lnTo>
                    <a:pt x="33" y="38"/>
                  </a:lnTo>
                  <a:lnTo>
                    <a:pt x="37" y="45"/>
                  </a:lnTo>
                  <a:lnTo>
                    <a:pt x="39" y="55"/>
                  </a:lnTo>
                  <a:lnTo>
                    <a:pt x="33" y="53"/>
                  </a:lnTo>
                  <a:lnTo>
                    <a:pt x="27" y="51"/>
                  </a:lnTo>
                  <a:lnTo>
                    <a:pt x="21" y="43"/>
                  </a:lnTo>
                  <a:lnTo>
                    <a:pt x="18" y="43"/>
                  </a:lnTo>
                  <a:lnTo>
                    <a:pt x="13" y="39"/>
                  </a:lnTo>
                  <a:lnTo>
                    <a:pt x="9" y="32"/>
                  </a:lnTo>
                  <a:lnTo>
                    <a:pt x="8" y="25"/>
                  </a:lnTo>
                  <a:lnTo>
                    <a:pt x="2" y="14"/>
                  </a:lnTo>
                  <a:lnTo>
                    <a:pt x="2" y="6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5"/>
                  </a:lnTo>
                  <a:lnTo>
                    <a:pt x="15" y="8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7" name="Freeform 794"/>
            <p:cNvSpPr>
              <a:spLocks/>
            </p:cNvSpPr>
            <p:nvPr/>
          </p:nvSpPr>
          <p:spPr bwMode="gray">
            <a:xfrm>
              <a:off x="3965" y="2680"/>
              <a:ext cx="64" cy="63"/>
            </a:xfrm>
            <a:custGeom>
              <a:avLst/>
              <a:gdLst>
                <a:gd name="T0" fmla="*/ 2147483647 w 49"/>
                <a:gd name="T1" fmla="*/ 2147483647 h 48"/>
                <a:gd name="T2" fmla="*/ 2147483647 w 49"/>
                <a:gd name="T3" fmla="*/ 2147483647 h 48"/>
                <a:gd name="T4" fmla="*/ 2147483647 w 49"/>
                <a:gd name="T5" fmla="*/ 2147483647 h 48"/>
                <a:gd name="T6" fmla="*/ 2147483647 w 49"/>
                <a:gd name="T7" fmla="*/ 2147483647 h 48"/>
                <a:gd name="T8" fmla="*/ 2147483647 w 49"/>
                <a:gd name="T9" fmla="*/ 2147483647 h 48"/>
                <a:gd name="T10" fmla="*/ 2147483647 w 49"/>
                <a:gd name="T11" fmla="*/ 2147483647 h 48"/>
                <a:gd name="T12" fmla="*/ 2147483647 w 49"/>
                <a:gd name="T13" fmla="*/ 2147483647 h 48"/>
                <a:gd name="T14" fmla="*/ 2147483647 w 49"/>
                <a:gd name="T15" fmla="*/ 2147483647 h 48"/>
                <a:gd name="T16" fmla="*/ 2147483647 w 49"/>
                <a:gd name="T17" fmla="*/ 2147483647 h 48"/>
                <a:gd name="T18" fmla="*/ 2147483647 w 49"/>
                <a:gd name="T19" fmla="*/ 2147483647 h 48"/>
                <a:gd name="T20" fmla="*/ 2147483647 w 49"/>
                <a:gd name="T21" fmla="*/ 2147483647 h 48"/>
                <a:gd name="T22" fmla="*/ 2147483647 w 49"/>
                <a:gd name="T23" fmla="*/ 2147483647 h 48"/>
                <a:gd name="T24" fmla="*/ 2147483647 w 49"/>
                <a:gd name="T25" fmla="*/ 2147483647 h 48"/>
                <a:gd name="T26" fmla="*/ 2147483647 w 49"/>
                <a:gd name="T27" fmla="*/ 2147483647 h 48"/>
                <a:gd name="T28" fmla="*/ 0 w 49"/>
                <a:gd name="T29" fmla="*/ 2147483647 h 48"/>
                <a:gd name="T30" fmla="*/ 0 w 49"/>
                <a:gd name="T31" fmla="*/ 2147483647 h 48"/>
                <a:gd name="T32" fmla="*/ 2147483647 w 49"/>
                <a:gd name="T33" fmla="*/ 2147483647 h 48"/>
                <a:gd name="T34" fmla="*/ 2147483647 w 49"/>
                <a:gd name="T35" fmla="*/ 2147483647 h 48"/>
                <a:gd name="T36" fmla="*/ 2147483647 w 49"/>
                <a:gd name="T37" fmla="*/ 2147483647 h 48"/>
                <a:gd name="T38" fmla="*/ 2147483647 w 49"/>
                <a:gd name="T39" fmla="*/ 2147483647 h 48"/>
                <a:gd name="T40" fmla="*/ 2147483647 w 49"/>
                <a:gd name="T41" fmla="*/ 2147483647 h 48"/>
                <a:gd name="T42" fmla="*/ 2147483647 w 49"/>
                <a:gd name="T43" fmla="*/ 2147483647 h 48"/>
                <a:gd name="T44" fmla="*/ 2147483647 w 49"/>
                <a:gd name="T45" fmla="*/ 0 h 48"/>
                <a:gd name="T46" fmla="*/ 2147483647 w 49"/>
                <a:gd name="T47" fmla="*/ 2147483647 h 48"/>
                <a:gd name="T48" fmla="*/ 2147483647 w 49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8"/>
                <a:gd name="T77" fmla="*/ 49 w 49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8">
                  <a:moveTo>
                    <a:pt x="47" y="6"/>
                  </a:moveTo>
                  <a:lnTo>
                    <a:pt x="49" y="17"/>
                  </a:lnTo>
                  <a:lnTo>
                    <a:pt x="45" y="29"/>
                  </a:lnTo>
                  <a:lnTo>
                    <a:pt x="34" y="29"/>
                  </a:lnTo>
                  <a:lnTo>
                    <a:pt x="31" y="32"/>
                  </a:lnTo>
                  <a:lnTo>
                    <a:pt x="32" y="38"/>
                  </a:lnTo>
                  <a:lnTo>
                    <a:pt x="24" y="43"/>
                  </a:lnTo>
                  <a:lnTo>
                    <a:pt x="20" y="45"/>
                  </a:lnTo>
                  <a:lnTo>
                    <a:pt x="19" y="48"/>
                  </a:lnTo>
                  <a:lnTo>
                    <a:pt x="13" y="48"/>
                  </a:lnTo>
                  <a:lnTo>
                    <a:pt x="7" y="44"/>
                  </a:lnTo>
                  <a:lnTo>
                    <a:pt x="4" y="36"/>
                  </a:lnTo>
                  <a:lnTo>
                    <a:pt x="1" y="30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4" y="9"/>
                  </a:lnTo>
                  <a:lnTo>
                    <a:pt x="5" y="3"/>
                  </a:lnTo>
                  <a:lnTo>
                    <a:pt x="11" y="2"/>
                  </a:lnTo>
                  <a:lnTo>
                    <a:pt x="25" y="6"/>
                  </a:lnTo>
                  <a:lnTo>
                    <a:pt x="34" y="7"/>
                  </a:lnTo>
                  <a:lnTo>
                    <a:pt x="36" y="2"/>
                  </a:lnTo>
                  <a:lnTo>
                    <a:pt x="39" y="0"/>
                  </a:lnTo>
                  <a:lnTo>
                    <a:pt x="43" y="6"/>
                  </a:lnTo>
                  <a:lnTo>
                    <a:pt x="47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8" name="Freeform 795"/>
            <p:cNvSpPr>
              <a:spLocks/>
            </p:cNvSpPr>
            <p:nvPr/>
          </p:nvSpPr>
          <p:spPr bwMode="gray">
            <a:xfrm>
              <a:off x="3965" y="2558"/>
              <a:ext cx="83" cy="209"/>
            </a:xfrm>
            <a:custGeom>
              <a:avLst/>
              <a:gdLst>
                <a:gd name="T0" fmla="*/ 2147483647 w 64"/>
                <a:gd name="T1" fmla="*/ 2147483647 h 160"/>
                <a:gd name="T2" fmla="*/ 2147483647 w 64"/>
                <a:gd name="T3" fmla="*/ 2147483647 h 160"/>
                <a:gd name="T4" fmla="*/ 2147483647 w 64"/>
                <a:gd name="T5" fmla="*/ 2147483647 h 160"/>
                <a:gd name="T6" fmla="*/ 2147483647 w 64"/>
                <a:gd name="T7" fmla="*/ 2147483647 h 160"/>
                <a:gd name="T8" fmla="*/ 2147483647 w 64"/>
                <a:gd name="T9" fmla="*/ 2147483647 h 160"/>
                <a:gd name="T10" fmla="*/ 2147483647 w 64"/>
                <a:gd name="T11" fmla="*/ 2147483647 h 160"/>
                <a:gd name="T12" fmla="*/ 2147483647 w 64"/>
                <a:gd name="T13" fmla="*/ 2147483647 h 160"/>
                <a:gd name="T14" fmla="*/ 2147483647 w 64"/>
                <a:gd name="T15" fmla="*/ 2147483647 h 160"/>
                <a:gd name="T16" fmla="*/ 2147483647 w 64"/>
                <a:gd name="T17" fmla="*/ 2147483647 h 160"/>
                <a:gd name="T18" fmla="*/ 2147483647 w 64"/>
                <a:gd name="T19" fmla="*/ 2147483647 h 160"/>
                <a:gd name="T20" fmla="*/ 2147483647 w 64"/>
                <a:gd name="T21" fmla="*/ 2147483647 h 160"/>
                <a:gd name="T22" fmla="*/ 2147483647 w 64"/>
                <a:gd name="T23" fmla="*/ 2147483647 h 160"/>
                <a:gd name="T24" fmla="*/ 2147483647 w 64"/>
                <a:gd name="T25" fmla="*/ 2147483647 h 160"/>
                <a:gd name="T26" fmla="*/ 2147483647 w 64"/>
                <a:gd name="T27" fmla="*/ 2147483647 h 160"/>
                <a:gd name="T28" fmla="*/ 2147483647 w 64"/>
                <a:gd name="T29" fmla="*/ 2147483647 h 160"/>
                <a:gd name="T30" fmla="*/ 2147483647 w 64"/>
                <a:gd name="T31" fmla="*/ 2147483647 h 160"/>
                <a:gd name="T32" fmla="*/ 2147483647 w 64"/>
                <a:gd name="T33" fmla="*/ 2147483647 h 160"/>
                <a:gd name="T34" fmla="*/ 2147483647 w 64"/>
                <a:gd name="T35" fmla="*/ 2147483647 h 160"/>
                <a:gd name="T36" fmla="*/ 2147483647 w 64"/>
                <a:gd name="T37" fmla="*/ 2147483647 h 160"/>
                <a:gd name="T38" fmla="*/ 2147483647 w 64"/>
                <a:gd name="T39" fmla="*/ 2147483647 h 160"/>
                <a:gd name="T40" fmla="*/ 2147483647 w 64"/>
                <a:gd name="T41" fmla="*/ 2147483647 h 160"/>
                <a:gd name="T42" fmla="*/ 2147483647 w 64"/>
                <a:gd name="T43" fmla="*/ 2147483647 h 160"/>
                <a:gd name="T44" fmla="*/ 2147483647 w 64"/>
                <a:gd name="T45" fmla="*/ 2147483647 h 160"/>
                <a:gd name="T46" fmla="*/ 2147483647 w 64"/>
                <a:gd name="T47" fmla="*/ 2147483647 h 160"/>
                <a:gd name="T48" fmla="*/ 2147483647 w 64"/>
                <a:gd name="T49" fmla="*/ 2147483647 h 160"/>
                <a:gd name="T50" fmla="*/ 2147483647 w 64"/>
                <a:gd name="T51" fmla="*/ 2147483647 h 160"/>
                <a:gd name="T52" fmla="*/ 2147483647 w 64"/>
                <a:gd name="T53" fmla="*/ 2147483647 h 160"/>
                <a:gd name="T54" fmla="*/ 2147483647 w 64"/>
                <a:gd name="T55" fmla="*/ 2147483647 h 160"/>
                <a:gd name="T56" fmla="*/ 2147483647 w 64"/>
                <a:gd name="T57" fmla="*/ 2147483647 h 160"/>
                <a:gd name="T58" fmla="*/ 2147483647 w 64"/>
                <a:gd name="T59" fmla="*/ 2147483647 h 160"/>
                <a:gd name="T60" fmla="*/ 2147483647 w 64"/>
                <a:gd name="T61" fmla="*/ 2147483647 h 160"/>
                <a:gd name="T62" fmla="*/ 2147483647 w 64"/>
                <a:gd name="T63" fmla="*/ 2147483647 h 160"/>
                <a:gd name="T64" fmla="*/ 2147483647 w 64"/>
                <a:gd name="T65" fmla="*/ 2147483647 h 160"/>
                <a:gd name="T66" fmla="*/ 2147483647 w 64"/>
                <a:gd name="T67" fmla="*/ 2147483647 h 160"/>
                <a:gd name="T68" fmla="*/ 2147483647 w 64"/>
                <a:gd name="T69" fmla="*/ 2147483647 h 160"/>
                <a:gd name="T70" fmla="*/ 2147483647 w 64"/>
                <a:gd name="T71" fmla="*/ 2147483647 h 160"/>
                <a:gd name="T72" fmla="*/ 2147483647 w 64"/>
                <a:gd name="T73" fmla="*/ 2147483647 h 160"/>
                <a:gd name="T74" fmla="*/ 2147483647 w 64"/>
                <a:gd name="T75" fmla="*/ 2147483647 h 160"/>
                <a:gd name="T76" fmla="*/ 2147483647 w 64"/>
                <a:gd name="T77" fmla="*/ 2147483647 h 160"/>
                <a:gd name="T78" fmla="*/ 2147483647 w 64"/>
                <a:gd name="T79" fmla="*/ 2147483647 h 160"/>
                <a:gd name="T80" fmla="*/ 2147483647 w 64"/>
                <a:gd name="T81" fmla="*/ 2147483647 h 160"/>
                <a:gd name="T82" fmla="*/ 2147483647 w 64"/>
                <a:gd name="T83" fmla="*/ 2147483647 h 160"/>
                <a:gd name="T84" fmla="*/ 0 w 64"/>
                <a:gd name="T85" fmla="*/ 2147483647 h 160"/>
                <a:gd name="T86" fmla="*/ 2147483647 w 64"/>
                <a:gd name="T87" fmla="*/ 2147483647 h 160"/>
                <a:gd name="T88" fmla="*/ 2147483647 w 64"/>
                <a:gd name="T89" fmla="*/ 2147483647 h 160"/>
                <a:gd name="T90" fmla="*/ 2147483647 w 64"/>
                <a:gd name="T91" fmla="*/ 2147483647 h 160"/>
                <a:gd name="T92" fmla="*/ 2147483647 w 64"/>
                <a:gd name="T93" fmla="*/ 0 h 160"/>
                <a:gd name="T94" fmla="*/ 2147483647 w 64"/>
                <a:gd name="T95" fmla="*/ 2147483647 h 160"/>
                <a:gd name="T96" fmla="*/ 2147483647 w 64"/>
                <a:gd name="T97" fmla="*/ 2147483647 h 160"/>
                <a:gd name="T98" fmla="*/ 2147483647 w 64"/>
                <a:gd name="T99" fmla="*/ 2147483647 h 160"/>
                <a:gd name="T100" fmla="*/ 2147483647 w 64"/>
                <a:gd name="T101" fmla="*/ 2147483647 h 160"/>
                <a:gd name="T102" fmla="*/ 2147483647 w 64"/>
                <a:gd name="T103" fmla="*/ 2147483647 h 160"/>
                <a:gd name="T104" fmla="*/ 2147483647 w 64"/>
                <a:gd name="T105" fmla="*/ 2147483647 h 160"/>
                <a:gd name="T106" fmla="*/ 2147483647 w 64"/>
                <a:gd name="T107" fmla="*/ 2147483647 h 16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4"/>
                <a:gd name="T163" fmla="*/ 0 h 160"/>
                <a:gd name="T164" fmla="*/ 64 w 64"/>
                <a:gd name="T165" fmla="*/ 160 h 16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4" h="160">
                  <a:moveTo>
                    <a:pt x="54" y="22"/>
                  </a:moveTo>
                  <a:lnTo>
                    <a:pt x="50" y="25"/>
                  </a:lnTo>
                  <a:lnTo>
                    <a:pt x="43" y="29"/>
                  </a:lnTo>
                  <a:lnTo>
                    <a:pt x="37" y="38"/>
                  </a:lnTo>
                  <a:lnTo>
                    <a:pt x="34" y="40"/>
                  </a:lnTo>
                  <a:lnTo>
                    <a:pt x="31" y="44"/>
                  </a:lnTo>
                  <a:lnTo>
                    <a:pt x="32" y="56"/>
                  </a:lnTo>
                  <a:lnTo>
                    <a:pt x="36" y="59"/>
                  </a:lnTo>
                  <a:lnTo>
                    <a:pt x="45" y="73"/>
                  </a:lnTo>
                  <a:lnTo>
                    <a:pt x="49" y="75"/>
                  </a:lnTo>
                  <a:lnTo>
                    <a:pt x="55" y="83"/>
                  </a:lnTo>
                  <a:lnTo>
                    <a:pt x="62" y="94"/>
                  </a:lnTo>
                  <a:lnTo>
                    <a:pt x="64" y="113"/>
                  </a:lnTo>
                  <a:lnTo>
                    <a:pt x="62" y="123"/>
                  </a:lnTo>
                  <a:lnTo>
                    <a:pt x="61" y="130"/>
                  </a:lnTo>
                  <a:lnTo>
                    <a:pt x="52" y="137"/>
                  </a:lnTo>
                  <a:lnTo>
                    <a:pt x="43" y="140"/>
                  </a:lnTo>
                  <a:lnTo>
                    <a:pt x="41" y="144"/>
                  </a:lnTo>
                  <a:lnTo>
                    <a:pt x="37" y="150"/>
                  </a:lnTo>
                  <a:lnTo>
                    <a:pt x="33" y="152"/>
                  </a:lnTo>
                  <a:lnTo>
                    <a:pt x="24" y="160"/>
                  </a:lnTo>
                  <a:lnTo>
                    <a:pt x="22" y="159"/>
                  </a:lnTo>
                  <a:lnTo>
                    <a:pt x="22" y="144"/>
                  </a:lnTo>
                  <a:lnTo>
                    <a:pt x="19" y="141"/>
                  </a:lnTo>
                  <a:lnTo>
                    <a:pt x="20" y="138"/>
                  </a:lnTo>
                  <a:lnTo>
                    <a:pt x="24" y="136"/>
                  </a:lnTo>
                  <a:lnTo>
                    <a:pt x="32" y="131"/>
                  </a:lnTo>
                  <a:lnTo>
                    <a:pt x="31" y="125"/>
                  </a:lnTo>
                  <a:lnTo>
                    <a:pt x="34" y="122"/>
                  </a:lnTo>
                  <a:lnTo>
                    <a:pt x="45" y="122"/>
                  </a:lnTo>
                  <a:lnTo>
                    <a:pt x="49" y="110"/>
                  </a:lnTo>
                  <a:lnTo>
                    <a:pt x="47" y="99"/>
                  </a:lnTo>
                  <a:lnTo>
                    <a:pt x="47" y="81"/>
                  </a:lnTo>
                  <a:lnTo>
                    <a:pt x="41" y="79"/>
                  </a:lnTo>
                  <a:lnTo>
                    <a:pt x="40" y="74"/>
                  </a:lnTo>
                  <a:lnTo>
                    <a:pt x="29" y="63"/>
                  </a:lnTo>
                  <a:lnTo>
                    <a:pt x="22" y="51"/>
                  </a:lnTo>
                  <a:lnTo>
                    <a:pt x="23" y="35"/>
                  </a:lnTo>
                  <a:lnTo>
                    <a:pt x="15" y="29"/>
                  </a:lnTo>
                  <a:lnTo>
                    <a:pt x="5" y="28"/>
                  </a:lnTo>
                  <a:lnTo>
                    <a:pt x="5" y="19"/>
                  </a:lnTo>
                  <a:lnTo>
                    <a:pt x="1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9" y="8"/>
                  </a:lnTo>
                  <a:lnTo>
                    <a:pt x="20" y="9"/>
                  </a:lnTo>
                  <a:lnTo>
                    <a:pt x="25" y="0"/>
                  </a:lnTo>
                  <a:lnTo>
                    <a:pt x="30" y="5"/>
                  </a:lnTo>
                  <a:lnTo>
                    <a:pt x="40" y="5"/>
                  </a:lnTo>
                  <a:lnTo>
                    <a:pt x="41" y="9"/>
                  </a:lnTo>
                  <a:lnTo>
                    <a:pt x="40" y="15"/>
                  </a:lnTo>
                  <a:lnTo>
                    <a:pt x="45" y="20"/>
                  </a:lnTo>
                  <a:lnTo>
                    <a:pt x="51" y="19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599" name="Freeform 796"/>
            <p:cNvSpPr>
              <a:spLocks/>
            </p:cNvSpPr>
            <p:nvPr/>
          </p:nvSpPr>
          <p:spPr bwMode="gray">
            <a:xfrm>
              <a:off x="3908" y="2601"/>
              <a:ext cx="93" cy="204"/>
            </a:xfrm>
            <a:custGeom>
              <a:avLst/>
              <a:gdLst>
                <a:gd name="T0" fmla="*/ 2147483647 w 72"/>
                <a:gd name="T1" fmla="*/ 0 h 156"/>
                <a:gd name="T2" fmla="*/ 2147483647 w 72"/>
                <a:gd name="T3" fmla="*/ 2147483647 h 156"/>
                <a:gd name="T4" fmla="*/ 2147483647 w 72"/>
                <a:gd name="T5" fmla="*/ 2147483647 h 156"/>
                <a:gd name="T6" fmla="*/ 2147483647 w 72"/>
                <a:gd name="T7" fmla="*/ 2147483647 h 156"/>
                <a:gd name="T8" fmla="*/ 2147483647 w 72"/>
                <a:gd name="T9" fmla="*/ 2147483647 h 156"/>
                <a:gd name="T10" fmla="*/ 2147483647 w 72"/>
                <a:gd name="T11" fmla="*/ 2147483647 h 156"/>
                <a:gd name="T12" fmla="*/ 2147483647 w 72"/>
                <a:gd name="T13" fmla="*/ 2147483647 h 156"/>
                <a:gd name="T14" fmla="*/ 2147483647 w 72"/>
                <a:gd name="T15" fmla="*/ 2147483647 h 156"/>
                <a:gd name="T16" fmla="*/ 2147483647 w 72"/>
                <a:gd name="T17" fmla="*/ 2147483647 h 156"/>
                <a:gd name="T18" fmla="*/ 2147483647 w 72"/>
                <a:gd name="T19" fmla="*/ 2147483647 h 156"/>
                <a:gd name="T20" fmla="*/ 2147483647 w 72"/>
                <a:gd name="T21" fmla="*/ 2147483647 h 156"/>
                <a:gd name="T22" fmla="*/ 2147483647 w 72"/>
                <a:gd name="T23" fmla="*/ 2147483647 h 156"/>
                <a:gd name="T24" fmla="*/ 2147483647 w 72"/>
                <a:gd name="T25" fmla="*/ 2147483647 h 156"/>
                <a:gd name="T26" fmla="*/ 2147483647 w 72"/>
                <a:gd name="T27" fmla="*/ 2147483647 h 156"/>
                <a:gd name="T28" fmla="*/ 2147483647 w 72"/>
                <a:gd name="T29" fmla="*/ 2147483647 h 156"/>
                <a:gd name="T30" fmla="*/ 2147483647 w 72"/>
                <a:gd name="T31" fmla="*/ 2147483647 h 156"/>
                <a:gd name="T32" fmla="*/ 2147483647 w 72"/>
                <a:gd name="T33" fmla="*/ 2147483647 h 156"/>
                <a:gd name="T34" fmla="*/ 2147483647 w 72"/>
                <a:gd name="T35" fmla="*/ 2147483647 h 156"/>
                <a:gd name="T36" fmla="*/ 2147483647 w 72"/>
                <a:gd name="T37" fmla="*/ 2147483647 h 156"/>
                <a:gd name="T38" fmla="*/ 2147483647 w 72"/>
                <a:gd name="T39" fmla="*/ 2147483647 h 156"/>
                <a:gd name="T40" fmla="*/ 2147483647 w 72"/>
                <a:gd name="T41" fmla="*/ 2147483647 h 156"/>
                <a:gd name="T42" fmla="*/ 2147483647 w 72"/>
                <a:gd name="T43" fmla="*/ 2147483647 h 156"/>
                <a:gd name="T44" fmla="*/ 2147483647 w 72"/>
                <a:gd name="T45" fmla="*/ 2147483647 h 156"/>
                <a:gd name="T46" fmla="*/ 2147483647 w 72"/>
                <a:gd name="T47" fmla="*/ 2147483647 h 156"/>
                <a:gd name="T48" fmla="*/ 2147483647 w 72"/>
                <a:gd name="T49" fmla="*/ 2147483647 h 156"/>
                <a:gd name="T50" fmla="*/ 2147483647 w 72"/>
                <a:gd name="T51" fmla="*/ 2147483647 h 156"/>
                <a:gd name="T52" fmla="*/ 2147483647 w 72"/>
                <a:gd name="T53" fmla="*/ 2147483647 h 156"/>
                <a:gd name="T54" fmla="*/ 2147483647 w 72"/>
                <a:gd name="T55" fmla="*/ 2147483647 h 156"/>
                <a:gd name="T56" fmla="*/ 2147483647 w 72"/>
                <a:gd name="T57" fmla="*/ 2147483647 h 156"/>
                <a:gd name="T58" fmla="*/ 2147483647 w 72"/>
                <a:gd name="T59" fmla="*/ 2147483647 h 156"/>
                <a:gd name="T60" fmla="*/ 2147483647 w 72"/>
                <a:gd name="T61" fmla="*/ 2147483647 h 156"/>
                <a:gd name="T62" fmla="*/ 2147483647 w 72"/>
                <a:gd name="T63" fmla="*/ 2147483647 h 156"/>
                <a:gd name="T64" fmla="*/ 2147483647 w 72"/>
                <a:gd name="T65" fmla="*/ 2147483647 h 156"/>
                <a:gd name="T66" fmla="*/ 2147483647 w 72"/>
                <a:gd name="T67" fmla="*/ 2147483647 h 156"/>
                <a:gd name="T68" fmla="*/ 2147483647 w 72"/>
                <a:gd name="T69" fmla="*/ 2147483647 h 156"/>
                <a:gd name="T70" fmla="*/ 2147483647 w 72"/>
                <a:gd name="T71" fmla="*/ 2147483647 h 156"/>
                <a:gd name="T72" fmla="*/ 2147483647 w 72"/>
                <a:gd name="T73" fmla="*/ 2147483647 h 156"/>
                <a:gd name="T74" fmla="*/ 2147483647 w 72"/>
                <a:gd name="T75" fmla="*/ 2147483647 h 156"/>
                <a:gd name="T76" fmla="*/ 2147483647 w 72"/>
                <a:gd name="T77" fmla="*/ 2147483647 h 156"/>
                <a:gd name="T78" fmla="*/ 2147483647 w 72"/>
                <a:gd name="T79" fmla="*/ 2147483647 h 156"/>
                <a:gd name="T80" fmla="*/ 2147483647 w 72"/>
                <a:gd name="T81" fmla="*/ 2147483647 h 156"/>
                <a:gd name="T82" fmla="*/ 2147483647 w 72"/>
                <a:gd name="T83" fmla="*/ 2147483647 h 156"/>
                <a:gd name="T84" fmla="*/ 2147483647 w 72"/>
                <a:gd name="T85" fmla="*/ 2147483647 h 156"/>
                <a:gd name="T86" fmla="*/ 2147483647 w 72"/>
                <a:gd name="T87" fmla="*/ 2147483647 h 156"/>
                <a:gd name="T88" fmla="*/ 2147483647 w 72"/>
                <a:gd name="T89" fmla="*/ 2147483647 h 156"/>
                <a:gd name="T90" fmla="*/ 2147483647 w 72"/>
                <a:gd name="T91" fmla="*/ 2147483647 h 156"/>
                <a:gd name="T92" fmla="*/ 2147483647 w 72"/>
                <a:gd name="T93" fmla="*/ 2147483647 h 156"/>
                <a:gd name="T94" fmla="*/ 2147483647 w 72"/>
                <a:gd name="T95" fmla="*/ 2147483647 h 156"/>
                <a:gd name="T96" fmla="*/ 2147483647 w 72"/>
                <a:gd name="T97" fmla="*/ 2147483647 h 156"/>
                <a:gd name="T98" fmla="*/ 2147483647 w 72"/>
                <a:gd name="T99" fmla="*/ 2147483647 h 156"/>
                <a:gd name="T100" fmla="*/ 2147483647 w 72"/>
                <a:gd name="T101" fmla="*/ 2147483647 h 156"/>
                <a:gd name="T102" fmla="*/ 2147483647 w 72"/>
                <a:gd name="T103" fmla="*/ 2147483647 h 156"/>
                <a:gd name="T104" fmla="*/ 2147483647 w 72"/>
                <a:gd name="T105" fmla="*/ 2147483647 h 156"/>
                <a:gd name="T106" fmla="*/ 2147483647 w 72"/>
                <a:gd name="T107" fmla="*/ 2147483647 h 156"/>
                <a:gd name="T108" fmla="*/ 2147483647 w 72"/>
                <a:gd name="T109" fmla="*/ 2147483647 h 156"/>
                <a:gd name="T110" fmla="*/ 2147483647 w 72"/>
                <a:gd name="T111" fmla="*/ 2147483647 h 156"/>
                <a:gd name="T112" fmla="*/ 0 w 72"/>
                <a:gd name="T113" fmla="*/ 2147483647 h 156"/>
                <a:gd name="T114" fmla="*/ 2147483647 w 72"/>
                <a:gd name="T115" fmla="*/ 2147483647 h 156"/>
                <a:gd name="T116" fmla="*/ 2147483647 w 72"/>
                <a:gd name="T117" fmla="*/ 2147483647 h 156"/>
                <a:gd name="T118" fmla="*/ 2147483647 w 72"/>
                <a:gd name="T119" fmla="*/ 2147483647 h 156"/>
                <a:gd name="T120" fmla="*/ 2147483647 w 72"/>
                <a:gd name="T121" fmla="*/ 0 h 1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56"/>
                <a:gd name="T185" fmla="*/ 72 w 72"/>
                <a:gd name="T186" fmla="*/ 156 h 1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56">
                  <a:moveTo>
                    <a:pt x="23" y="0"/>
                  </a:moveTo>
                  <a:lnTo>
                    <a:pt x="25" y="8"/>
                  </a:lnTo>
                  <a:lnTo>
                    <a:pt x="31" y="11"/>
                  </a:lnTo>
                  <a:lnTo>
                    <a:pt x="29" y="23"/>
                  </a:lnTo>
                  <a:lnTo>
                    <a:pt x="28" y="27"/>
                  </a:lnTo>
                  <a:lnTo>
                    <a:pt x="31" y="31"/>
                  </a:lnTo>
                  <a:lnTo>
                    <a:pt x="38" y="23"/>
                  </a:lnTo>
                  <a:lnTo>
                    <a:pt x="43" y="23"/>
                  </a:lnTo>
                  <a:lnTo>
                    <a:pt x="46" y="27"/>
                  </a:lnTo>
                  <a:lnTo>
                    <a:pt x="50" y="27"/>
                  </a:lnTo>
                  <a:lnTo>
                    <a:pt x="55" y="22"/>
                  </a:lnTo>
                  <a:lnTo>
                    <a:pt x="59" y="23"/>
                  </a:lnTo>
                  <a:lnTo>
                    <a:pt x="62" y="35"/>
                  </a:lnTo>
                  <a:lnTo>
                    <a:pt x="71" y="47"/>
                  </a:lnTo>
                  <a:lnTo>
                    <a:pt x="72" y="52"/>
                  </a:lnTo>
                  <a:lnTo>
                    <a:pt x="69" y="66"/>
                  </a:lnTo>
                  <a:lnTo>
                    <a:pt x="55" y="62"/>
                  </a:lnTo>
                  <a:lnTo>
                    <a:pt x="49" y="63"/>
                  </a:lnTo>
                  <a:lnTo>
                    <a:pt x="48" y="69"/>
                  </a:lnTo>
                  <a:lnTo>
                    <a:pt x="44" y="72"/>
                  </a:lnTo>
                  <a:lnTo>
                    <a:pt x="44" y="77"/>
                  </a:lnTo>
                  <a:lnTo>
                    <a:pt x="47" y="80"/>
                  </a:lnTo>
                  <a:lnTo>
                    <a:pt x="45" y="90"/>
                  </a:lnTo>
                  <a:lnTo>
                    <a:pt x="41" y="86"/>
                  </a:lnTo>
                  <a:lnTo>
                    <a:pt x="34" y="84"/>
                  </a:lnTo>
                  <a:lnTo>
                    <a:pt x="31" y="76"/>
                  </a:lnTo>
                  <a:lnTo>
                    <a:pt x="27" y="76"/>
                  </a:lnTo>
                  <a:lnTo>
                    <a:pt x="23" y="80"/>
                  </a:lnTo>
                  <a:lnTo>
                    <a:pt x="22" y="90"/>
                  </a:lnTo>
                  <a:lnTo>
                    <a:pt x="17" y="98"/>
                  </a:lnTo>
                  <a:lnTo>
                    <a:pt x="14" y="111"/>
                  </a:lnTo>
                  <a:lnTo>
                    <a:pt x="17" y="121"/>
                  </a:lnTo>
                  <a:lnTo>
                    <a:pt x="21" y="123"/>
                  </a:lnTo>
                  <a:lnTo>
                    <a:pt x="24" y="135"/>
                  </a:lnTo>
                  <a:lnTo>
                    <a:pt x="30" y="142"/>
                  </a:lnTo>
                  <a:lnTo>
                    <a:pt x="36" y="145"/>
                  </a:lnTo>
                  <a:lnTo>
                    <a:pt x="42" y="151"/>
                  </a:lnTo>
                  <a:lnTo>
                    <a:pt x="46" y="155"/>
                  </a:lnTo>
                  <a:lnTo>
                    <a:pt x="38" y="156"/>
                  </a:lnTo>
                  <a:lnTo>
                    <a:pt x="32" y="153"/>
                  </a:lnTo>
                  <a:lnTo>
                    <a:pt x="28" y="148"/>
                  </a:lnTo>
                  <a:lnTo>
                    <a:pt x="23" y="149"/>
                  </a:lnTo>
                  <a:lnTo>
                    <a:pt x="17" y="141"/>
                  </a:lnTo>
                  <a:lnTo>
                    <a:pt x="11" y="132"/>
                  </a:lnTo>
                  <a:lnTo>
                    <a:pt x="7" y="132"/>
                  </a:lnTo>
                  <a:lnTo>
                    <a:pt x="7" y="121"/>
                  </a:lnTo>
                  <a:lnTo>
                    <a:pt x="8" y="114"/>
                  </a:lnTo>
                  <a:lnTo>
                    <a:pt x="8" y="109"/>
                  </a:lnTo>
                  <a:lnTo>
                    <a:pt x="11" y="102"/>
                  </a:lnTo>
                  <a:lnTo>
                    <a:pt x="13" y="95"/>
                  </a:lnTo>
                  <a:lnTo>
                    <a:pt x="14" y="85"/>
                  </a:lnTo>
                  <a:lnTo>
                    <a:pt x="14" y="71"/>
                  </a:lnTo>
                  <a:lnTo>
                    <a:pt x="6" y="54"/>
                  </a:lnTo>
                  <a:lnTo>
                    <a:pt x="10" y="48"/>
                  </a:lnTo>
                  <a:lnTo>
                    <a:pt x="8" y="33"/>
                  </a:lnTo>
                  <a:lnTo>
                    <a:pt x="1" y="26"/>
                  </a:lnTo>
                  <a:lnTo>
                    <a:pt x="0" y="13"/>
                  </a:lnTo>
                  <a:lnTo>
                    <a:pt x="5" y="10"/>
                  </a:lnTo>
                  <a:lnTo>
                    <a:pt x="9" y="10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0" name="Freeform 797"/>
            <p:cNvSpPr>
              <a:spLocks/>
            </p:cNvSpPr>
            <p:nvPr/>
          </p:nvSpPr>
          <p:spPr bwMode="gray">
            <a:xfrm>
              <a:off x="4046" y="2819"/>
              <a:ext cx="121" cy="107"/>
            </a:xfrm>
            <a:custGeom>
              <a:avLst/>
              <a:gdLst>
                <a:gd name="T0" fmla="*/ 2147483647 w 93"/>
                <a:gd name="T1" fmla="*/ 2147483647 h 82"/>
                <a:gd name="T2" fmla="*/ 2147483647 w 93"/>
                <a:gd name="T3" fmla="*/ 2147483647 h 82"/>
                <a:gd name="T4" fmla="*/ 2147483647 w 93"/>
                <a:gd name="T5" fmla="*/ 2147483647 h 82"/>
                <a:gd name="T6" fmla="*/ 2147483647 w 93"/>
                <a:gd name="T7" fmla="*/ 2147483647 h 82"/>
                <a:gd name="T8" fmla="*/ 2147483647 w 93"/>
                <a:gd name="T9" fmla="*/ 2147483647 h 82"/>
                <a:gd name="T10" fmla="*/ 2147483647 w 93"/>
                <a:gd name="T11" fmla="*/ 2147483647 h 82"/>
                <a:gd name="T12" fmla="*/ 2147483647 w 93"/>
                <a:gd name="T13" fmla="*/ 2147483647 h 82"/>
                <a:gd name="T14" fmla="*/ 2147483647 w 93"/>
                <a:gd name="T15" fmla="*/ 2147483647 h 82"/>
                <a:gd name="T16" fmla="*/ 2147483647 w 93"/>
                <a:gd name="T17" fmla="*/ 2147483647 h 82"/>
                <a:gd name="T18" fmla="*/ 2147483647 w 93"/>
                <a:gd name="T19" fmla="*/ 2147483647 h 82"/>
                <a:gd name="T20" fmla="*/ 2147483647 w 93"/>
                <a:gd name="T21" fmla="*/ 2147483647 h 82"/>
                <a:gd name="T22" fmla="*/ 2147483647 w 93"/>
                <a:gd name="T23" fmla="*/ 0 h 82"/>
                <a:gd name="T24" fmla="*/ 2147483647 w 93"/>
                <a:gd name="T25" fmla="*/ 0 h 82"/>
                <a:gd name="T26" fmla="*/ 2147483647 w 93"/>
                <a:gd name="T27" fmla="*/ 2147483647 h 82"/>
                <a:gd name="T28" fmla="*/ 2147483647 w 93"/>
                <a:gd name="T29" fmla="*/ 2147483647 h 82"/>
                <a:gd name="T30" fmla="*/ 2147483647 w 93"/>
                <a:gd name="T31" fmla="*/ 2147483647 h 82"/>
                <a:gd name="T32" fmla="*/ 2147483647 w 93"/>
                <a:gd name="T33" fmla="*/ 2147483647 h 82"/>
                <a:gd name="T34" fmla="*/ 2147483647 w 93"/>
                <a:gd name="T35" fmla="*/ 2147483647 h 82"/>
                <a:gd name="T36" fmla="*/ 2147483647 w 93"/>
                <a:gd name="T37" fmla="*/ 2147483647 h 82"/>
                <a:gd name="T38" fmla="*/ 2147483647 w 93"/>
                <a:gd name="T39" fmla="*/ 2147483647 h 82"/>
                <a:gd name="T40" fmla="*/ 2147483647 w 93"/>
                <a:gd name="T41" fmla="*/ 2147483647 h 82"/>
                <a:gd name="T42" fmla="*/ 2147483647 w 93"/>
                <a:gd name="T43" fmla="*/ 2147483647 h 82"/>
                <a:gd name="T44" fmla="*/ 2147483647 w 93"/>
                <a:gd name="T45" fmla="*/ 2147483647 h 82"/>
                <a:gd name="T46" fmla="*/ 2147483647 w 93"/>
                <a:gd name="T47" fmla="*/ 2147483647 h 82"/>
                <a:gd name="T48" fmla="*/ 2147483647 w 93"/>
                <a:gd name="T49" fmla="*/ 2147483647 h 82"/>
                <a:gd name="T50" fmla="*/ 2147483647 w 93"/>
                <a:gd name="T51" fmla="*/ 2147483647 h 82"/>
                <a:gd name="T52" fmla="*/ 2147483647 w 93"/>
                <a:gd name="T53" fmla="*/ 2147483647 h 82"/>
                <a:gd name="T54" fmla="*/ 2147483647 w 93"/>
                <a:gd name="T55" fmla="*/ 2147483647 h 82"/>
                <a:gd name="T56" fmla="*/ 2147483647 w 93"/>
                <a:gd name="T57" fmla="*/ 2147483647 h 82"/>
                <a:gd name="T58" fmla="*/ 2147483647 w 93"/>
                <a:gd name="T59" fmla="*/ 2147483647 h 82"/>
                <a:gd name="T60" fmla="*/ 2147483647 w 93"/>
                <a:gd name="T61" fmla="*/ 2147483647 h 82"/>
                <a:gd name="T62" fmla="*/ 2147483647 w 93"/>
                <a:gd name="T63" fmla="*/ 2147483647 h 82"/>
                <a:gd name="T64" fmla="*/ 2147483647 w 93"/>
                <a:gd name="T65" fmla="*/ 2147483647 h 82"/>
                <a:gd name="T66" fmla="*/ 2147483647 w 93"/>
                <a:gd name="T67" fmla="*/ 2147483647 h 82"/>
                <a:gd name="T68" fmla="*/ 2147483647 w 93"/>
                <a:gd name="T69" fmla="*/ 2147483647 h 82"/>
                <a:gd name="T70" fmla="*/ 2147483647 w 93"/>
                <a:gd name="T71" fmla="*/ 2147483647 h 82"/>
                <a:gd name="T72" fmla="*/ 2147483647 w 93"/>
                <a:gd name="T73" fmla="*/ 2147483647 h 82"/>
                <a:gd name="T74" fmla="*/ 2147483647 w 93"/>
                <a:gd name="T75" fmla="*/ 2147483647 h 82"/>
                <a:gd name="T76" fmla="*/ 0 w 93"/>
                <a:gd name="T77" fmla="*/ 2147483647 h 82"/>
                <a:gd name="T78" fmla="*/ 2147483647 w 93"/>
                <a:gd name="T79" fmla="*/ 2147483647 h 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3"/>
                <a:gd name="T121" fmla="*/ 0 h 82"/>
                <a:gd name="T122" fmla="*/ 93 w 93"/>
                <a:gd name="T123" fmla="*/ 82 h 8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3" h="82">
                  <a:moveTo>
                    <a:pt x="4" y="24"/>
                  </a:moveTo>
                  <a:lnTo>
                    <a:pt x="6" y="25"/>
                  </a:lnTo>
                  <a:lnTo>
                    <a:pt x="8" y="29"/>
                  </a:lnTo>
                  <a:lnTo>
                    <a:pt x="11" y="34"/>
                  </a:lnTo>
                  <a:lnTo>
                    <a:pt x="24" y="34"/>
                  </a:lnTo>
                  <a:lnTo>
                    <a:pt x="30" y="30"/>
                  </a:lnTo>
                  <a:lnTo>
                    <a:pt x="35" y="29"/>
                  </a:lnTo>
                  <a:lnTo>
                    <a:pt x="40" y="31"/>
                  </a:lnTo>
                  <a:lnTo>
                    <a:pt x="48" y="29"/>
                  </a:lnTo>
                  <a:lnTo>
                    <a:pt x="56" y="18"/>
                  </a:lnTo>
                  <a:lnTo>
                    <a:pt x="61" y="5"/>
                  </a:lnTo>
                  <a:lnTo>
                    <a:pt x="64" y="0"/>
                  </a:lnTo>
                  <a:lnTo>
                    <a:pt x="75" y="0"/>
                  </a:lnTo>
                  <a:lnTo>
                    <a:pt x="79" y="3"/>
                  </a:lnTo>
                  <a:lnTo>
                    <a:pt x="79" y="10"/>
                  </a:lnTo>
                  <a:lnTo>
                    <a:pt x="84" y="16"/>
                  </a:lnTo>
                  <a:lnTo>
                    <a:pt x="83" y="25"/>
                  </a:lnTo>
                  <a:lnTo>
                    <a:pt x="90" y="28"/>
                  </a:lnTo>
                  <a:lnTo>
                    <a:pt x="93" y="33"/>
                  </a:lnTo>
                  <a:lnTo>
                    <a:pt x="86" y="34"/>
                  </a:lnTo>
                  <a:lnTo>
                    <a:pt x="84" y="31"/>
                  </a:lnTo>
                  <a:lnTo>
                    <a:pt x="79" y="37"/>
                  </a:lnTo>
                  <a:lnTo>
                    <a:pt x="80" y="46"/>
                  </a:lnTo>
                  <a:lnTo>
                    <a:pt x="72" y="57"/>
                  </a:lnTo>
                  <a:lnTo>
                    <a:pt x="67" y="59"/>
                  </a:lnTo>
                  <a:lnTo>
                    <a:pt x="68" y="69"/>
                  </a:lnTo>
                  <a:lnTo>
                    <a:pt x="60" y="79"/>
                  </a:lnTo>
                  <a:lnTo>
                    <a:pt x="53" y="82"/>
                  </a:lnTo>
                  <a:lnTo>
                    <a:pt x="52" y="80"/>
                  </a:lnTo>
                  <a:lnTo>
                    <a:pt x="47" y="74"/>
                  </a:lnTo>
                  <a:lnTo>
                    <a:pt x="43" y="77"/>
                  </a:lnTo>
                  <a:lnTo>
                    <a:pt x="40" y="73"/>
                  </a:lnTo>
                  <a:lnTo>
                    <a:pt x="35" y="73"/>
                  </a:lnTo>
                  <a:lnTo>
                    <a:pt x="29" y="77"/>
                  </a:lnTo>
                  <a:lnTo>
                    <a:pt x="25" y="72"/>
                  </a:lnTo>
                  <a:lnTo>
                    <a:pt x="12" y="70"/>
                  </a:lnTo>
                  <a:lnTo>
                    <a:pt x="8" y="53"/>
                  </a:lnTo>
                  <a:lnTo>
                    <a:pt x="2" y="48"/>
                  </a:lnTo>
                  <a:lnTo>
                    <a:pt x="0" y="28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1" name="Freeform 798"/>
            <p:cNvSpPr>
              <a:spLocks/>
            </p:cNvSpPr>
            <p:nvPr/>
          </p:nvSpPr>
          <p:spPr bwMode="gray">
            <a:xfrm>
              <a:off x="4053" y="2852"/>
              <a:ext cx="2" cy="1"/>
            </a:xfrm>
            <a:custGeom>
              <a:avLst/>
              <a:gdLst>
                <a:gd name="T0" fmla="*/ 0 w 1"/>
                <a:gd name="T1" fmla="*/ 0 h 1"/>
                <a:gd name="T2" fmla="*/ 2147483647 w 1"/>
                <a:gd name="T3" fmla="*/ 2147483646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2" name="Freeform 799"/>
            <p:cNvSpPr>
              <a:spLocks/>
            </p:cNvSpPr>
            <p:nvPr/>
          </p:nvSpPr>
          <p:spPr bwMode="gray">
            <a:xfrm>
              <a:off x="4053" y="2779"/>
              <a:ext cx="115" cy="85"/>
            </a:xfrm>
            <a:custGeom>
              <a:avLst/>
              <a:gdLst>
                <a:gd name="T0" fmla="*/ 2147483647 w 88"/>
                <a:gd name="T1" fmla="*/ 2147483647 h 65"/>
                <a:gd name="T2" fmla="*/ 0 w 88"/>
                <a:gd name="T3" fmla="*/ 2147483647 h 65"/>
                <a:gd name="T4" fmla="*/ 2147483647 w 88"/>
                <a:gd name="T5" fmla="*/ 2147483647 h 65"/>
                <a:gd name="T6" fmla="*/ 2147483647 w 88"/>
                <a:gd name="T7" fmla="*/ 2147483647 h 65"/>
                <a:gd name="T8" fmla="*/ 2147483647 w 88"/>
                <a:gd name="T9" fmla="*/ 2147483647 h 65"/>
                <a:gd name="T10" fmla="*/ 2147483647 w 88"/>
                <a:gd name="T11" fmla="*/ 2147483647 h 65"/>
                <a:gd name="T12" fmla="*/ 2147483647 w 88"/>
                <a:gd name="T13" fmla="*/ 2147483647 h 65"/>
                <a:gd name="T14" fmla="*/ 2147483647 w 88"/>
                <a:gd name="T15" fmla="*/ 2147483647 h 65"/>
                <a:gd name="T16" fmla="*/ 2147483647 w 88"/>
                <a:gd name="T17" fmla="*/ 2147483647 h 65"/>
                <a:gd name="T18" fmla="*/ 2147483647 w 88"/>
                <a:gd name="T19" fmla="*/ 2147483647 h 65"/>
                <a:gd name="T20" fmla="*/ 2147483647 w 88"/>
                <a:gd name="T21" fmla="*/ 2147483647 h 65"/>
                <a:gd name="T22" fmla="*/ 2147483647 w 88"/>
                <a:gd name="T23" fmla="*/ 2147483647 h 65"/>
                <a:gd name="T24" fmla="*/ 2147483647 w 88"/>
                <a:gd name="T25" fmla="*/ 2147483647 h 65"/>
                <a:gd name="T26" fmla="*/ 2147483647 w 88"/>
                <a:gd name="T27" fmla="*/ 2147483647 h 65"/>
                <a:gd name="T28" fmla="*/ 2147483647 w 88"/>
                <a:gd name="T29" fmla="*/ 2147483647 h 65"/>
                <a:gd name="T30" fmla="*/ 2147483647 w 88"/>
                <a:gd name="T31" fmla="*/ 2147483647 h 65"/>
                <a:gd name="T32" fmla="*/ 2147483647 w 88"/>
                <a:gd name="T33" fmla="*/ 2147483647 h 65"/>
                <a:gd name="T34" fmla="*/ 2147483647 w 88"/>
                <a:gd name="T35" fmla="*/ 0 h 65"/>
                <a:gd name="T36" fmla="*/ 2147483647 w 88"/>
                <a:gd name="T37" fmla="*/ 2147483647 h 65"/>
                <a:gd name="T38" fmla="*/ 2147483647 w 88"/>
                <a:gd name="T39" fmla="*/ 2147483647 h 65"/>
                <a:gd name="T40" fmla="*/ 2147483647 w 88"/>
                <a:gd name="T41" fmla="*/ 2147483647 h 65"/>
                <a:gd name="T42" fmla="*/ 2147483647 w 88"/>
                <a:gd name="T43" fmla="*/ 2147483647 h 65"/>
                <a:gd name="T44" fmla="*/ 2147483647 w 88"/>
                <a:gd name="T45" fmla="*/ 2147483647 h 65"/>
                <a:gd name="T46" fmla="*/ 2147483647 w 88"/>
                <a:gd name="T47" fmla="*/ 2147483647 h 65"/>
                <a:gd name="T48" fmla="*/ 2147483647 w 88"/>
                <a:gd name="T49" fmla="*/ 2147483647 h 65"/>
                <a:gd name="T50" fmla="*/ 2147483647 w 88"/>
                <a:gd name="T51" fmla="*/ 2147483647 h 65"/>
                <a:gd name="T52" fmla="*/ 2147483647 w 88"/>
                <a:gd name="T53" fmla="*/ 2147483647 h 65"/>
                <a:gd name="T54" fmla="*/ 2147483647 w 88"/>
                <a:gd name="T55" fmla="*/ 2147483647 h 65"/>
                <a:gd name="T56" fmla="*/ 2147483647 w 88"/>
                <a:gd name="T57" fmla="*/ 2147483647 h 65"/>
                <a:gd name="T58" fmla="*/ 2147483647 w 88"/>
                <a:gd name="T59" fmla="*/ 2147483647 h 65"/>
                <a:gd name="T60" fmla="*/ 2147483647 w 88"/>
                <a:gd name="T61" fmla="*/ 2147483647 h 65"/>
                <a:gd name="T62" fmla="*/ 2147483647 w 88"/>
                <a:gd name="T63" fmla="*/ 2147483647 h 65"/>
                <a:gd name="T64" fmla="*/ 2147483647 w 88"/>
                <a:gd name="T65" fmla="*/ 2147483647 h 65"/>
                <a:gd name="T66" fmla="*/ 2147483647 w 88"/>
                <a:gd name="T67" fmla="*/ 2147483647 h 65"/>
                <a:gd name="T68" fmla="*/ 2147483647 w 88"/>
                <a:gd name="T69" fmla="*/ 2147483647 h 65"/>
                <a:gd name="T70" fmla="*/ 2147483647 w 88"/>
                <a:gd name="T71" fmla="*/ 2147483647 h 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8"/>
                <a:gd name="T109" fmla="*/ 0 h 65"/>
                <a:gd name="T110" fmla="*/ 88 w 88"/>
                <a:gd name="T111" fmla="*/ 65 h 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8" h="65">
                  <a:moveTo>
                    <a:pt x="2" y="60"/>
                  </a:moveTo>
                  <a:lnTo>
                    <a:pt x="0" y="56"/>
                  </a:lnTo>
                  <a:lnTo>
                    <a:pt x="1" y="57"/>
                  </a:lnTo>
                  <a:lnTo>
                    <a:pt x="13" y="56"/>
                  </a:lnTo>
                  <a:lnTo>
                    <a:pt x="15" y="46"/>
                  </a:lnTo>
                  <a:lnTo>
                    <a:pt x="22" y="45"/>
                  </a:lnTo>
                  <a:lnTo>
                    <a:pt x="26" y="42"/>
                  </a:lnTo>
                  <a:lnTo>
                    <a:pt x="35" y="38"/>
                  </a:lnTo>
                  <a:lnTo>
                    <a:pt x="40" y="29"/>
                  </a:lnTo>
                  <a:lnTo>
                    <a:pt x="45" y="27"/>
                  </a:lnTo>
                  <a:lnTo>
                    <a:pt x="44" y="33"/>
                  </a:lnTo>
                  <a:lnTo>
                    <a:pt x="47" y="33"/>
                  </a:lnTo>
                  <a:lnTo>
                    <a:pt x="48" y="30"/>
                  </a:lnTo>
                  <a:lnTo>
                    <a:pt x="52" y="33"/>
                  </a:lnTo>
                  <a:lnTo>
                    <a:pt x="53" y="30"/>
                  </a:lnTo>
                  <a:lnTo>
                    <a:pt x="54" y="26"/>
                  </a:lnTo>
                  <a:lnTo>
                    <a:pt x="55" y="16"/>
                  </a:lnTo>
                  <a:lnTo>
                    <a:pt x="70" y="0"/>
                  </a:lnTo>
                  <a:lnTo>
                    <a:pt x="74" y="11"/>
                  </a:lnTo>
                  <a:lnTo>
                    <a:pt x="83" y="13"/>
                  </a:lnTo>
                  <a:lnTo>
                    <a:pt x="88" y="20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77" y="30"/>
                  </a:lnTo>
                  <a:lnTo>
                    <a:pt x="73" y="34"/>
                  </a:lnTo>
                  <a:lnTo>
                    <a:pt x="69" y="31"/>
                  </a:lnTo>
                  <a:lnTo>
                    <a:pt x="58" y="31"/>
                  </a:lnTo>
                  <a:lnTo>
                    <a:pt x="55" y="36"/>
                  </a:lnTo>
                  <a:lnTo>
                    <a:pt x="50" y="49"/>
                  </a:lnTo>
                  <a:lnTo>
                    <a:pt x="42" y="60"/>
                  </a:lnTo>
                  <a:lnTo>
                    <a:pt x="34" y="62"/>
                  </a:lnTo>
                  <a:lnTo>
                    <a:pt x="29" y="60"/>
                  </a:lnTo>
                  <a:lnTo>
                    <a:pt x="24" y="61"/>
                  </a:lnTo>
                  <a:lnTo>
                    <a:pt x="18" y="65"/>
                  </a:lnTo>
                  <a:lnTo>
                    <a:pt x="5" y="65"/>
                  </a:lnTo>
                  <a:lnTo>
                    <a:pt x="2" y="6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3" name="Freeform 800"/>
            <p:cNvSpPr>
              <a:spLocks/>
            </p:cNvSpPr>
            <p:nvPr/>
          </p:nvSpPr>
          <p:spPr bwMode="gray">
            <a:xfrm>
              <a:off x="4000" y="2895"/>
              <a:ext cx="19" cy="19"/>
            </a:xfrm>
            <a:custGeom>
              <a:avLst/>
              <a:gdLst>
                <a:gd name="T0" fmla="*/ 0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0 h 15"/>
                <a:gd name="T10" fmla="*/ 0 w 14"/>
                <a:gd name="T11" fmla="*/ 0 h 15"/>
                <a:gd name="T12" fmla="*/ 0 w 14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5"/>
                <a:gd name="T23" fmla="*/ 14 w 14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5">
                  <a:moveTo>
                    <a:pt x="0" y="4"/>
                  </a:moveTo>
                  <a:lnTo>
                    <a:pt x="2" y="4"/>
                  </a:lnTo>
                  <a:lnTo>
                    <a:pt x="10" y="15"/>
                  </a:lnTo>
                  <a:lnTo>
                    <a:pt x="14" y="1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4" name="Freeform 801"/>
            <p:cNvSpPr>
              <a:spLocks/>
            </p:cNvSpPr>
            <p:nvPr/>
          </p:nvSpPr>
          <p:spPr bwMode="gray">
            <a:xfrm>
              <a:off x="4026" y="2906"/>
              <a:ext cx="12" cy="11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0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0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0" y="5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9" y="4"/>
                  </a:lnTo>
                  <a:lnTo>
                    <a:pt x="8" y="6"/>
                  </a:lnTo>
                  <a:lnTo>
                    <a:pt x="3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5" name="Freeform 802"/>
            <p:cNvSpPr>
              <a:spLocks/>
            </p:cNvSpPr>
            <p:nvPr/>
          </p:nvSpPr>
          <p:spPr bwMode="gray">
            <a:xfrm>
              <a:off x="4007" y="2954"/>
              <a:ext cx="102" cy="33"/>
            </a:xfrm>
            <a:custGeom>
              <a:avLst/>
              <a:gdLst>
                <a:gd name="T0" fmla="*/ 2147483647 w 78"/>
                <a:gd name="T1" fmla="*/ 2147483647 h 26"/>
                <a:gd name="T2" fmla="*/ 2147483647 w 78"/>
                <a:gd name="T3" fmla="*/ 2147483647 h 26"/>
                <a:gd name="T4" fmla="*/ 2147483647 w 78"/>
                <a:gd name="T5" fmla="*/ 2147483647 h 26"/>
                <a:gd name="T6" fmla="*/ 2147483647 w 78"/>
                <a:gd name="T7" fmla="*/ 2147483647 h 26"/>
                <a:gd name="T8" fmla="*/ 2147483647 w 78"/>
                <a:gd name="T9" fmla="*/ 2147483647 h 26"/>
                <a:gd name="T10" fmla="*/ 2147483647 w 78"/>
                <a:gd name="T11" fmla="*/ 2147483647 h 26"/>
                <a:gd name="T12" fmla="*/ 2147483647 w 78"/>
                <a:gd name="T13" fmla="*/ 2147483647 h 26"/>
                <a:gd name="T14" fmla="*/ 2147483647 w 78"/>
                <a:gd name="T15" fmla="*/ 2147483647 h 26"/>
                <a:gd name="T16" fmla="*/ 2147483647 w 78"/>
                <a:gd name="T17" fmla="*/ 2147483647 h 26"/>
                <a:gd name="T18" fmla="*/ 2147483647 w 78"/>
                <a:gd name="T19" fmla="*/ 2147483647 h 26"/>
                <a:gd name="T20" fmla="*/ 2147483647 w 78"/>
                <a:gd name="T21" fmla="*/ 2147483647 h 26"/>
                <a:gd name="T22" fmla="*/ 2147483647 w 78"/>
                <a:gd name="T23" fmla="*/ 2147483647 h 26"/>
                <a:gd name="T24" fmla="*/ 2147483647 w 78"/>
                <a:gd name="T25" fmla="*/ 0 h 26"/>
                <a:gd name="T26" fmla="*/ 0 w 78"/>
                <a:gd name="T27" fmla="*/ 2147483647 h 26"/>
                <a:gd name="T28" fmla="*/ 2147483647 w 78"/>
                <a:gd name="T29" fmla="*/ 2147483647 h 26"/>
                <a:gd name="T30" fmla="*/ 2147483647 w 78"/>
                <a:gd name="T31" fmla="*/ 2147483647 h 26"/>
                <a:gd name="T32" fmla="*/ 2147483647 w 78"/>
                <a:gd name="T33" fmla="*/ 2147483647 h 26"/>
                <a:gd name="T34" fmla="*/ 2147483647 w 78"/>
                <a:gd name="T35" fmla="*/ 2147483647 h 26"/>
                <a:gd name="T36" fmla="*/ 2147483647 w 78"/>
                <a:gd name="T37" fmla="*/ 2147483647 h 26"/>
                <a:gd name="T38" fmla="*/ 2147483647 w 78"/>
                <a:gd name="T39" fmla="*/ 2147483647 h 26"/>
                <a:gd name="T40" fmla="*/ 2147483647 w 78"/>
                <a:gd name="T41" fmla="*/ 2147483647 h 26"/>
                <a:gd name="T42" fmla="*/ 2147483647 w 78"/>
                <a:gd name="T43" fmla="*/ 2147483647 h 26"/>
                <a:gd name="T44" fmla="*/ 2147483647 w 78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26"/>
                <a:gd name="T71" fmla="*/ 78 w 78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26">
                  <a:moveTo>
                    <a:pt x="78" y="21"/>
                  </a:moveTo>
                  <a:lnTo>
                    <a:pt x="76" y="18"/>
                  </a:lnTo>
                  <a:lnTo>
                    <a:pt x="72" y="19"/>
                  </a:lnTo>
                  <a:lnTo>
                    <a:pt x="61" y="16"/>
                  </a:lnTo>
                  <a:lnTo>
                    <a:pt x="61" y="10"/>
                  </a:lnTo>
                  <a:lnTo>
                    <a:pt x="46" y="5"/>
                  </a:lnTo>
                  <a:lnTo>
                    <a:pt x="44" y="7"/>
                  </a:lnTo>
                  <a:lnTo>
                    <a:pt x="42" y="11"/>
                  </a:lnTo>
                  <a:lnTo>
                    <a:pt x="25" y="8"/>
                  </a:lnTo>
                  <a:lnTo>
                    <a:pt x="24" y="2"/>
                  </a:lnTo>
                  <a:lnTo>
                    <a:pt x="15" y="2"/>
                  </a:lnTo>
                  <a:lnTo>
                    <a:pt x="12" y="4"/>
                  </a:lnTo>
                  <a:lnTo>
                    <a:pt x="5" y="0"/>
                  </a:lnTo>
                  <a:lnTo>
                    <a:pt x="0" y="7"/>
                  </a:lnTo>
                  <a:lnTo>
                    <a:pt x="4" y="15"/>
                  </a:lnTo>
                  <a:lnTo>
                    <a:pt x="20" y="16"/>
                  </a:lnTo>
                  <a:lnTo>
                    <a:pt x="23" y="18"/>
                  </a:lnTo>
                  <a:lnTo>
                    <a:pt x="35" y="18"/>
                  </a:lnTo>
                  <a:lnTo>
                    <a:pt x="45" y="23"/>
                  </a:lnTo>
                  <a:lnTo>
                    <a:pt x="62" y="23"/>
                  </a:lnTo>
                  <a:lnTo>
                    <a:pt x="72" y="26"/>
                  </a:lnTo>
                  <a:lnTo>
                    <a:pt x="78" y="26"/>
                  </a:lnTo>
                  <a:lnTo>
                    <a:pt x="78" y="21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6" name="Freeform 803"/>
            <p:cNvSpPr>
              <a:spLocks/>
            </p:cNvSpPr>
            <p:nvPr/>
          </p:nvSpPr>
          <p:spPr bwMode="gray">
            <a:xfrm>
              <a:off x="3879" y="2805"/>
              <a:ext cx="128" cy="146"/>
            </a:xfrm>
            <a:custGeom>
              <a:avLst/>
              <a:gdLst>
                <a:gd name="T0" fmla="*/ 2147483647 w 98"/>
                <a:gd name="T1" fmla="*/ 0 h 112"/>
                <a:gd name="T2" fmla="*/ 2147483647 w 98"/>
                <a:gd name="T3" fmla="*/ 2147483647 h 112"/>
                <a:gd name="T4" fmla="*/ 2147483647 w 98"/>
                <a:gd name="T5" fmla="*/ 2147483647 h 112"/>
                <a:gd name="T6" fmla="*/ 2147483647 w 98"/>
                <a:gd name="T7" fmla="*/ 2147483647 h 112"/>
                <a:gd name="T8" fmla="*/ 2147483647 w 98"/>
                <a:gd name="T9" fmla="*/ 2147483647 h 112"/>
                <a:gd name="T10" fmla="*/ 2147483647 w 98"/>
                <a:gd name="T11" fmla="*/ 2147483647 h 112"/>
                <a:gd name="T12" fmla="*/ 2147483647 w 98"/>
                <a:gd name="T13" fmla="*/ 2147483647 h 112"/>
                <a:gd name="T14" fmla="*/ 2147483647 w 98"/>
                <a:gd name="T15" fmla="*/ 2147483647 h 112"/>
                <a:gd name="T16" fmla="*/ 2147483647 w 98"/>
                <a:gd name="T17" fmla="*/ 2147483647 h 112"/>
                <a:gd name="T18" fmla="*/ 2147483647 w 98"/>
                <a:gd name="T19" fmla="*/ 2147483647 h 112"/>
                <a:gd name="T20" fmla="*/ 2147483647 w 98"/>
                <a:gd name="T21" fmla="*/ 2147483647 h 112"/>
                <a:gd name="T22" fmla="*/ 2147483647 w 98"/>
                <a:gd name="T23" fmla="*/ 2147483647 h 112"/>
                <a:gd name="T24" fmla="*/ 2147483647 w 98"/>
                <a:gd name="T25" fmla="*/ 2147483647 h 112"/>
                <a:gd name="T26" fmla="*/ 2147483647 w 98"/>
                <a:gd name="T27" fmla="*/ 2147483647 h 112"/>
                <a:gd name="T28" fmla="*/ 2147483647 w 98"/>
                <a:gd name="T29" fmla="*/ 2147483647 h 112"/>
                <a:gd name="T30" fmla="*/ 2147483647 w 98"/>
                <a:gd name="T31" fmla="*/ 2147483647 h 112"/>
                <a:gd name="T32" fmla="*/ 2147483647 w 98"/>
                <a:gd name="T33" fmla="*/ 2147483647 h 112"/>
                <a:gd name="T34" fmla="*/ 2147483647 w 98"/>
                <a:gd name="T35" fmla="*/ 2147483647 h 112"/>
                <a:gd name="T36" fmla="*/ 2147483647 w 98"/>
                <a:gd name="T37" fmla="*/ 2147483647 h 112"/>
                <a:gd name="T38" fmla="*/ 2147483647 w 98"/>
                <a:gd name="T39" fmla="*/ 2147483647 h 112"/>
                <a:gd name="T40" fmla="*/ 2147483647 w 98"/>
                <a:gd name="T41" fmla="*/ 2147483647 h 112"/>
                <a:gd name="T42" fmla="*/ 2147483647 w 98"/>
                <a:gd name="T43" fmla="*/ 2147483647 h 112"/>
                <a:gd name="T44" fmla="*/ 2147483647 w 98"/>
                <a:gd name="T45" fmla="*/ 2147483647 h 112"/>
                <a:gd name="T46" fmla="*/ 2147483647 w 98"/>
                <a:gd name="T47" fmla="*/ 2147483647 h 112"/>
                <a:gd name="T48" fmla="*/ 2147483647 w 98"/>
                <a:gd name="T49" fmla="*/ 2147483647 h 112"/>
                <a:gd name="T50" fmla="*/ 2147483647 w 98"/>
                <a:gd name="T51" fmla="*/ 2147483647 h 112"/>
                <a:gd name="T52" fmla="*/ 2147483647 w 98"/>
                <a:gd name="T53" fmla="*/ 2147483647 h 112"/>
                <a:gd name="T54" fmla="*/ 2147483647 w 98"/>
                <a:gd name="T55" fmla="*/ 2147483647 h 112"/>
                <a:gd name="T56" fmla="*/ 2147483647 w 98"/>
                <a:gd name="T57" fmla="*/ 2147483647 h 112"/>
                <a:gd name="T58" fmla="*/ 2147483647 w 98"/>
                <a:gd name="T59" fmla="*/ 2147483647 h 112"/>
                <a:gd name="T60" fmla="*/ 2147483647 w 98"/>
                <a:gd name="T61" fmla="*/ 2147483647 h 112"/>
                <a:gd name="T62" fmla="*/ 2147483647 w 98"/>
                <a:gd name="T63" fmla="*/ 2147483647 h 112"/>
                <a:gd name="T64" fmla="*/ 2147483647 w 98"/>
                <a:gd name="T65" fmla="*/ 2147483647 h 112"/>
                <a:gd name="T66" fmla="*/ 2147483647 w 98"/>
                <a:gd name="T67" fmla="*/ 2147483647 h 112"/>
                <a:gd name="T68" fmla="*/ 2147483647 w 98"/>
                <a:gd name="T69" fmla="*/ 2147483647 h 112"/>
                <a:gd name="T70" fmla="*/ 2147483647 w 98"/>
                <a:gd name="T71" fmla="*/ 2147483647 h 112"/>
                <a:gd name="T72" fmla="*/ 0 w 98"/>
                <a:gd name="T73" fmla="*/ 2147483647 h 112"/>
                <a:gd name="T74" fmla="*/ 2147483647 w 98"/>
                <a:gd name="T75" fmla="*/ 0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8"/>
                <a:gd name="T115" fmla="*/ 0 h 112"/>
                <a:gd name="T116" fmla="*/ 98 w 98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8" h="112">
                  <a:moveTo>
                    <a:pt x="1" y="0"/>
                  </a:moveTo>
                  <a:lnTo>
                    <a:pt x="7" y="2"/>
                  </a:lnTo>
                  <a:lnTo>
                    <a:pt x="19" y="2"/>
                  </a:lnTo>
                  <a:lnTo>
                    <a:pt x="22" y="3"/>
                  </a:lnTo>
                  <a:lnTo>
                    <a:pt x="26" y="10"/>
                  </a:lnTo>
                  <a:lnTo>
                    <a:pt x="28" y="13"/>
                  </a:lnTo>
                  <a:lnTo>
                    <a:pt x="30" y="15"/>
                  </a:lnTo>
                  <a:lnTo>
                    <a:pt x="36" y="21"/>
                  </a:lnTo>
                  <a:lnTo>
                    <a:pt x="42" y="24"/>
                  </a:lnTo>
                  <a:lnTo>
                    <a:pt x="49" y="33"/>
                  </a:lnTo>
                  <a:lnTo>
                    <a:pt x="53" y="33"/>
                  </a:lnTo>
                  <a:lnTo>
                    <a:pt x="61" y="42"/>
                  </a:lnTo>
                  <a:lnTo>
                    <a:pt x="63" y="46"/>
                  </a:lnTo>
                  <a:lnTo>
                    <a:pt x="70" y="52"/>
                  </a:lnTo>
                  <a:lnTo>
                    <a:pt x="77" y="53"/>
                  </a:lnTo>
                  <a:lnTo>
                    <a:pt x="78" y="56"/>
                  </a:lnTo>
                  <a:lnTo>
                    <a:pt x="78" y="61"/>
                  </a:lnTo>
                  <a:lnTo>
                    <a:pt x="84" y="66"/>
                  </a:lnTo>
                  <a:lnTo>
                    <a:pt x="87" y="77"/>
                  </a:lnTo>
                  <a:lnTo>
                    <a:pt x="91" y="77"/>
                  </a:lnTo>
                  <a:lnTo>
                    <a:pt x="98" y="86"/>
                  </a:lnTo>
                  <a:lnTo>
                    <a:pt x="98" y="111"/>
                  </a:lnTo>
                  <a:lnTo>
                    <a:pt x="94" y="112"/>
                  </a:lnTo>
                  <a:lnTo>
                    <a:pt x="85" y="106"/>
                  </a:lnTo>
                  <a:lnTo>
                    <a:pt x="77" y="104"/>
                  </a:lnTo>
                  <a:lnTo>
                    <a:pt x="61" y="90"/>
                  </a:lnTo>
                  <a:lnTo>
                    <a:pt x="52" y="73"/>
                  </a:lnTo>
                  <a:lnTo>
                    <a:pt x="50" y="66"/>
                  </a:lnTo>
                  <a:lnTo>
                    <a:pt x="39" y="53"/>
                  </a:lnTo>
                  <a:lnTo>
                    <a:pt x="35" y="53"/>
                  </a:lnTo>
                  <a:lnTo>
                    <a:pt x="32" y="38"/>
                  </a:lnTo>
                  <a:lnTo>
                    <a:pt x="27" y="32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7" name="Freeform 804"/>
            <p:cNvSpPr>
              <a:spLocks/>
            </p:cNvSpPr>
            <p:nvPr/>
          </p:nvSpPr>
          <p:spPr bwMode="gray">
            <a:xfrm>
              <a:off x="3802" y="2488"/>
              <a:ext cx="38" cy="23"/>
            </a:xfrm>
            <a:custGeom>
              <a:avLst/>
              <a:gdLst>
                <a:gd name="T0" fmla="*/ 2147483647 w 29"/>
                <a:gd name="T1" fmla="*/ 2147483647 h 18"/>
                <a:gd name="T2" fmla="*/ 2147483647 w 29"/>
                <a:gd name="T3" fmla="*/ 2147483647 h 18"/>
                <a:gd name="T4" fmla="*/ 2147483647 w 29"/>
                <a:gd name="T5" fmla="*/ 2147483647 h 18"/>
                <a:gd name="T6" fmla="*/ 2147483647 w 29"/>
                <a:gd name="T7" fmla="*/ 2147483647 h 18"/>
                <a:gd name="T8" fmla="*/ 0 w 29"/>
                <a:gd name="T9" fmla="*/ 2147483647 h 18"/>
                <a:gd name="T10" fmla="*/ 2147483647 w 29"/>
                <a:gd name="T11" fmla="*/ 0 h 18"/>
                <a:gd name="T12" fmla="*/ 2147483647 w 29"/>
                <a:gd name="T13" fmla="*/ 0 h 18"/>
                <a:gd name="T14" fmla="*/ 2147483647 w 29"/>
                <a:gd name="T15" fmla="*/ 2147483647 h 18"/>
                <a:gd name="T16" fmla="*/ 2147483647 w 29"/>
                <a:gd name="T17" fmla="*/ 2147483647 h 18"/>
                <a:gd name="T18" fmla="*/ 2147483647 w 29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8"/>
                <a:gd name="T32" fmla="*/ 29 w 29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8">
                  <a:moveTo>
                    <a:pt x="29" y="6"/>
                  </a:moveTo>
                  <a:lnTo>
                    <a:pt x="29" y="16"/>
                  </a:lnTo>
                  <a:lnTo>
                    <a:pt x="6" y="18"/>
                  </a:lnTo>
                  <a:lnTo>
                    <a:pt x="2" y="13"/>
                  </a:lnTo>
                  <a:lnTo>
                    <a:pt x="0" y="7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24" y="2"/>
                  </a:lnTo>
                  <a:lnTo>
                    <a:pt x="29" y="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8" name="Freeform 805"/>
            <p:cNvSpPr>
              <a:spLocks/>
            </p:cNvSpPr>
            <p:nvPr/>
          </p:nvSpPr>
          <p:spPr bwMode="gray">
            <a:xfrm>
              <a:off x="3792" y="2516"/>
              <a:ext cx="54" cy="79"/>
            </a:xfrm>
            <a:custGeom>
              <a:avLst/>
              <a:gdLst>
                <a:gd name="T0" fmla="*/ 2147483647 w 42"/>
                <a:gd name="T1" fmla="*/ 2147483647 h 60"/>
                <a:gd name="T2" fmla="*/ 2147483647 w 42"/>
                <a:gd name="T3" fmla="*/ 2147483647 h 60"/>
                <a:gd name="T4" fmla="*/ 2147483647 w 42"/>
                <a:gd name="T5" fmla="*/ 2147483647 h 60"/>
                <a:gd name="T6" fmla="*/ 2147483647 w 42"/>
                <a:gd name="T7" fmla="*/ 2147483647 h 60"/>
                <a:gd name="T8" fmla="*/ 2147483647 w 42"/>
                <a:gd name="T9" fmla="*/ 2147483647 h 60"/>
                <a:gd name="T10" fmla="*/ 2147483647 w 42"/>
                <a:gd name="T11" fmla="*/ 2147483647 h 60"/>
                <a:gd name="T12" fmla="*/ 2147483647 w 42"/>
                <a:gd name="T13" fmla="*/ 2147483647 h 60"/>
                <a:gd name="T14" fmla="*/ 2147483647 w 42"/>
                <a:gd name="T15" fmla="*/ 2147483647 h 60"/>
                <a:gd name="T16" fmla="*/ 2147483647 w 42"/>
                <a:gd name="T17" fmla="*/ 2147483647 h 60"/>
                <a:gd name="T18" fmla="*/ 2147483647 w 42"/>
                <a:gd name="T19" fmla="*/ 2147483647 h 60"/>
                <a:gd name="T20" fmla="*/ 2147483647 w 42"/>
                <a:gd name="T21" fmla="*/ 2147483647 h 60"/>
                <a:gd name="T22" fmla="*/ 2147483647 w 42"/>
                <a:gd name="T23" fmla="*/ 2147483647 h 60"/>
                <a:gd name="T24" fmla="*/ 2147483647 w 42"/>
                <a:gd name="T25" fmla="*/ 2147483647 h 60"/>
                <a:gd name="T26" fmla="*/ 2147483647 w 42"/>
                <a:gd name="T27" fmla="*/ 2147483647 h 60"/>
                <a:gd name="T28" fmla="*/ 0 w 42"/>
                <a:gd name="T29" fmla="*/ 2147483647 h 60"/>
                <a:gd name="T30" fmla="*/ 0 w 42"/>
                <a:gd name="T31" fmla="*/ 2147483647 h 60"/>
                <a:gd name="T32" fmla="*/ 2147483647 w 42"/>
                <a:gd name="T33" fmla="*/ 2147483647 h 60"/>
                <a:gd name="T34" fmla="*/ 2147483647 w 42"/>
                <a:gd name="T35" fmla="*/ 2147483647 h 60"/>
                <a:gd name="T36" fmla="*/ 2147483647 w 42"/>
                <a:gd name="T37" fmla="*/ 2147483647 h 60"/>
                <a:gd name="T38" fmla="*/ 0 w 42"/>
                <a:gd name="T39" fmla="*/ 2147483647 h 60"/>
                <a:gd name="T40" fmla="*/ 2147483647 w 42"/>
                <a:gd name="T41" fmla="*/ 0 h 60"/>
                <a:gd name="T42" fmla="*/ 2147483647 w 42"/>
                <a:gd name="T43" fmla="*/ 2147483647 h 60"/>
                <a:gd name="T44" fmla="*/ 2147483647 w 42"/>
                <a:gd name="T45" fmla="*/ 2147483647 h 60"/>
                <a:gd name="T46" fmla="*/ 2147483647 w 42"/>
                <a:gd name="T47" fmla="*/ 2147483647 h 60"/>
                <a:gd name="T48" fmla="*/ 2147483647 w 42"/>
                <a:gd name="T49" fmla="*/ 2147483647 h 60"/>
                <a:gd name="T50" fmla="*/ 2147483647 w 42"/>
                <a:gd name="T51" fmla="*/ 2147483647 h 60"/>
                <a:gd name="T52" fmla="*/ 2147483647 w 42"/>
                <a:gd name="T53" fmla="*/ 2147483647 h 60"/>
                <a:gd name="T54" fmla="*/ 2147483647 w 42"/>
                <a:gd name="T55" fmla="*/ 2147483647 h 60"/>
                <a:gd name="T56" fmla="*/ 2147483647 w 42"/>
                <a:gd name="T57" fmla="*/ 2147483647 h 60"/>
                <a:gd name="T58" fmla="*/ 2147483647 w 42"/>
                <a:gd name="T59" fmla="*/ 2147483647 h 60"/>
                <a:gd name="T60" fmla="*/ 2147483647 w 42"/>
                <a:gd name="T61" fmla="*/ 2147483647 h 60"/>
                <a:gd name="T62" fmla="*/ 2147483647 w 42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"/>
                <a:gd name="T97" fmla="*/ 0 h 60"/>
                <a:gd name="T98" fmla="*/ 42 w 42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" h="60">
                  <a:moveTo>
                    <a:pt x="41" y="53"/>
                  </a:moveTo>
                  <a:lnTo>
                    <a:pt x="36" y="60"/>
                  </a:lnTo>
                  <a:lnTo>
                    <a:pt x="34" y="54"/>
                  </a:lnTo>
                  <a:lnTo>
                    <a:pt x="34" y="46"/>
                  </a:lnTo>
                  <a:lnTo>
                    <a:pt x="27" y="38"/>
                  </a:lnTo>
                  <a:lnTo>
                    <a:pt x="23" y="39"/>
                  </a:lnTo>
                  <a:lnTo>
                    <a:pt x="22" y="42"/>
                  </a:lnTo>
                  <a:lnTo>
                    <a:pt x="23" y="47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7" y="50"/>
                  </a:lnTo>
                  <a:lnTo>
                    <a:pt x="7" y="36"/>
                  </a:lnTo>
                  <a:lnTo>
                    <a:pt x="4" y="31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6" y="9"/>
                  </a:lnTo>
                  <a:lnTo>
                    <a:pt x="4" y="5"/>
                  </a:lnTo>
                  <a:lnTo>
                    <a:pt x="0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7" y="7"/>
                  </a:lnTo>
                  <a:lnTo>
                    <a:pt x="33" y="6"/>
                  </a:lnTo>
                  <a:lnTo>
                    <a:pt x="36" y="11"/>
                  </a:lnTo>
                  <a:lnTo>
                    <a:pt x="36" y="15"/>
                  </a:lnTo>
                  <a:lnTo>
                    <a:pt x="30" y="21"/>
                  </a:lnTo>
                  <a:lnTo>
                    <a:pt x="32" y="29"/>
                  </a:lnTo>
                  <a:lnTo>
                    <a:pt x="38" y="31"/>
                  </a:lnTo>
                  <a:lnTo>
                    <a:pt x="40" y="41"/>
                  </a:lnTo>
                  <a:lnTo>
                    <a:pt x="42" y="48"/>
                  </a:lnTo>
                  <a:lnTo>
                    <a:pt x="41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09" name="Freeform 806"/>
            <p:cNvSpPr>
              <a:spLocks/>
            </p:cNvSpPr>
            <p:nvPr/>
          </p:nvSpPr>
          <p:spPr bwMode="gray">
            <a:xfrm>
              <a:off x="3839" y="2488"/>
              <a:ext cx="110" cy="255"/>
            </a:xfrm>
            <a:custGeom>
              <a:avLst/>
              <a:gdLst>
                <a:gd name="T0" fmla="*/ 2147483647 w 85"/>
                <a:gd name="T1" fmla="*/ 2147483647 h 196"/>
                <a:gd name="T2" fmla="*/ 2147483647 w 85"/>
                <a:gd name="T3" fmla="*/ 2147483647 h 196"/>
                <a:gd name="T4" fmla="*/ 2147483647 w 85"/>
                <a:gd name="T5" fmla="*/ 2147483647 h 196"/>
                <a:gd name="T6" fmla="*/ 2147483647 w 85"/>
                <a:gd name="T7" fmla="*/ 2147483647 h 196"/>
                <a:gd name="T8" fmla="*/ 2147483647 w 85"/>
                <a:gd name="T9" fmla="*/ 2147483647 h 196"/>
                <a:gd name="T10" fmla="*/ 2147483647 w 85"/>
                <a:gd name="T11" fmla="*/ 2147483647 h 196"/>
                <a:gd name="T12" fmla="*/ 2147483647 w 85"/>
                <a:gd name="T13" fmla="*/ 2147483647 h 196"/>
                <a:gd name="T14" fmla="*/ 2147483647 w 85"/>
                <a:gd name="T15" fmla="*/ 2147483647 h 196"/>
                <a:gd name="T16" fmla="*/ 2147483647 w 85"/>
                <a:gd name="T17" fmla="*/ 2147483647 h 196"/>
                <a:gd name="T18" fmla="*/ 2147483647 w 85"/>
                <a:gd name="T19" fmla="*/ 2147483647 h 196"/>
                <a:gd name="T20" fmla="*/ 2147483647 w 85"/>
                <a:gd name="T21" fmla="*/ 2147483647 h 196"/>
                <a:gd name="T22" fmla="*/ 2147483647 w 85"/>
                <a:gd name="T23" fmla="*/ 2147483647 h 196"/>
                <a:gd name="T24" fmla="*/ 2147483647 w 85"/>
                <a:gd name="T25" fmla="*/ 2147483647 h 196"/>
                <a:gd name="T26" fmla="*/ 2147483647 w 85"/>
                <a:gd name="T27" fmla="*/ 2147483647 h 196"/>
                <a:gd name="T28" fmla="*/ 2147483647 w 85"/>
                <a:gd name="T29" fmla="*/ 2147483647 h 196"/>
                <a:gd name="T30" fmla="*/ 2147483647 w 85"/>
                <a:gd name="T31" fmla="*/ 2147483647 h 196"/>
                <a:gd name="T32" fmla="*/ 2147483647 w 85"/>
                <a:gd name="T33" fmla="*/ 2147483647 h 196"/>
                <a:gd name="T34" fmla="*/ 2147483647 w 85"/>
                <a:gd name="T35" fmla="*/ 2147483647 h 196"/>
                <a:gd name="T36" fmla="*/ 2147483647 w 85"/>
                <a:gd name="T37" fmla="*/ 2147483647 h 196"/>
                <a:gd name="T38" fmla="*/ 2147483647 w 85"/>
                <a:gd name="T39" fmla="*/ 2147483647 h 196"/>
                <a:gd name="T40" fmla="*/ 2147483647 w 85"/>
                <a:gd name="T41" fmla="*/ 2147483647 h 196"/>
                <a:gd name="T42" fmla="*/ 2147483647 w 85"/>
                <a:gd name="T43" fmla="*/ 2147483647 h 196"/>
                <a:gd name="T44" fmla="*/ 2147483647 w 85"/>
                <a:gd name="T45" fmla="*/ 2147483647 h 196"/>
                <a:gd name="T46" fmla="*/ 2147483647 w 85"/>
                <a:gd name="T47" fmla="*/ 2147483647 h 196"/>
                <a:gd name="T48" fmla="*/ 2147483647 w 85"/>
                <a:gd name="T49" fmla="*/ 2147483647 h 196"/>
                <a:gd name="T50" fmla="*/ 2147483647 w 85"/>
                <a:gd name="T51" fmla="*/ 2147483647 h 196"/>
                <a:gd name="T52" fmla="*/ 2147483647 w 85"/>
                <a:gd name="T53" fmla="*/ 2147483647 h 196"/>
                <a:gd name="T54" fmla="*/ 2147483647 w 85"/>
                <a:gd name="T55" fmla="*/ 2147483647 h 196"/>
                <a:gd name="T56" fmla="*/ 2147483647 w 85"/>
                <a:gd name="T57" fmla="*/ 2147483647 h 196"/>
                <a:gd name="T58" fmla="*/ 2147483647 w 85"/>
                <a:gd name="T59" fmla="*/ 2147483647 h 196"/>
                <a:gd name="T60" fmla="*/ 2147483647 w 85"/>
                <a:gd name="T61" fmla="*/ 2147483647 h 196"/>
                <a:gd name="T62" fmla="*/ 2147483647 w 85"/>
                <a:gd name="T63" fmla="*/ 2147483647 h 196"/>
                <a:gd name="T64" fmla="*/ 2147483647 w 85"/>
                <a:gd name="T65" fmla="*/ 2147483647 h 196"/>
                <a:gd name="T66" fmla="*/ 0 w 85"/>
                <a:gd name="T67" fmla="*/ 2147483647 h 196"/>
                <a:gd name="T68" fmla="*/ 2147483647 w 85"/>
                <a:gd name="T69" fmla="*/ 2147483647 h 196"/>
                <a:gd name="T70" fmla="*/ 2147483647 w 85"/>
                <a:gd name="T71" fmla="*/ 2147483647 h 196"/>
                <a:gd name="T72" fmla="*/ 2147483647 w 85"/>
                <a:gd name="T73" fmla="*/ 2147483647 h 196"/>
                <a:gd name="T74" fmla="*/ 2147483647 w 85"/>
                <a:gd name="T75" fmla="*/ 2147483647 h 196"/>
                <a:gd name="T76" fmla="*/ 2147483647 w 85"/>
                <a:gd name="T77" fmla="*/ 2147483647 h 196"/>
                <a:gd name="T78" fmla="*/ 2147483647 w 85"/>
                <a:gd name="T79" fmla="*/ 2147483647 h 196"/>
                <a:gd name="T80" fmla="*/ 2147483647 w 85"/>
                <a:gd name="T81" fmla="*/ 2147483647 h 196"/>
                <a:gd name="T82" fmla="*/ 2147483647 w 85"/>
                <a:gd name="T83" fmla="*/ 2147483647 h 196"/>
                <a:gd name="T84" fmla="*/ 2147483647 w 85"/>
                <a:gd name="T85" fmla="*/ 2147483647 h 196"/>
                <a:gd name="T86" fmla="*/ 2147483647 w 85"/>
                <a:gd name="T87" fmla="*/ 2147483647 h 196"/>
                <a:gd name="T88" fmla="*/ 2147483647 w 85"/>
                <a:gd name="T89" fmla="*/ 0 h 196"/>
                <a:gd name="T90" fmla="*/ 2147483647 w 85"/>
                <a:gd name="T91" fmla="*/ 2147483647 h 196"/>
                <a:gd name="T92" fmla="*/ 2147483647 w 85"/>
                <a:gd name="T93" fmla="*/ 2147483647 h 196"/>
                <a:gd name="T94" fmla="*/ 2147483647 w 85"/>
                <a:gd name="T95" fmla="*/ 2147483647 h 196"/>
                <a:gd name="T96" fmla="*/ 2147483647 w 85"/>
                <a:gd name="T97" fmla="*/ 2147483647 h 196"/>
                <a:gd name="T98" fmla="*/ 2147483647 w 85"/>
                <a:gd name="T99" fmla="*/ 2147483647 h 196"/>
                <a:gd name="T100" fmla="*/ 2147483647 w 85"/>
                <a:gd name="T101" fmla="*/ 2147483647 h 196"/>
                <a:gd name="T102" fmla="*/ 2147483647 w 85"/>
                <a:gd name="T103" fmla="*/ 2147483647 h 196"/>
                <a:gd name="T104" fmla="*/ 2147483647 w 85"/>
                <a:gd name="T105" fmla="*/ 2147483647 h 196"/>
                <a:gd name="T106" fmla="*/ 2147483647 w 85"/>
                <a:gd name="T107" fmla="*/ 2147483647 h 196"/>
                <a:gd name="T108" fmla="*/ 2147483647 w 85"/>
                <a:gd name="T109" fmla="*/ 2147483647 h 196"/>
                <a:gd name="T110" fmla="*/ 2147483647 w 85"/>
                <a:gd name="T111" fmla="*/ 2147483647 h 196"/>
                <a:gd name="T112" fmla="*/ 2147483647 w 85"/>
                <a:gd name="T113" fmla="*/ 2147483647 h 196"/>
                <a:gd name="T114" fmla="*/ 2147483647 w 85"/>
                <a:gd name="T115" fmla="*/ 2147483647 h 1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"/>
                <a:gd name="T175" fmla="*/ 0 h 196"/>
                <a:gd name="T176" fmla="*/ 85 w 85"/>
                <a:gd name="T177" fmla="*/ 196 h 1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" h="196">
                  <a:moveTo>
                    <a:pt x="76" y="87"/>
                  </a:moveTo>
                  <a:lnTo>
                    <a:pt x="64" y="90"/>
                  </a:lnTo>
                  <a:lnTo>
                    <a:pt x="62" y="97"/>
                  </a:lnTo>
                  <a:lnTo>
                    <a:pt x="58" y="97"/>
                  </a:lnTo>
                  <a:lnTo>
                    <a:pt x="53" y="100"/>
                  </a:lnTo>
                  <a:lnTo>
                    <a:pt x="54" y="113"/>
                  </a:lnTo>
                  <a:lnTo>
                    <a:pt x="61" y="120"/>
                  </a:lnTo>
                  <a:lnTo>
                    <a:pt x="63" y="135"/>
                  </a:lnTo>
                  <a:lnTo>
                    <a:pt x="59" y="141"/>
                  </a:lnTo>
                  <a:lnTo>
                    <a:pt x="67" y="158"/>
                  </a:lnTo>
                  <a:lnTo>
                    <a:pt x="67" y="172"/>
                  </a:lnTo>
                  <a:lnTo>
                    <a:pt x="66" y="182"/>
                  </a:lnTo>
                  <a:lnTo>
                    <a:pt x="64" y="189"/>
                  </a:lnTo>
                  <a:lnTo>
                    <a:pt x="61" y="196"/>
                  </a:lnTo>
                  <a:lnTo>
                    <a:pt x="62" y="185"/>
                  </a:lnTo>
                  <a:lnTo>
                    <a:pt x="62" y="172"/>
                  </a:lnTo>
                  <a:lnTo>
                    <a:pt x="62" y="166"/>
                  </a:lnTo>
                  <a:lnTo>
                    <a:pt x="61" y="162"/>
                  </a:lnTo>
                  <a:lnTo>
                    <a:pt x="56" y="155"/>
                  </a:lnTo>
                  <a:lnTo>
                    <a:pt x="54" y="144"/>
                  </a:lnTo>
                  <a:lnTo>
                    <a:pt x="53" y="132"/>
                  </a:lnTo>
                  <a:lnTo>
                    <a:pt x="49" y="129"/>
                  </a:lnTo>
                  <a:lnTo>
                    <a:pt x="47" y="125"/>
                  </a:lnTo>
                  <a:lnTo>
                    <a:pt x="42" y="130"/>
                  </a:lnTo>
                  <a:lnTo>
                    <a:pt x="38" y="136"/>
                  </a:lnTo>
                  <a:lnTo>
                    <a:pt x="27" y="139"/>
                  </a:lnTo>
                  <a:lnTo>
                    <a:pt x="22" y="137"/>
                  </a:lnTo>
                  <a:lnTo>
                    <a:pt x="23" y="131"/>
                  </a:lnTo>
                  <a:lnTo>
                    <a:pt x="21" y="123"/>
                  </a:lnTo>
                  <a:lnTo>
                    <a:pt x="21" y="110"/>
                  </a:lnTo>
                  <a:lnTo>
                    <a:pt x="14" y="104"/>
                  </a:lnTo>
                  <a:lnTo>
                    <a:pt x="12" y="95"/>
                  </a:lnTo>
                  <a:lnTo>
                    <a:pt x="3" y="88"/>
                  </a:lnTo>
                  <a:lnTo>
                    <a:pt x="0" y="82"/>
                  </a:lnTo>
                  <a:lnTo>
                    <a:pt x="5" y="75"/>
                  </a:lnTo>
                  <a:lnTo>
                    <a:pt x="6" y="70"/>
                  </a:lnTo>
                  <a:lnTo>
                    <a:pt x="13" y="66"/>
                  </a:lnTo>
                  <a:lnTo>
                    <a:pt x="11" y="53"/>
                  </a:lnTo>
                  <a:lnTo>
                    <a:pt x="15" y="52"/>
                  </a:lnTo>
                  <a:lnTo>
                    <a:pt x="16" y="46"/>
                  </a:lnTo>
                  <a:lnTo>
                    <a:pt x="22" y="45"/>
                  </a:lnTo>
                  <a:lnTo>
                    <a:pt x="32" y="14"/>
                  </a:lnTo>
                  <a:lnTo>
                    <a:pt x="44" y="8"/>
                  </a:lnTo>
                  <a:lnTo>
                    <a:pt x="49" y="1"/>
                  </a:lnTo>
                  <a:lnTo>
                    <a:pt x="55" y="0"/>
                  </a:lnTo>
                  <a:lnTo>
                    <a:pt x="60" y="13"/>
                  </a:lnTo>
                  <a:lnTo>
                    <a:pt x="62" y="26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8" y="58"/>
                  </a:lnTo>
                  <a:lnTo>
                    <a:pt x="68" y="68"/>
                  </a:lnTo>
                  <a:lnTo>
                    <a:pt x="75" y="68"/>
                  </a:lnTo>
                  <a:lnTo>
                    <a:pt x="76" y="71"/>
                  </a:lnTo>
                  <a:lnTo>
                    <a:pt x="83" y="74"/>
                  </a:lnTo>
                  <a:lnTo>
                    <a:pt x="85" y="77"/>
                  </a:lnTo>
                  <a:lnTo>
                    <a:pt x="82" y="78"/>
                  </a:lnTo>
                  <a:lnTo>
                    <a:pt x="76" y="87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0" name="Freeform 807"/>
            <p:cNvSpPr>
              <a:spLocks/>
            </p:cNvSpPr>
            <p:nvPr/>
          </p:nvSpPr>
          <p:spPr bwMode="gray">
            <a:xfrm>
              <a:off x="3858" y="2706"/>
              <a:ext cx="5" cy="22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2147483647 h 17"/>
                <a:gd name="T4" fmla="*/ 0 w 4"/>
                <a:gd name="T5" fmla="*/ 2147483647 h 17"/>
                <a:gd name="T6" fmla="*/ 2147483647 w 4"/>
                <a:gd name="T7" fmla="*/ 2147483647 h 17"/>
                <a:gd name="T8" fmla="*/ 2147483647 w 4"/>
                <a:gd name="T9" fmla="*/ 2147483647 h 17"/>
                <a:gd name="T10" fmla="*/ 2147483647 w 4"/>
                <a:gd name="T11" fmla="*/ 0 h 17"/>
                <a:gd name="T12" fmla="*/ 2147483647 w 4"/>
                <a:gd name="T13" fmla="*/ 2147483647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7"/>
                <a:gd name="T23" fmla="*/ 4 w 4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7">
                  <a:moveTo>
                    <a:pt x="3" y="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1" y="12"/>
                  </a:lnTo>
                  <a:lnTo>
                    <a:pt x="2" y="3"/>
                  </a:lnTo>
                  <a:lnTo>
                    <a:pt x="4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1" name="Freeform 808"/>
            <p:cNvSpPr>
              <a:spLocks/>
            </p:cNvSpPr>
            <p:nvPr/>
          </p:nvSpPr>
          <p:spPr bwMode="gray">
            <a:xfrm>
              <a:off x="3858" y="2734"/>
              <a:ext cx="3" cy="4"/>
            </a:xfrm>
            <a:custGeom>
              <a:avLst/>
              <a:gdLst>
                <a:gd name="T0" fmla="*/ 0 w 2"/>
                <a:gd name="T1" fmla="*/ 2147483647 h 3"/>
                <a:gd name="T2" fmla="*/ 0 w 2"/>
                <a:gd name="T3" fmla="*/ 0 h 3"/>
                <a:gd name="T4" fmla="*/ 2147483647 w 2"/>
                <a:gd name="T5" fmla="*/ 2147483647 h 3"/>
                <a:gd name="T6" fmla="*/ 2147483647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2" name="Freeform 809"/>
            <p:cNvSpPr>
              <a:spLocks/>
            </p:cNvSpPr>
            <p:nvPr/>
          </p:nvSpPr>
          <p:spPr bwMode="gray">
            <a:xfrm>
              <a:off x="3546" y="2395"/>
              <a:ext cx="356" cy="379"/>
            </a:xfrm>
            <a:custGeom>
              <a:avLst/>
              <a:gdLst>
                <a:gd name="T0" fmla="*/ 2147483647 w 273"/>
                <a:gd name="T1" fmla="*/ 2147483647 h 292"/>
                <a:gd name="T2" fmla="*/ 2147483647 w 273"/>
                <a:gd name="T3" fmla="*/ 2147483647 h 292"/>
                <a:gd name="T4" fmla="*/ 2147483647 w 273"/>
                <a:gd name="T5" fmla="*/ 2147483647 h 292"/>
                <a:gd name="T6" fmla="*/ 2147483647 w 273"/>
                <a:gd name="T7" fmla="*/ 2147483647 h 292"/>
                <a:gd name="T8" fmla="*/ 2147483647 w 273"/>
                <a:gd name="T9" fmla="*/ 2147483647 h 292"/>
                <a:gd name="T10" fmla="*/ 2147483647 w 273"/>
                <a:gd name="T11" fmla="*/ 2147483647 h 292"/>
                <a:gd name="T12" fmla="*/ 2147483647 w 273"/>
                <a:gd name="T13" fmla="*/ 2147483647 h 292"/>
                <a:gd name="T14" fmla="*/ 2147483647 w 273"/>
                <a:gd name="T15" fmla="*/ 2147483647 h 292"/>
                <a:gd name="T16" fmla="*/ 2147483647 w 273"/>
                <a:gd name="T17" fmla="*/ 2147483647 h 292"/>
                <a:gd name="T18" fmla="*/ 2147483647 w 273"/>
                <a:gd name="T19" fmla="*/ 2147483647 h 292"/>
                <a:gd name="T20" fmla="*/ 2147483647 w 273"/>
                <a:gd name="T21" fmla="*/ 2147483647 h 292"/>
                <a:gd name="T22" fmla="*/ 2147483647 w 273"/>
                <a:gd name="T23" fmla="*/ 2147483647 h 292"/>
                <a:gd name="T24" fmla="*/ 2147483647 w 273"/>
                <a:gd name="T25" fmla="*/ 2147483647 h 292"/>
                <a:gd name="T26" fmla="*/ 2147483647 w 273"/>
                <a:gd name="T27" fmla="*/ 2147483647 h 292"/>
                <a:gd name="T28" fmla="*/ 2147483647 w 273"/>
                <a:gd name="T29" fmla="*/ 2147483647 h 292"/>
                <a:gd name="T30" fmla="*/ 2147483647 w 273"/>
                <a:gd name="T31" fmla="*/ 2147483647 h 292"/>
                <a:gd name="T32" fmla="*/ 2147483647 w 273"/>
                <a:gd name="T33" fmla="*/ 2147483647 h 292"/>
                <a:gd name="T34" fmla="*/ 2147483647 w 273"/>
                <a:gd name="T35" fmla="*/ 2147483647 h 292"/>
                <a:gd name="T36" fmla="*/ 2147483647 w 273"/>
                <a:gd name="T37" fmla="*/ 2147483647 h 292"/>
                <a:gd name="T38" fmla="*/ 2147483647 w 273"/>
                <a:gd name="T39" fmla="*/ 2147483647 h 292"/>
                <a:gd name="T40" fmla="*/ 2147483647 w 273"/>
                <a:gd name="T41" fmla="*/ 2147483647 h 292"/>
                <a:gd name="T42" fmla="*/ 2147483647 w 273"/>
                <a:gd name="T43" fmla="*/ 2147483647 h 292"/>
                <a:gd name="T44" fmla="*/ 2147483647 w 273"/>
                <a:gd name="T45" fmla="*/ 2147483647 h 292"/>
                <a:gd name="T46" fmla="*/ 2147483647 w 273"/>
                <a:gd name="T47" fmla="*/ 2147483647 h 292"/>
                <a:gd name="T48" fmla="*/ 2147483647 w 273"/>
                <a:gd name="T49" fmla="*/ 2147483647 h 292"/>
                <a:gd name="T50" fmla="*/ 2147483647 w 273"/>
                <a:gd name="T51" fmla="*/ 2147483647 h 292"/>
                <a:gd name="T52" fmla="*/ 2147483647 w 273"/>
                <a:gd name="T53" fmla="*/ 2147483647 h 292"/>
                <a:gd name="T54" fmla="*/ 2147483647 w 273"/>
                <a:gd name="T55" fmla="*/ 2147483647 h 292"/>
                <a:gd name="T56" fmla="*/ 2147483647 w 273"/>
                <a:gd name="T57" fmla="*/ 2147483647 h 292"/>
                <a:gd name="T58" fmla="*/ 2147483647 w 273"/>
                <a:gd name="T59" fmla="*/ 2147483647 h 292"/>
                <a:gd name="T60" fmla="*/ 2147483647 w 273"/>
                <a:gd name="T61" fmla="*/ 2147483647 h 292"/>
                <a:gd name="T62" fmla="*/ 2147483647 w 273"/>
                <a:gd name="T63" fmla="*/ 2147483647 h 292"/>
                <a:gd name="T64" fmla="*/ 2147483647 w 273"/>
                <a:gd name="T65" fmla="*/ 2147483647 h 292"/>
                <a:gd name="T66" fmla="*/ 2147483647 w 273"/>
                <a:gd name="T67" fmla="*/ 2147483647 h 292"/>
                <a:gd name="T68" fmla="*/ 2147483647 w 273"/>
                <a:gd name="T69" fmla="*/ 2147483647 h 292"/>
                <a:gd name="T70" fmla="*/ 2147483647 w 273"/>
                <a:gd name="T71" fmla="*/ 2147483647 h 292"/>
                <a:gd name="T72" fmla="*/ 2147483647 w 273"/>
                <a:gd name="T73" fmla="*/ 2147483647 h 292"/>
                <a:gd name="T74" fmla="*/ 0 w 273"/>
                <a:gd name="T75" fmla="*/ 2147483647 h 292"/>
                <a:gd name="T76" fmla="*/ 2147483647 w 273"/>
                <a:gd name="T77" fmla="*/ 2147483647 h 292"/>
                <a:gd name="T78" fmla="*/ 2147483647 w 273"/>
                <a:gd name="T79" fmla="*/ 2147483647 h 292"/>
                <a:gd name="T80" fmla="*/ 2147483647 w 273"/>
                <a:gd name="T81" fmla="*/ 2147483647 h 292"/>
                <a:gd name="T82" fmla="*/ 2147483647 w 273"/>
                <a:gd name="T83" fmla="*/ 2147483647 h 292"/>
                <a:gd name="T84" fmla="*/ 2147483647 w 273"/>
                <a:gd name="T85" fmla="*/ 2147483647 h 292"/>
                <a:gd name="T86" fmla="*/ 2147483647 w 273"/>
                <a:gd name="T87" fmla="*/ 0 h 292"/>
                <a:gd name="T88" fmla="*/ 2147483647 w 273"/>
                <a:gd name="T89" fmla="*/ 2147483647 h 292"/>
                <a:gd name="T90" fmla="*/ 2147483647 w 273"/>
                <a:gd name="T91" fmla="*/ 2147483647 h 292"/>
                <a:gd name="T92" fmla="*/ 2147483647 w 273"/>
                <a:gd name="T93" fmla="*/ 2147483647 h 292"/>
                <a:gd name="T94" fmla="*/ 2147483647 w 273"/>
                <a:gd name="T95" fmla="*/ 2147483647 h 2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3"/>
                <a:gd name="T145" fmla="*/ 0 h 292"/>
                <a:gd name="T146" fmla="*/ 273 w 273"/>
                <a:gd name="T147" fmla="*/ 292 h 2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3" h="292">
                  <a:moveTo>
                    <a:pt x="119" y="50"/>
                  </a:moveTo>
                  <a:lnTo>
                    <a:pt x="116" y="57"/>
                  </a:lnTo>
                  <a:lnTo>
                    <a:pt x="114" y="64"/>
                  </a:lnTo>
                  <a:lnTo>
                    <a:pt x="116" y="72"/>
                  </a:lnTo>
                  <a:lnTo>
                    <a:pt x="122" y="74"/>
                  </a:lnTo>
                  <a:lnTo>
                    <a:pt x="126" y="77"/>
                  </a:lnTo>
                  <a:lnTo>
                    <a:pt x="143" y="81"/>
                  </a:lnTo>
                  <a:lnTo>
                    <a:pt x="153" y="82"/>
                  </a:lnTo>
                  <a:lnTo>
                    <a:pt x="164" y="91"/>
                  </a:lnTo>
                  <a:lnTo>
                    <a:pt x="174" y="95"/>
                  </a:lnTo>
                  <a:lnTo>
                    <a:pt x="185" y="93"/>
                  </a:lnTo>
                  <a:lnTo>
                    <a:pt x="188" y="85"/>
                  </a:lnTo>
                  <a:lnTo>
                    <a:pt x="186" y="77"/>
                  </a:lnTo>
                  <a:lnTo>
                    <a:pt x="190" y="76"/>
                  </a:lnTo>
                  <a:lnTo>
                    <a:pt x="196" y="79"/>
                  </a:lnTo>
                  <a:lnTo>
                    <a:pt x="198" y="85"/>
                  </a:lnTo>
                  <a:lnTo>
                    <a:pt x="202" y="90"/>
                  </a:lnTo>
                  <a:lnTo>
                    <a:pt x="225" y="88"/>
                  </a:lnTo>
                  <a:lnTo>
                    <a:pt x="225" y="78"/>
                  </a:lnTo>
                  <a:lnTo>
                    <a:pt x="240" y="66"/>
                  </a:lnTo>
                  <a:lnTo>
                    <a:pt x="262" y="59"/>
                  </a:lnTo>
                  <a:lnTo>
                    <a:pt x="266" y="62"/>
                  </a:lnTo>
                  <a:lnTo>
                    <a:pt x="265" y="66"/>
                  </a:lnTo>
                  <a:lnTo>
                    <a:pt x="273" y="73"/>
                  </a:lnTo>
                  <a:lnTo>
                    <a:pt x="268" y="80"/>
                  </a:lnTo>
                  <a:lnTo>
                    <a:pt x="256" y="86"/>
                  </a:lnTo>
                  <a:lnTo>
                    <a:pt x="246" y="117"/>
                  </a:lnTo>
                  <a:lnTo>
                    <a:pt x="240" y="118"/>
                  </a:lnTo>
                  <a:lnTo>
                    <a:pt x="239" y="124"/>
                  </a:lnTo>
                  <a:lnTo>
                    <a:pt x="235" y="125"/>
                  </a:lnTo>
                  <a:lnTo>
                    <a:pt x="237" y="138"/>
                  </a:lnTo>
                  <a:lnTo>
                    <a:pt x="230" y="142"/>
                  </a:lnTo>
                  <a:lnTo>
                    <a:pt x="228" y="135"/>
                  </a:lnTo>
                  <a:lnTo>
                    <a:pt x="226" y="125"/>
                  </a:lnTo>
                  <a:lnTo>
                    <a:pt x="220" y="123"/>
                  </a:lnTo>
                  <a:lnTo>
                    <a:pt x="218" y="115"/>
                  </a:lnTo>
                  <a:lnTo>
                    <a:pt x="224" y="109"/>
                  </a:lnTo>
                  <a:lnTo>
                    <a:pt x="224" y="105"/>
                  </a:lnTo>
                  <a:lnTo>
                    <a:pt x="221" y="100"/>
                  </a:lnTo>
                  <a:lnTo>
                    <a:pt x="205" y="101"/>
                  </a:lnTo>
                  <a:lnTo>
                    <a:pt x="199" y="95"/>
                  </a:lnTo>
                  <a:lnTo>
                    <a:pt x="192" y="94"/>
                  </a:lnTo>
                  <a:lnTo>
                    <a:pt x="188" y="98"/>
                  </a:lnTo>
                  <a:lnTo>
                    <a:pt x="192" y="99"/>
                  </a:lnTo>
                  <a:lnTo>
                    <a:pt x="194" y="103"/>
                  </a:lnTo>
                  <a:lnTo>
                    <a:pt x="195" y="107"/>
                  </a:lnTo>
                  <a:lnTo>
                    <a:pt x="188" y="107"/>
                  </a:lnTo>
                  <a:lnTo>
                    <a:pt x="188" y="111"/>
                  </a:lnTo>
                  <a:lnTo>
                    <a:pt x="192" y="116"/>
                  </a:lnTo>
                  <a:lnTo>
                    <a:pt x="192" y="125"/>
                  </a:lnTo>
                  <a:lnTo>
                    <a:pt x="195" y="130"/>
                  </a:lnTo>
                  <a:lnTo>
                    <a:pt x="195" y="144"/>
                  </a:lnTo>
                  <a:lnTo>
                    <a:pt x="179" y="149"/>
                  </a:lnTo>
                  <a:lnTo>
                    <a:pt x="176" y="156"/>
                  </a:lnTo>
                  <a:lnTo>
                    <a:pt x="178" y="160"/>
                  </a:lnTo>
                  <a:lnTo>
                    <a:pt x="176" y="164"/>
                  </a:lnTo>
                  <a:lnTo>
                    <a:pt x="169" y="168"/>
                  </a:lnTo>
                  <a:lnTo>
                    <a:pt x="162" y="170"/>
                  </a:lnTo>
                  <a:lnTo>
                    <a:pt x="156" y="176"/>
                  </a:lnTo>
                  <a:lnTo>
                    <a:pt x="155" y="181"/>
                  </a:lnTo>
                  <a:lnTo>
                    <a:pt x="149" y="185"/>
                  </a:lnTo>
                  <a:lnTo>
                    <a:pt x="147" y="188"/>
                  </a:lnTo>
                  <a:lnTo>
                    <a:pt x="141" y="191"/>
                  </a:lnTo>
                  <a:lnTo>
                    <a:pt x="134" y="200"/>
                  </a:lnTo>
                  <a:lnTo>
                    <a:pt x="131" y="207"/>
                  </a:lnTo>
                  <a:lnTo>
                    <a:pt x="126" y="207"/>
                  </a:lnTo>
                  <a:lnTo>
                    <a:pt x="121" y="212"/>
                  </a:lnTo>
                  <a:lnTo>
                    <a:pt x="116" y="213"/>
                  </a:lnTo>
                  <a:lnTo>
                    <a:pt x="114" y="217"/>
                  </a:lnTo>
                  <a:lnTo>
                    <a:pt x="114" y="227"/>
                  </a:lnTo>
                  <a:lnTo>
                    <a:pt x="115" y="232"/>
                  </a:lnTo>
                  <a:lnTo>
                    <a:pt x="114" y="246"/>
                  </a:lnTo>
                  <a:lnTo>
                    <a:pt x="111" y="252"/>
                  </a:lnTo>
                  <a:lnTo>
                    <a:pt x="112" y="266"/>
                  </a:lnTo>
                  <a:lnTo>
                    <a:pt x="108" y="267"/>
                  </a:lnTo>
                  <a:lnTo>
                    <a:pt x="105" y="271"/>
                  </a:lnTo>
                  <a:lnTo>
                    <a:pt x="105" y="275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6" y="286"/>
                  </a:lnTo>
                  <a:lnTo>
                    <a:pt x="91" y="292"/>
                  </a:lnTo>
                  <a:lnTo>
                    <a:pt x="84" y="289"/>
                  </a:lnTo>
                  <a:lnTo>
                    <a:pt x="80" y="284"/>
                  </a:lnTo>
                  <a:lnTo>
                    <a:pt x="77" y="271"/>
                  </a:lnTo>
                  <a:lnTo>
                    <a:pt x="74" y="262"/>
                  </a:lnTo>
                  <a:lnTo>
                    <a:pt x="70" y="253"/>
                  </a:lnTo>
                  <a:lnTo>
                    <a:pt x="65" y="245"/>
                  </a:lnTo>
                  <a:lnTo>
                    <a:pt x="64" y="240"/>
                  </a:lnTo>
                  <a:lnTo>
                    <a:pt x="63" y="234"/>
                  </a:lnTo>
                  <a:lnTo>
                    <a:pt x="61" y="229"/>
                  </a:lnTo>
                  <a:lnTo>
                    <a:pt x="55" y="212"/>
                  </a:lnTo>
                  <a:lnTo>
                    <a:pt x="52" y="207"/>
                  </a:lnTo>
                  <a:lnTo>
                    <a:pt x="47" y="189"/>
                  </a:lnTo>
                  <a:lnTo>
                    <a:pt x="45" y="174"/>
                  </a:lnTo>
                  <a:lnTo>
                    <a:pt x="44" y="158"/>
                  </a:lnTo>
                  <a:lnTo>
                    <a:pt x="43" y="155"/>
                  </a:lnTo>
                  <a:lnTo>
                    <a:pt x="43" y="145"/>
                  </a:lnTo>
                  <a:lnTo>
                    <a:pt x="40" y="141"/>
                  </a:lnTo>
                  <a:lnTo>
                    <a:pt x="38" y="150"/>
                  </a:lnTo>
                  <a:lnTo>
                    <a:pt x="38" y="154"/>
                  </a:lnTo>
                  <a:lnTo>
                    <a:pt x="35" y="159"/>
                  </a:lnTo>
                  <a:lnTo>
                    <a:pt x="25" y="160"/>
                  </a:lnTo>
                  <a:lnTo>
                    <a:pt x="19" y="156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13" y="141"/>
                  </a:lnTo>
                  <a:lnTo>
                    <a:pt x="17" y="140"/>
                  </a:lnTo>
                  <a:lnTo>
                    <a:pt x="21" y="135"/>
                  </a:lnTo>
                  <a:lnTo>
                    <a:pt x="14" y="137"/>
                  </a:lnTo>
                  <a:lnTo>
                    <a:pt x="8" y="137"/>
                  </a:lnTo>
                  <a:lnTo>
                    <a:pt x="5" y="134"/>
                  </a:lnTo>
                  <a:lnTo>
                    <a:pt x="5" y="130"/>
                  </a:lnTo>
                  <a:lnTo>
                    <a:pt x="2" y="129"/>
                  </a:lnTo>
                  <a:lnTo>
                    <a:pt x="0" y="126"/>
                  </a:lnTo>
                  <a:lnTo>
                    <a:pt x="5" y="121"/>
                  </a:lnTo>
                  <a:lnTo>
                    <a:pt x="13" y="116"/>
                  </a:lnTo>
                  <a:lnTo>
                    <a:pt x="26" y="118"/>
                  </a:lnTo>
                  <a:lnTo>
                    <a:pt x="28" y="110"/>
                  </a:lnTo>
                  <a:lnTo>
                    <a:pt x="16" y="90"/>
                  </a:lnTo>
                  <a:lnTo>
                    <a:pt x="21" y="77"/>
                  </a:lnTo>
                  <a:lnTo>
                    <a:pt x="25" y="81"/>
                  </a:lnTo>
                  <a:lnTo>
                    <a:pt x="33" y="80"/>
                  </a:lnTo>
                  <a:lnTo>
                    <a:pt x="51" y="61"/>
                  </a:lnTo>
                  <a:lnTo>
                    <a:pt x="53" y="52"/>
                  </a:lnTo>
                  <a:lnTo>
                    <a:pt x="59" y="48"/>
                  </a:lnTo>
                  <a:lnTo>
                    <a:pt x="61" y="38"/>
                  </a:lnTo>
                  <a:lnTo>
                    <a:pt x="67" y="32"/>
                  </a:lnTo>
                  <a:lnTo>
                    <a:pt x="69" y="26"/>
                  </a:lnTo>
                  <a:lnTo>
                    <a:pt x="63" y="19"/>
                  </a:lnTo>
                  <a:lnTo>
                    <a:pt x="56" y="16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75" y="3"/>
                  </a:lnTo>
                  <a:lnTo>
                    <a:pt x="101" y="21"/>
                  </a:lnTo>
                  <a:lnTo>
                    <a:pt x="103" y="20"/>
                  </a:lnTo>
                  <a:lnTo>
                    <a:pt x="103" y="21"/>
                  </a:lnTo>
                  <a:lnTo>
                    <a:pt x="100" y="23"/>
                  </a:lnTo>
                  <a:lnTo>
                    <a:pt x="97" y="22"/>
                  </a:lnTo>
                  <a:lnTo>
                    <a:pt x="95" y="24"/>
                  </a:lnTo>
                  <a:lnTo>
                    <a:pt x="100" y="30"/>
                  </a:lnTo>
                  <a:lnTo>
                    <a:pt x="100" y="39"/>
                  </a:lnTo>
                  <a:lnTo>
                    <a:pt x="104" y="42"/>
                  </a:lnTo>
                  <a:lnTo>
                    <a:pt x="112" y="42"/>
                  </a:lnTo>
                  <a:lnTo>
                    <a:pt x="119" y="50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3" name="Freeform 810"/>
            <p:cNvSpPr>
              <a:spLocks/>
            </p:cNvSpPr>
            <p:nvPr/>
          </p:nvSpPr>
          <p:spPr bwMode="gray">
            <a:xfrm>
              <a:off x="3615" y="2036"/>
              <a:ext cx="745" cy="567"/>
            </a:xfrm>
            <a:custGeom>
              <a:avLst/>
              <a:gdLst>
                <a:gd name="T0" fmla="*/ 2147483647 w 571"/>
                <a:gd name="T1" fmla="*/ 2147483647 h 435"/>
                <a:gd name="T2" fmla="*/ 0 w 571"/>
                <a:gd name="T3" fmla="*/ 2147483647 h 435"/>
                <a:gd name="T4" fmla="*/ 2147483647 w 571"/>
                <a:gd name="T5" fmla="*/ 2147483647 h 435"/>
                <a:gd name="T6" fmla="*/ 2147483647 w 571"/>
                <a:gd name="T7" fmla="*/ 2147483647 h 435"/>
                <a:gd name="T8" fmla="*/ 2147483647 w 571"/>
                <a:gd name="T9" fmla="*/ 2147483647 h 435"/>
                <a:gd name="T10" fmla="*/ 2147483647 w 571"/>
                <a:gd name="T11" fmla="*/ 2147483647 h 435"/>
                <a:gd name="T12" fmla="*/ 2147483647 w 571"/>
                <a:gd name="T13" fmla="*/ 2147483647 h 435"/>
                <a:gd name="T14" fmla="*/ 2147483647 w 571"/>
                <a:gd name="T15" fmla="*/ 2147483647 h 435"/>
                <a:gd name="T16" fmla="*/ 2147483647 w 571"/>
                <a:gd name="T17" fmla="*/ 2147483647 h 435"/>
                <a:gd name="T18" fmla="*/ 2147483647 w 571"/>
                <a:gd name="T19" fmla="*/ 2147483647 h 435"/>
                <a:gd name="T20" fmla="*/ 2147483647 w 571"/>
                <a:gd name="T21" fmla="*/ 2147483647 h 435"/>
                <a:gd name="T22" fmla="*/ 2147483647 w 571"/>
                <a:gd name="T23" fmla="*/ 2147483647 h 435"/>
                <a:gd name="T24" fmla="*/ 2147483647 w 571"/>
                <a:gd name="T25" fmla="*/ 2147483647 h 435"/>
                <a:gd name="T26" fmla="*/ 2147483647 w 571"/>
                <a:gd name="T27" fmla="*/ 2147483647 h 435"/>
                <a:gd name="T28" fmla="*/ 2147483647 w 571"/>
                <a:gd name="T29" fmla="*/ 2147483647 h 435"/>
                <a:gd name="T30" fmla="*/ 2147483647 w 571"/>
                <a:gd name="T31" fmla="*/ 2147483647 h 435"/>
                <a:gd name="T32" fmla="*/ 2147483647 w 571"/>
                <a:gd name="T33" fmla="*/ 2147483647 h 435"/>
                <a:gd name="T34" fmla="*/ 2147483647 w 571"/>
                <a:gd name="T35" fmla="*/ 2147483647 h 435"/>
                <a:gd name="T36" fmla="*/ 2147483647 w 571"/>
                <a:gd name="T37" fmla="*/ 2147483647 h 435"/>
                <a:gd name="T38" fmla="*/ 2147483647 w 571"/>
                <a:gd name="T39" fmla="*/ 2147483647 h 435"/>
                <a:gd name="T40" fmla="*/ 2147483647 w 571"/>
                <a:gd name="T41" fmla="*/ 2147483647 h 435"/>
                <a:gd name="T42" fmla="*/ 2147483647 w 571"/>
                <a:gd name="T43" fmla="*/ 2147483647 h 435"/>
                <a:gd name="T44" fmla="*/ 2147483647 w 571"/>
                <a:gd name="T45" fmla="*/ 2147483647 h 435"/>
                <a:gd name="T46" fmla="*/ 2147483647 w 571"/>
                <a:gd name="T47" fmla="*/ 2147483647 h 435"/>
                <a:gd name="T48" fmla="*/ 2147483647 w 571"/>
                <a:gd name="T49" fmla="*/ 2147483647 h 435"/>
                <a:gd name="T50" fmla="*/ 2147483647 w 571"/>
                <a:gd name="T51" fmla="*/ 2147483647 h 435"/>
                <a:gd name="T52" fmla="*/ 2147483647 w 571"/>
                <a:gd name="T53" fmla="*/ 2147483647 h 435"/>
                <a:gd name="T54" fmla="*/ 2147483647 w 571"/>
                <a:gd name="T55" fmla="*/ 2147483647 h 435"/>
                <a:gd name="T56" fmla="*/ 2147483647 w 571"/>
                <a:gd name="T57" fmla="*/ 2147483647 h 435"/>
                <a:gd name="T58" fmla="*/ 2147483647 w 571"/>
                <a:gd name="T59" fmla="*/ 2147483647 h 435"/>
                <a:gd name="T60" fmla="*/ 2147483647 w 571"/>
                <a:gd name="T61" fmla="*/ 2147483647 h 435"/>
                <a:gd name="T62" fmla="*/ 2147483647 w 571"/>
                <a:gd name="T63" fmla="*/ 2147483647 h 435"/>
                <a:gd name="T64" fmla="*/ 2147483647 w 571"/>
                <a:gd name="T65" fmla="*/ 2147483647 h 435"/>
                <a:gd name="T66" fmla="*/ 2147483647 w 571"/>
                <a:gd name="T67" fmla="*/ 2147483647 h 435"/>
                <a:gd name="T68" fmla="*/ 2147483647 w 571"/>
                <a:gd name="T69" fmla="*/ 2147483647 h 435"/>
                <a:gd name="T70" fmla="*/ 2147483647 w 571"/>
                <a:gd name="T71" fmla="*/ 2147483647 h 435"/>
                <a:gd name="T72" fmla="*/ 2147483647 w 571"/>
                <a:gd name="T73" fmla="*/ 2147483647 h 435"/>
                <a:gd name="T74" fmla="*/ 2147483647 w 571"/>
                <a:gd name="T75" fmla="*/ 2147483647 h 435"/>
                <a:gd name="T76" fmla="*/ 2147483647 w 571"/>
                <a:gd name="T77" fmla="*/ 2147483647 h 435"/>
                <a:gd name="T78" fmla="*/ 2147483647 w 571"/>
                <a:gd name="T79" fmla="*/ 2147483647 h 435"/>
                <a:gd name="T80" fmla="*/ 2147483647 w 571"/>
                <a:gd name="T81" fmla="*/ 2147483647 h 435"/>
                <a:gd name="T82" fmla="*/ 2147483647 w 571"/>
                <a:gd name="T83" fmla="*/ 2147483647 h 435"/>
                <a:gd name="T84" fmla="*/ 2147483647 w 571"/>
                <a:gd name="T85" fmla="*/ 2147483647 h 435"/>
                <a:gd name="T86" fmla="*/ 2147483647 w 571"/>
                <a:gd name="T87" fmla="*/ 2147483647 h 435"/>
                <a:gd name="T88" fmla="*/ 2147483647 w 571"/>
                <a:gd name="T89" fmla="*/ 2147483647 h 435"/>
                <a:gd name="T90" fmla="*/ 2147483647 w 571"/>
                <a:gd name="T91" fmla="*/ 2147483647 h 435"/>
                <a:gd name="T92" fmla="*/ 2147483647 w 571"/>
                <a:gd name="T93" fmla="*/ 2147483647 h 435"/>
                <a:gd name="T94" fmla="*/ 2147483647 w 571"/>
                <a:gd name="T95" fmla="*/ 2147483647 h 435"/>
                <a:gd name="T96" fmla="*/ 2147483647 w 571"/>
                <a:gd name="T97" fmla="*/ 2147483647 h 435"/>
                <a:gd name="T98" fmla="*/ 2147483647 w 571"/>
                <a:gd name="T99" fmla="*/ 2147483647 h 435"/>
                <a:gd name="T100" fmla="*/ 2147483647 w 571"/>
                <a:gd name="T101" fmla="*/ 2147483647 h 435"/>
                <a:gd name="T102" fmla="*/ 2147483647 w 571"/>
                <a:gd name="T103" fmla="*/ 2147483647 h 435"/>
                <a:gd name="T104" fmla="*/ 2147483647 w 571"/>
                <a:gd name="T105" fmla="*/ 2147483647 h 435"/>
                <a:gd name="T106" fmla="*/ 2147483647 w 571"/>
                <a:gd name="T107" fmla="*/ 2147483647 h 435"/>
                <a:gd name="T108" fmla="*/ 2147483647 w 571"/>
                <a:gd name="T109" fmla="*/ 2147483647 h 435"/>
                <a:gd name="T110" fmla="*/ 2147483647 w 571"/>
                <a:gd name="T111" fmla="*/ 2147483647 h 4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71"/>
                <a:gd name="T169" fmla="*/ 0 h 435"/>
                <a:gd name="T170" fmla="*/ 571 w 571"/>
                <a:gd name="T171" fmla="*/ 435 h 4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71" h="435">
                  <a:moveTo>
                    <a:pt x="28" y="265"/>
                  </a:moveTo>
                  <a:lnTo>
                    <a:pt x="21" y="259"/>
                  </a:lnTo>
                  <a:lnTo>
                    <a:pt x="19" y="251"/>
                  </a:lnTo>
                  <a:lnTo>
                    <a:pt x="15" y="246"/>
                  </a:lnTo>
                  <a:lnTo>
                    <a:pt x="10" y="243"/>
                  </a:lnTo>
                  <a:lnTo>
                    <a:pt x="8" y="240"/>
                  </a:lnTo>
                  <a:lnTo>
                    <a:pt x="13" y="230"/>
                  </a:lnTo>
                  <a:lnTo>
                    <a:pt x="11" y="223"/>
                  </a:lnTo>
                  <a:lnTo>
                    <a:pt x="2" y="221"/>
                  </a:lnTo>
                  <a:lnTo>
                    <a:pt x="0" y="211"/>
                  </a:lnTo>
                  <a:lnTo>
                    <a:pt x="3" y="205"/>
                  </a:lnTo>
                  <a:lnTo>
                    <a:pt x="17" y="196"/>
                  </a:lnTo>
                  <a:lnTo>
                    <a:pt x="22" y="201"/>
                  </a:lnTo>
                  <a:lnTo>
                    <a:pt x="28" y="200"/>
                  </a:lnTo>
                  <a:lnTo>
                    <a:pt x="29" y="192"/>
                  </a:lnTo>
                  <a:lnTo>
                    <a:pt x="35" y="191"/>
                  </a:lnTo>
                  <a:lnTo>
                    <a:pt x="43" y="185"/>
                  </a:lnTo>
                  <a:lnTo>
                    <a:pt x="53" y="182"/>
                  </a:lnTo>
                  <a:lnTo>
                    <a:pt x="60" y="172"/>
                  </a:lnTo>
                  <a:lnTo>
                    <a:pt x="64" y="162"/>
                  </a:lnTo>
                  <a:lnTo>
                    <a:pt x="62" y="156"/>
                  </a:lnTo>
                  <a:lnTo>
                    <a:pt x="61" y="145"/>
                  </a:lnTo>
                  <a:lnTo>
                    <a:pt x="55" y="138"/>
                  </a:lnTo>
                  <a:lnTo>
                    <a:pt x="74" y="131"/>
                  </a:lnTo>
                  <a:lnTo>
                    <a:pt x="78" y="137"/>
                  </a:lnTo>
                  <a:lnTo>
                    <a:pt x="82" y="132"/>
                  </a:lnTo>
                  <a:lnTo>
                    <a:pt x="81" y="126"/>
                  </a:lnTo>
                  <a:lnTo>
                    <a:pt x="89" y="108"/>
                  </a:lnTo>
                  <a:lnTo>
                    <a:pt x="100" y="107"/>
                  </a:lnTo>
                  <a:lnTo>
                    <a:pt x="107" y="111"/>
                  </a:lnTo>
                  <a:lnTo>
                    <a:pt x="112" y="105"/>
                  </a:lnTo>
                  <a:lnTo>
                    <a:pt x="109" y="91"/>
                  </a:lnTo>
                  <a:lnTo>
                    <a:pt x="126" y="76"/>
                  </a:lnTo>
                  <a:lnTo>
                    <a:pt x="129" y="76"/>
                  </a:lnTo>
                  <a:lnTo>
                    <a:pt x="139" y="93"/>
                  </a:lnTo>
                  <a:lnTo>
                    <a:pt x="150" y="93"/>
                  </a:lnTo>
                  <a:lnTo>
                    <a:pt x="164" y="116"/>
                  </a:lnTo>
                  <a:lnTo>
                    <a:pt x="158" y="124"/>
                  </a:lnTo>
                  <a:lnTo>
                    <a:pt x="165" y="133"/>
                  </a:lnTo>
                  <a:lnTo>
                    <a:pt x="176" y="136"/>
                  </a:lnTo>
                  <a:lnTo>
                    <a:pt x="208" y="151"/>
                  </a:lnTo>
                  <a:lnTo>
                    <a:pt x="207" y="162"/>
                  </a:lnTo>
                  <a:lnTo>
                    <a:pt x="214" y="171"/>
                  </a:lnTo>
                  <a:lnTo>
                    <a:pt x="223" y="171"/>
                  </a:lnTo>
                  <a:lnTo>
                    <a:pt x="226" y="168"/>
                  </a:lnTo>
                  <a:lnTo>
                    <a:pt x="229" y="166"/>
                  </a:lnTo>
                  <a:lnTo>
                    <a:pt x="234" y="169"/>
                  </a:lnTo>
                  <a:lnTo>
                    <a:pt x="246" y="166"/>
                  </a:lnTo>
                  <a:lnTo>
                    <a:pt x="262" y="168"/>
                  </a:lnTo>
                  <a:lnTo>
                    <a:pt x="271" y="178"/>
                  </a:lnTo>
                  <a:lnTo>
                    <a:pt x="282" y="179"/>
                  </a:lnTo>
                  <a:lnTo>
                    <a:pt x="290" y="183"/>
                  </a:lnTo>
                  <a:lnTo>
                    <a:pt x="296" y="181"/>
                  </a:lnTo>
                  <a:lnTo>
                    <a:pt x="310" y="171"/>
                  </a:lnTo>
                  <a:lnTo>
                    <a:pt x="318" y="175"/>
                  </a:lnTo>
                  <a:lnTo>
                    <a:pt x="327" y="174"/>
                  </a:lnTo>
                  <a:lnTo>
                    <a:pt x="338" y="168"/>
                  </a:lnTo>
                  <a:lnTo>
                    <a:pt x="346" y="159"/>
                  </a:lnTo>
                  <a:lnTo>
                    <a:pt x="354" y="156"/>
                  </a:lnTo>
                  <a:lnTo>
                    <a:pt x="357" y="149"/>
                  </a:lnTo>
                  <a:lnTo>
                    <a:pt x="351" y="144"/>
                  </a:lnTo>
                  <a:lnTo>
                    <a:pt x="358" y="133"/>
                  </a:lnTo>
                  <a:lnTo>
                    <a:pt x="372" y="137"/>
                  </a:lnTo>
                  <a:lnTo>
                    <a:pt x="383" y="125"/>
                  </a:lnTo>
                  <a:lnTo>
                    <a:pt x="388" y="130"/>
                  </a:lnTo>
                  <a:lnTo>
                    <a:pt x="393" y="129"/>
                  </a:lnTo>
                  <a:lnTo>
                    <a:pt x="397" y="115"/>
                  </a:lnTo>
                  <a:lnTo>
                    <a:pt x="402" y="113"/>
                  </a:lnTo>
                  <a:lnTo>
                    <a:pt x="405" y="118"/>
                  </a:lnTo>
                  <a:lnTo>
                    <a:pt x="412" y="116"/>
                  </a:lnTo>
                  <a:lnTo>
                    <a:pt x="411" y="110"/>
                  </a:lnTo>
                  <a:lnTo>
                    <a:pt x="419" y="109"/>
                  </a:lnTo>
                  <a:lnTo>
                    <a:pt x="425" y="111"/>
                  </a:lnTo>
                  <a:lnTo>
                    <a:pt x="429" y="108"/>
                  </a:lnTo>
                  <a:lnTo>
                    <a:pt x="425" y="97"/>
                  </a:lnTo>
                  <a:lnTo>
                    <a:pt x="410" y="92"/>
                  </a:lnTo>
                  <a:lnTo>
                    <a:pt x="405" y="98"/>
                  </a:lnTo>
                  <a:lnTo>
                    <a:pt x="398" y="94"/>
                  </a:lnTo>
                  <a:lnTo>
                    <a:pt x="395" y="98"/>
                  </a:lnTo>
                  <a:lnTo>
                    <a:pt x="389" y="95"/>
                  </a:lnTo>
                  <a:lnTo>
                    <a:pt x="390" y="88"/>
                  </a:lnTo>
                  <a:lnTo>
                    <a:pt x="395" y="83"/>
                  </a:lnTo>
                  <a:lnTo>
                    <a:pt x="401" y="68"/>
                  </a:lnTo>
                  <a:lnTo>
                    <a:pt x="402" y="64"/>
                  </a:lnTo>
                  <a:lnTo>
                    <a:pt x="407" y="70"/>
                  </a:lnTo>
                  <a:lnTo>
                    <a:pt x="423" y="59"/>
                  </a:lnTo>
                  <a:lnTo>
                    <a:pt x="422" y="50"/>
                  </a:lnTo>
                  <a:lnTo>
                    <a:pt x="427" y="47"/>
                  </a:lnTo>
                  <a:lnTo>
                    <a:pt x="430" y="32"/>
                  </a:lnTo>
                  <a:lnTo>
                    <a:pt x="437" y="27"/>
                  </a:lnTo>
                  <a:lnTo>
                    <a:pt x="438" y="19"/>
                  </a:lnTo>
                  <a:lnTo>
                    <a:pt x="431" y="19"/>
                  </a:lnTo>
                  <a:lnTo>
                    <a:pt x="440" y="3"/>
                  </a:lnTo>
                  <a:lnTo>
                    <a:pt x="461" y="0"/>
                  </a:lnTo>
                  <a:lnTo>
                    <a:pt x="476" y="5"/>
                  </a:lnTo>
                  <a:lnTo>
                    <a:pt x="486" y="7"/>
                  </a:lnTo>
                  <a:lnTo>
                    <a:pt x="494" y="25"/>
                  </a:lnTo>
                  <a:lnTo>
                    <a:pt x="495" y="33"/>
                  </a:lnTo>
                  <a:lnTo>
                    <a:pt x="501" y="48"/>
                  </a:lnTo>
                  <a:lnTo>
                    <a:pt x="503" y="63"/>
                  </a:lnTo>
                  <a:lnTo>
                    <a:pt x="512" y="64"/>
                  </a:lnTo>
                  <a:lnTo>
                    <a:pt x="520" y="68"/>
                  </a:lnTo>
                  <a:lnTo>
                    <a:pt x="532" y="80"/>
                  </a:lnTo>
                  <a:lnTo>
                    <a:pt x="535" y="94"/>
                  </a:lnTo>
                  <a:lnTo>
                    <a:pt x="543" y="93"/>
                  </a:lnTo>
                  <a:lnTo>
                    <a:pt x="547" y="91"/>
                  </a:lnTo>
                  <a:lnTo>
                    <a:pt x="556" y="90"/>
                  </a:lnTo>
                  <a:lnTo>
                    <a:pt x="567" y="83"/>
                  </a:lnTo>
                  <a:lnTo>
                    <a:pt x="571" y="84"/>
                  </a:lnTo>
                  <a:lnTo>
                    <a:pt x="568" y="103"/>
                  </a:lnTo>
                  <a:lnTo>
                    <a:pt x="560" y="109"/>
                  </a:lnTo>
                  <a:lnTo>
                    <a:pt x="556" y="131"/>
                  </a:lnTo>
                  <a:lnTo>
                    <a:pt x="548" y="135"/>
                  </a:lnTo>
                  <a:lnTo>
                    <a:pt x="541" y="133"/>
                  </a:lnTo>
                  <a:lnTo>
                    <a:pt x="533" y="136"/>
                  </a:lnTo>
                  <a:lnTo>
                    <a:pt x="537" y="149"/>
                  </a:lnTo>
                  <a:lnTo>
                    <a:pt x="535" y="161"/>
                  </a:lnTo>
                  <a:lnTo>
                    <a:pt x="524" y="165"/>
                  </a:lnTo>
                  <a:lnTo>
                    <a:pt x="514" y="175"/>
                  </a:lnTo>
                  <a:lnTo>
                    <a:pt x="507" y="175"/>
                  </a:lnTo>
                  <a:lnTo>
                    <a:pt x="509" y="184"/>
                  </a:lnTo>
                  <a:lnTo>
                    <a:pt x="506" y="187"/>
                  </a:lnTo>
                  <a:lnTo>
                    <a:pt x="498" y="188"/>
                  </a:lnTo>
                  <a:lnTo>
                    <a:pt x="498" y="181"/>
                  </a:lnTo>
                  <a:lnTo>
                    <a:pt x="494" y="180"/>
                  </a:lnTo>
                  <a:lnTo>
                    <a:pt x="487" y="194"/>
                  </a:lnTo>
                  <a:lnTo>
                    <a:pt x="475" y="199"/>
                  </a:lnTo>
                  <a:lnTo>
                    <a:pt x="470" y="208"/>
                  </a:lnTo>
                  <a:lnTo>
                    <a:pt x="463" y="210"/>
                  </a:lnTo>
                  <a:lnTo>
                    <a:pt x="453" y="217"/>
                  </a:lnTo>
                  <a:lnTo>
                    <a:pt x="447" y="220"/>
                  </a:lnTo>
                  <a:lnTo>
                    <a:pt x="447" y="215"/>
                  </a:lnTo>
                  <a:lnTo>
                    <a:pt x="443" y="213"/>
                  </a:lnTo>
                  <a:lnTo>
                    <a:pt x="450" y="203"/>
                  </a:lnTo>
                  <a:lnTo>
                    <a:pt x="449" y="197"/>
                  </a:lnTo>
                  <a:lnTo>
                    <a:pt x="441" y="196"/>
                  </a:lnTo>
                  <a:lnTo>
                    <a:pt x="434" y="203"/>
                  </a:lnTo>
                  <a:lnTo>
                    <a:pt x="427" y="206"/>
                  </a:lnTo>
                  <a:lnTo>
                    <a:pt x="425" y="211"/>
                  </a:lnTo>
                  <a:lnTo>
                    <a:pt x="422" y="214"/>
                  </a:lnTo>
                  <a:lnTo>
                    <a:pt x="422" y="217"/>
                  </a:lnTo>
                  <a:lnTo>
                    <a:pt x="419" y="218"/>
                  </a:lnTo>
                  <a:lnTo>
                    <a:pt x="413" y="219"/>
                  </a:lnTo>
                  <a:lnTo>
                    <a:pt x="410" y="225"/>
                  </a:lnTo>
                  <a:lnTo>
                    <a:pt x="415" y="233"/>
                  </a:lnTo>
                  <a:lnTo>
                    <a:pt x="422" y="234"/>
                  </a:lnTo>
                  <a:lnTo>
                    <a:pt x="421" y="241"/>
                  </a:lnTo>
                  <a:lnTo>
                    <a:pt x="427" y="242"/>
                  </a:lnTo>
                  <a:lnTo>
                    <a:pt x="436" y="235"/>
                  </a:lnTo>
                  <a:lnTo>
                    <a:pt x="439" y="235"/>
                  </a:lnTo>
                  <a:lnTo>
                    <a:pt x="442" y="237"/>
                  </a:lnTo>
                  <a:lnTo>
                    <a:pt x="454" y="238"/>
                  </a:lnTo>
                  <a:lnTo>
                    <a:pt x="455" y="243"/>
                  </a:lnTo>
                  <a:lnTo>
                    <a:pt x="454" y="245"/>
                  </a:lnTo>
                  <a:lnTo>
                    <a:pt x="449" y="245"/>
                  </a:lnTo>
                  <a:lnTo>
                    <a:pt x="445" y="247"/>
                  </a:lnTo>
                  <a:lnTo>
                    <a:pt x="444" y="249"/>
                  </a:lnTo>
                  <a:lnTo>
                    <a:pt x="440" y="254"/>
                  </a:lnTo>
                  <a:lnTo>
                    <a:pt x="436" y="254"/>
                  </a:lnTo>
                  <a:lnTo>
                    <a:pt x="434" y="252"/>
                  </a:lnTo>
                  <a:lnTo>
                    <a:pt x="430" y="256"/>
                  </a:lnTo>
                  <a:lnTo>
                    <a:pt x="430" y="258"/>
                  </a:lnTo>
                  <a:lnTo>
                    <a:pt x="425" y="263"/>
                  </a:lnTo>
                  <a:lnTo>
                    <a:pt x="424" y="268"/>
                  </a:lnTo>
                  <a:lnTo>
                    <a:pt x="430" y="274"/>
                  </a:lnTo>
                  <a:lnTo>
                    <a:pt x="436" y="276"/>
                  </a:lnTo>
                  <a:lnTo>
                    <a:pt x="437" y="283"/>
                  </a:lnTo>
                  <a:lnTo>
                    <a:pt x="440" y="286"/>
                  </a:lnTo>
                  <a:lnTo>
                    <a:pt x="440" y="295"/>
                  </a:lnTo>
                  <a:lnTo>
                    <a:pt x="444" y="299"/>
                  </a:lnTo>
                  <a:lnTo>
                    <a:pt x="448" y="305"/>
                  </a:lnTo>
                  <a:lnTo>
                    <a:pt x="448" y="308"/>
                  </a:lnTo>
                  <a:lnTo>
                    <a:pt x="444" y="308"/>
                  </a:lnTo>
                  <a:lnTo>
                    <a:pt x="447" y="312"/>
                  </a:lnTo>
                  <a:lnTo>
                    <a:pt x="448" y="317"/>
                  </a:lnTo>
                  <a:lnTo>
                    <a:pt x="444" y="319"/>
                  </a:lnTo>
                  <a:lnTo>
                    <a:pt x="439" y="323"/>
                  </a:lnTo>
                  <a:lnTo>
                    <a:pt x="439" y="327"/>
                  </a:lnTo>
                  <a:lnTo>
                    <a:pt x="441" y="328"/>
                  </a:lnTo>
                  <a:lnTo>
                    <a:pt x="445" y="325"/>
                  </a:lnTo>
                  <a:lnTo>
                    <a:pt x="448" y="328"/>
                  </a:lnTo>
                  <a:lnTo>
                    <a:pt x="449" y="335"/>
                  </a:lnTo>
                  <a:lnTo>
                    <a:pt x="445" y="340"/>
                  </a:lnTo>
                  <a:lnTo>
                    <a:pt x="445" y="345"/>
                  </a:lnTo>
                  <a:lnTo>
                    <a:pt x="444" y="348"/>
                  </a:lnTo>
                  <a:lnTo>
                    <a:pt x="440" y="351"/>
                  </a:lnTo>
                  <a:lnTo>
                    <a:pt x="439" y="355"/>
                  </a:lnTo>
                  <a:lnTo>
                    <a:pt x="433" y="361"/>
                  </a:lnTo>
                  <a:lnTo>
                    <a:pt x="433" y="367"/>
                  </a:lnTo>
                  <a:lnTo>
                    <a:pt x="429" y="369"/>
                  </a:lnTo>
                  <a:lnTo>
                    <a:pt x="429" y="379"/>
                  </a:lnTo>
                  <a:lnTo>
                    <a:pt x="423" y="382"/>
                  </a:lnTo>
                  <a:lnTo>
                    <a:pt x="422" y="386"/>
                  </a:lnTo>
                  <a:lnTo>
                    <a:pt x="418" y="387"/>
                  </a:lnTo>
                  <a:lnTo>
                    <a:pt x="413" y="391"/>
                  </a:lnTo>
                  <a:lnTo>
                    <a:pt x="413" y="396"/>
                  </a:lnTo>
                  <a:lnTo>
                    <a:pt x="402" y="401"/>
                  </a:lnTo>
                  <a:lnTo>
                    <a:pt x="401" y="406"/>
                  </a:lnTo>
                  <a:lnTo>
                    <a:pt x="395" y="406"/>
                  </a:lnTo>
                  <a:lnTo>
                    <a:pt x="391" y="411"/>
                  </a:lnTo>
                  <a:lnTo>
                    <a:pt x="386" y="411"/>
                  </a:lnTo>
                  <a:lnTo>
                    <a:pt x="379" y="416"/>
                  </a:lnTo>
                  <a:lnTo>
                    <a:pt x="375" y="413"/>
                  </a:lnTo>
                  <a:lnTo>
                    <a:pt x="375" y="410"/>
                  </a:lnTo>
                  <a:lnTo>
                    <a:pt x="373" y="408"/>
                  </a:lnTo>
                  <a:lnTo>
                    <a:pt x="369" y="410"/>
                  </a:lnTo>
                  <a:lnTo>
                    <a:pt x="367" y="417"/>
                  </a:lnTo>
                  <a:lnTo>
                    <a:pt x="361" y="422"/>
                  </a:lnTo>
                  <a:lnTo>
                    <a:pt x="356" y="422"/>
                  </a:lnTo>
                  <a:lnTo>
                    <a:pt x="353" y="424"/>
                  </a:lnTo>
                  <a:lnTo>
                    <a:pt x="349" y="425"/>
                  </a:lnTo>
                  <a:lnTo>
                    <a:pt x="346" y="429"/>
                  </a:lnTo>
                  <a:lnTo>
                    <a:pt x="340" y="431"/>
                  </a:lnTo>
                  <a:lnTo>
                    <a:pt x="339" y="435"/>
                  </a:lnTo>
                  <a:lnTo>
                    <a:pt x="336" y="435"/>
                  </a:lnTo>
                  <a:lnTo>
                    <a:pt x="335" y="432"/>
                  </a:lnTo>
                  <a:lnTo>
                    <a:pt x="335" y="425"/>
                  </a:lnTo>
                  <a:lnTo>
                    <a:pt x="330" y="423"/>
                  </a:lnTo>
                  <a:lnTo>
                    <a:pt x="322" y="423"/>
                  </a:lnTo>
                  <a:lnTo>
                    <a:pt x="319" y="420"/>
                  </a:lnTo>
                  <a:lnTo>
                    <a:pt x="313" y="421"/>
                  </a:lnTo>
                  <a:lnTo>
                    <a:pt x="308" y="416"/>
                  </a:lnTo>
                  <a:lnTo>
                    <a:pt x="309" y="410"/>
                  </a:lnTo>
                  <a:lnTo>
                    <a:pt x="308" y="406"/>
                  </a:lnTo>
                  <a:lnTo>
                    <a:pt x="298" y="406"/>
                  </a:lnTo>
                  <a:lnTo>
                    <a:pt x="293" y="401"/>
                  </a:lnTo>
                  <a:lnTo>
                    <a:pt x="288" y="410"/>
                  </a:lnTo>
                  <a:lnTo>
                    <a:pt x="277" y="409"/>
                  </a:lnTo>
                  <a:lnTo>
                    <a:pt x="272" y="407"/>
                  </a:lnTo>
                  <a:lnTo>
                    <a:pt x="268" y="412"/>
                  </a:lnTo>
                  <a:lnTo>
                    <a:pt x="263" y="410"/>
                  </a:lnTo>
                  <a:lnTo>
                    <a:pt x="260" y="416"/>
                  </a:lnTo>
                  <a:lnTo>
                    <a:pt x="262" y="428"/>
                  </a:lnTo>
                  <a:lnTo>
                    <a:pt x="257" y="426"/>
                  </a:lnTo>
                  <a:lnTo>
                    <a:pt x="256" y="424"/>
                  </a:lnTo>
                  <a:lnTo>
                    <a:pt x="254" y="421"/>
                  </a:lnTo>
                  <a:lnTo>
                    <a:pt x="247" y="418"/>
                  </a:lnTo>
                  <a:lnTo>
                    <a:pt x="246" y="415"/>
                  </a:lnTo>
                  <a:lnTo>
                    <a:pt x="239" y="415"/>
                  </a:lnTo>
                  <a:lnTo>
                    <a:pt x="239" y="405"/>
                  </a:lnTo>
                  <a:lnTo>
                    <a:pt x="231" y="395"/>
                  </a:lnTo>
                  <a:lnTo>
                    <a:pt x="225" y="395"/>
                  </a:lnTo>
                  <a:lnTo>
                    <a:pt x="225" y="383"/>
                  </a:lnTo>
                  <a:lnTo>
                    <a:pt x="233" y="373"/>
                  </a:lnTo>
                  <a:lnTo>
                    <a:pt x="231" y="360"/>
                  </a:lnTo>
                  <a:lnTo>
                    <a:pt x="226" y="347"/>
                  </a:lnTo>
                  <a:lnTo>
                    <a:pt x="220" y="348"/>
                  </a:lnTo>
                  <a:lnTo>
                    <a:pt x="212" y="341"/>
                  </a:lnTo>
                  <a:lnTo>
                    <a:pt x="213" y="337"/>
                  </a:lnTo>
                  <a:lnTo>
                    <a:pt x="209" y="334"/>
                  </a:lnTo>
                  <a:lnTo>
                    <a:pt x="187" y="341"/>
                  </a:lnTo>
                  <a:lnTo>
                    <a:pt x="172" y="353"/>
                  </a:lnTo>
                  <a:lnTo>
                    <a:pt x="167" y="349"/>
                  </a:lnTo>
                  <a:lnTo>
                    <a:pt x="160" y="351"/>
                  </a:lnTo>
                  <a:lnTo>
                    <a:pt x="156" y="347"/>
                  </a:lnTo>
                  <a:lnTo>
                    <a:pt x="150" y="347"/>
                  </a:lnTo>
                  <a:lnTo>
                    <a:pt x="143" y="354"/>
                  </a:lnTo>
                  <a:lnTo>
                    <a:pt x="137" y="351"/>
                  </a:lnTo>
                  <a:lnTo>
                    <a:pt x="133" y="352"/>
                  </a:lnTo>
                  <a:lnTo>
                    <a:pt x="111" y="347"/>
                  </a:lnTo>
                  <a:lnTo>
                    <a:pt x="100" y="339"/>
                  </a:lnTo>
                  <a:lnTo>
                    <a:pt x="89" y="334"/>
                  </a:lnTo>
                  <a:lnTo>
                    <a:pt x="77" y="324"/>
                  </a:lnTo>
                  <a:lnTo>
                    <a:pt x="66" y="325"/>
                  </a:lnTo>
                  <a:lnTo>
                    <a:pt x="59" y="317"/>
                  </a:lnTo>
                  <a:lnTo>
                    <a:pt x="51" y="317"/>
                  </a:lnTo>
                  <a:lnTo>
                    <a:pt x="47" y="314"/>
                  </a:lnTo>
                  <a:lnTo>
                    <a:pt x="47" y="305"/>
                  </a:lnTo>
                  <a:lnTo>
                    <a:pt x="42" y="299"/>
                  </a:lnTo>
                  <a:lnTo>
                    <a:pt x="44" y="297"/>
                  </a:lnTo>
                  <a:lnTo>
                    <a:pt x="47" y="298"/>
                  </a:lnTo>
                  <a:lnTo>
                    <a:pt x="50" y="296"/>
                  </a:lnTo>
                  <a:lnTo>
                    <a:pt x="52" y="295"/>
                  </a:lnTo>
                  <a:lnTo>
                    <a:pt x="51" y="291"/>
                  </a:lnTo>
                  <a:lnTo>
                    <a:pt x="49" y="285"/>
                  </a:lnTo>
                  <a:lnTo>
                    <a:pt x="49" y="281"/>
                  </a:lnTo>
                  <a:lnTo>
                    <a:pt x="51" y="274"/>
                  </a:lnTo>
                  <a:lnTo>
                    <a:pt x="50" y="269"/>
                  </a:lnTo>
                  <a:lnTo>
                    <a:pt x="46" y="265"/>
                  </a:lnTo>
                  <a:lnTo>
                    <a:pt x="40" y="265"/>
                  </a:lnTo>
                  <a:lnTo>
                    <a:pt x="34" y="270"/>
                  </a:lnTo>
                  <a:lnTo>
                    <a:pt x="28" y="265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4" name="Freeform 811"/>
            <p:cNvSpPr>
              <a:spLocks/>
            </p:cNvSpPr>
            <p:nvPr/>
          </p:nvSpPr>
          <p:spPr bwMode="gray">
            <a:xfrm>
              <a:off x="3156" y="2350"/>
              <a:ext cx="76" cy="81"/>
            </a:xfrm>
            <a:custGeom>
              <a:avLst/>
              <a:gdLst>
                <a:gd name="T0" fmla="*/ 2147483647 w 58"/>
                <a:gd name="T1" fmla="*/ 2147483647 h 62"/>
                <a:gd name="T2" fmla="*/ 2147483647 w 58"/>
                <a:gd name="T3" fmla="*/ 2147483647 h 62"/>
                <a:gd name="T4" fmla="*/ 2147483647 w 58"/>
                <a:gd name="T5" fmla="*/ 2147483647 h 62"/>
                <a:gd name="T6" fmla="*/ 2147483647 w 58"/>
                <a:gd name="T7" fmla="*/ 2147483647 h 62"/>
                <a:gd name="T8" fmla="*/ 2147483647 w 58"/>
                <a:gd name="T9" fmla="*/ 2147483647 h 62"/>
                <a:gd name="T10" fmla="*/ 2147483647 w 58"/>
                <a:gd name="T11" fmla="*/ 2147483647 h 62"/>
                <a:gd name="T12" fmla="*/ 2147483647 w 58"/>
                <a:gd name="T13" fmla="*/ 0 h 62"/>
                <a:gd name="T14" fmla="*/ 2147483647 w 58"/>
                <a:gd name="T15" fmla="*/ 2147483647 h 62"/>
                <a:gd name="T16" fmla="*/ 2147483647 w 58"/>
                <a:gd name="T17" fmla="*/ 2147483647 h 62"/>
                <a:gd name="T18" fmla="*/ 2147483647 w 58"/>
                <a:gd name="T19" fmla="*/ 2147483647 h 62"/>
                <a:gd name="T20" fmla="*/ 2147483647 w 58"/>
                <a:gd name="T21" fmla="*/ 2147483647 h 62"/>
                <a:gd name="T22" fmla="*/ 2147483647 w 58"/>
                <a:gd name="T23" fmla="*/ 2147483647 h 62"/>
                <a:gd name="T24" fmla="*/ 2147483647 w 58"/>
                <a:gd name="T25" fmla="*/ 2147483647 h 62"/>
                <a:gd name="T26" fmla="*/ 2147483647 w 58"/>
                <a:gd name="T27" fmla="*/ 2147483647 h 62"/>
                <a:gd name="T28" fmla="*/ 2147483647 w 58"/>
                <a:gd name="T29" fmla="*/ 2147483647 h 62"/>
                <a:gd name="T30" fmla="*/ 2147483647 w 58"/>
                <a:gd name="T31" fmla="*/ 2147483647 h 62"/>
                <a:gd name="T32" fmla="*/ 0 w 58"/>
                <a:gd name="T33" fmla="*/ 2147483647 h 62"/>
                <a:gd name="T34" fmla="*/ 2147483647 w 58"/>
                <a:gd name="T35" fmla="*/ 2147483647 h 62"/>
                <a:gd name="T36" fmla="*/ 2147483647 w 58"/>
                <a:gd name="T37" fmla="*/ 2147483647 h 62"/>
                <a:gd name="T38" fmla="*/ 2147483647 w 58"/>
                <a:gd name="T39" fmla="*/ 2147483647 h 62"/>
                <a:gd name="T40" fmla="*/ 2147483647 w 58"/>
                <a:gd name="T41" fmla="*/ 2147483647 h 62"/>
                <a:gd name="T42" fmla="*/ 2147483647 w 58"/>
                <a:gd name="T43" fmla="*/ 2147483647 h 62"/>
                <a:gd name="T44" fmla="*/ 2147483647 w 58"/>
                <a:gd name="T45" fmla="*/ 2147483647 h 62"/>
                <a:gd name="T46" fmla="*/ 2147483647 w 58"/>
                <a:gd name="T47" fmla="*/ 2147483647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8"/>
                <a:gd name="T73" fmla="*/ 0 h 62"/>
                <a:gd name="T74" fmla="*/ 58 w 58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8" h="62">
                  <a:moveTo>
                    <a:pt x="7" y="16"/>
                  </a:moveTo>
                  <a:lnTo>
                    <a:pt x="7" y="10"/>
                  </a:lnTo>
                  <a:lnTo>
                    <a:pt x="21" y="6"/>
                  </a:lnTo>
                  <a:lnTo>
                    <a:pt x="25" y="8"/>
                  </a:lnTo>
                  <a:lnTo>
                    <a:pt x="36" y="6"/>
                  </a:lnTo>
                  <a:lnTo>
                    <a:pt x="48" y="2"/>
                  </a:lnTo>
                  <a:lnTo>
                    <a:pt x="56" y="0"/>
                  </a:lnTo>
                  <a:lnTo>
                    <a:pt x="58" y="3"/>
                  </a:lnTo>
                  <a:lnTo>
                    <a:pt x="47" y="12"/>
                  </a:lnTo>
                  <a:lnTo>
                    <a:pt x="52" y="21"/>
                  </a:lnTo>
                  <a:lnTo>
                    <a:pt x="48" y="32"/>
                  </a:lnTo>
                  <a:lnTo>
                    <a:pt x="46" y="35"/>
                  </a:lnTo>
                  <a:lnTo>
                    <a:pt x="29" y="47"/>
                  </a:lnTo>
                  <a:lnTo>
                    <a:pt x="27" y="51"/>
                  </a:lnTo>
                  <a:lnTo>
                    <a:pt x="18" y="53"/>
                  </a:lnTo>
                  <a:lnTo>
                    <a:pt x="7" y="62"/>
                  </a:lnTo>
                  <a:lnTo>
                    <a:pt x="0" y="62"/>
                  </a:lnTo>
                  <a:lnTo>
                    <a:pt x="3" y="47"/>
                  </a:lnTo>
                  <a:lnTo>
                    <a:pt x="5" y="43"/>
                  </a:lnTo>
                  <a:lnTo>
                    <a:pt x="5" y="39"/>
                  </a:lnTo>
                  <a:lnTo>
                    <a:pt x="9" y="36"/>
                  </a:lnTo>
                  <a:lnTo>
                    <a:pt x="8" y="28"/>
                  </a:lnTo>
                  <a:lnTo>
                    <a:pt x="9" y="19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  <p:sp>
          <p:nvSpPr>
            <p:cNvPr id="1615" name="Freeform 812"/>
            <p:cNvSpPr>
              <a:spLocks/>
            </p:cNvSpPr>
            <p:nvPr/>
          </p:nvSpPr>
          <p:spPr bwMode="gray">
            <a:xfrm>
              <a:off x="3191" y="2348"/>
              <a:ext cx="118" cy="133"/>
            </a:xfrm>
            <a:custGeom>
              <a:avLst/>
              <a:gdLst>
                <a:gd name="T0" fmla="*/ 0 w 90"/>
                <a:gd name="T1" fmla="*/ 2147483647 h 103"/>
                <a:gd name="T2" fmla="*/ 2147483647 w 90"/>
                <a:gd name="T3" fmla="*/ 2147483647 h 103"/>
                <a:gd name="T4" fmla="*/ 2147483647 w 90"/>
                <a:gd name="T5" fmla="*/ 2147483647 h 103"/>
                <a:gd name="T6" fmla="*/ 2147483647 w 90"/>
                <a:gd name="T7" fmla="*/ 2147483647 h 103"/>
                <a:gd name="T8" fmla="*/ 2147483647 w 90"/>
                <a:gd name="T9" fmla="*/ 2147483647 h 103"/>
                <a:gd name="T10" fmla="*/ 2147483647 w 90"/>
                <a:gd name="T11" fmla="*/ 2147483647 h 103"/>
                <a:gd name="T12" fmla="*/ 2147483647 w 90"/>
                <a:gd name="T13" fmla="*/ 2147483647 h 103"/>
                <a:gd name="T14" fmla="*/ 2147483647 w 90"/>
                <a:gd name="T15" fmla="*/ 2147483647 h 103"/>
                <a:gd name="T16" fmla="*/ 2147483647 w 90"/>
                <a:gd name="T17" fmla="*/ 0 h 103"/>
                <a:gd name="T18" fmla="*/ 2147483647 w 90"/>
                <a:gd name="T19" fmla="*/ 2147483647 h 103"/>
                <a:gd name="T20" fmla="*/ 2147483647 w 90"/>
                <a:gd name="T21" fmla="*/ 2147483647 h 103"/>
                <a:gd name="T22" fmla="*/ 2147483647 w 90"/>
                <a:gd name="T23" fmla="*/ 2147483647 h 103"/>
                <a:gd name="T24" fmla="*/ 2147483647 w 90"/>
                <a:gd name="T25" fmla="*/ 2147483647 h 103"/>
                <a:gd name="T26" fmla="*/ 2147483647 w 90"/>
                <a:gd name="T27" fmla="*/ 2147483647 h 103"/>
                <a:gd name="T28" fmla="*/ 2147483647 w 90"/>
                <a:gd name="T29" fmla="*/ 2147483647 h 103"/>
                <a:gd name="T30" fmla="*/ 2147483647 w 90"/>
                <a:gd name="T31" fmla="*/ 2147483647 h 103"/>
                <a:gd name="T32" fmla="*/ 2147483647 w 90"/>
                <a:gd name="T33" fmla="*/ 2147483647 h 103"/>
                <a:gd name="T34" fmla="*/ 2147483647 w 90"/>
                <a:gd name="T35" fmla="*/ 2147483647 h 103"/>
                <a:gd name="T36" fmla="*/ 2147483647 w 90"/>
                <a:gd name="T37" fmla="*/ 2147483647 h 103"/>
                <a:gd name="T38" fmla="*/ 2147483647 w 90"/>
                <a:gd name="T39" fmla="*/ 2147483647 h 103"/>
                <a:gd name="T40" fmla="*/ 2147483647 w 90"/>
                <a:gd name="T41" fmla="*/ 2147483647 h 103"/>
                <a:gd name="T42" fmla="*/ 2147483647 w 90"/>
                <a:gd name="T43" fmla="*/ 2147483647 h 103"/>
                <a:gd name="T44" fmla="*/ 2147483647 w 90"/>
                <a:gd name="T45" fmla="*/ 2147483647 h 103"/>
                <a:gd name="T46" fmla="*/ 2147483647 w 90"/>
                <a:gd name="T47" fmla="*/ 2147483647 h 103"/>
                <a:gd name="T48" fmla="*/ 2147483647 w 90"/>
                <a:gd name="T49" fmla="*/ 2147483647 h 103"/>
                <a:gd name="T50" fmla="*/ 2147483647 w 90"/>
                <a:gd name="T51" fmla="*/ 2147483647 h 103"/>
                <a:gd name="T52" fmla="*/ 2147483647 w 90"/>
                <a:gd name="T53" fmla="*/ 2147483647 h 103"/>
                <a:gd name="T54" fmla="*/ 2147483647 w 90"/>
                <a:gd name="T55" fmla="*/ 2147483647 h 103"/>
                <a:gd name="T56" fmla="*/ 2147483647 w 90"/>
                <a:gd name="T57" fmla="*/ 2147483647 h 103"/>
                <a:gd name="T58" fmla="*/ 2147483647 w 90"/>
                <a:gd name="T59" fmla="*/ 2147483647 h 103"/>
                <a:gd name="T60" fmla="*/ 2147483647 w 90"/>
                <a:gd name="T61" fmla="*/ 2147483647 h 103"/>
                <a:gd name="T62" fmla="*/ 0 w 90"/>
                <a:gd name="T63" fmla="*/ 2147483647 h 1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0"/>
                <a:gd name="T97" fmla="*/ 0 h 103"/>
                <a:gd name="T98" fmla="*/ 90 w 90"/>
                <a:gd name="T99" fmla="*/ 103 h 1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0" h="103">
                  <a:moveTo>
                    <a:pt x="0" y="53"/>
                  </a:moveTo>
                  <a:lnTo>
                    <a:pt x="2" y="49"/>
                  </a:lnTo>
                  <a:lnTo>
                    <a:pt x="19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5" y="23"/>
                  </a:lnTo>
                  <a:lnTo>
                    <a:pt x="20" y="14"/>
                  </a:lnTo>
                  <a:lnTo>
                    <a:pt x="31" y="5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48" y="6"/>
                  </a:lnTo>
                  <a:lnTo>
                    <a:pt x="54" y="5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0" y="24"/>
                  </a:lnTo>
                  <a:lnTo>
                    <a:pt x="61" y="44"/>
                  </a:lnTo>
                  <a:lnTo>
                    <a:pt x="71" y="58"/>
                  </a:lnTo>
                  <a:lnTo>
                    <a:pt x="78" y="59"/>
                  </a:lnTo>
                  <a:lnTo>
                    <a:pt x="85" y="71"/>
                  </a:lnTo>
                  <a:lnTo>
                    <a:pt x="85" y="83"/>
                  </a:lnTo>
                  <a:lnTo>
                    <a:pt x="90" y="90"/>
                  </a:lnTo>
                  <a:lnTo>
                    <a:pt x="87" y="94"/>
                  </a:lnTo>
                  <a:lnTo>
                    <a:pt x="78" y="92"/>
                  </a:lnTo>
                  <a:lnTo>
                    <a:pt x="75" y="96"/>
                  </a:lnTo>
                  <a:lnTo>
                    <a:pt x="76" y="101"/>
                  </a:lnTo>
                  <a:lnTo>
                    <a:pt x="59" y="103"/>
                  </a:lnTo>
                  <a:lnTo>
                    <a:pt x="43" y="95"/>
                  </a:lnTo>
                  <a:lnTo>
                    <a:pt x="43" y="85"/>
                  </a:lnTo>
                  <a:lnTo>
                    <a:pt x="33" y="78"/>
                  </a:lnTo>
                  <a:lnTo>
                    <a:pt x="18" y="68"/>
                  </a:lnTo>
                  <a:lnTo>
                    <a:pt x="6" y="64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dirty="0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103628"/>
      </p:ext>
    </p:extLst>
  </p:cSld>
  <p:clrMapOvr>
    <a:masterClrMapping/>
  </p:clrMapOvr>
  <p:transition advClick="0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a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volatp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lex</a:t>
            </a:r>
            <a:r>
              <a:rPr lang="en-US" dirty="0"/>
              <a:t> </a:t>
            </a:r>
            <a:r>
              <a:rPr lang="en-US" dirty="0" err="1"/>
              <a:t>corper</a:t>
            </a:r>
            <a:r>
              <a:rPr lang="en-US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>
            <a:off x="2286000" y="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6634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 (option 1)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Rectangle 7"/>
          <p:cNvSpPr/>
          <p:nvPr/>
        </p:nvSpPr>
        <p:spPr>
          <a:xfrm>
            <a:off x="4572001" y="0"/>
            <a:ext cx="4572000" cy="51435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cs typeface="Arial"/>
              </a:rPr>
              <a:t>Image Area</a:t>
            </a:r>
          </a:p>
        </p:txBody>
      </p:sp>
    </p:spTree>
    <p:extLst>
      <p:ext uri="{BB962C8B-B14F-4D97-AF65-F5344CB8AC3E}">
        <p14:creationId xmlns:p14="http://schemas.microsoft.com/office/powerpoint/2010/main" val="1084082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99000">
              <a:schemeClr val="accent2">
                <a:lumMod val="5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201168"/>
            <a:ext cx="4765916" cy="4493752"/>
          </a:xfrm>
        </p:spPr>
        <p:txBody>
          <a:bodyPr/>
          <a:lstStyle/>
          <a:p>
            <a:r>
              <a:rPr lang="en-US" dirty="0" err="1"/>
              <a:t>Transferência</a:t>
            </a:r>
            <a:r>
              <a:rPr lang="en-US" dirty="0"/>
              <a:t> de </a:t>
            </a:r>
            <a:r>
              <a:rPr lang="en-US" dirty="0" err="1"/>
              <a:t>Aprendizagem</a:t>
            </a:r>
            <a:endParaRPr lang="en-US" dirty="0">
              <a:solidFill>
                <a:schemeClr val="accent2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3A6C4C5-3A17-47EF-8A5A-FB353AD4E04F}"/>
              </a:ext>
            </a:extLst>
          </p:cNvPr>
          <p:cNvGrpSpPr/>
          <p:nvPr/>
        </p:nvGrpSpPr>
        <p:grpSpPr>
          <a:xfrm>
            <a:off x="228600" y="996546"/>
            <a:ext cx="8644398" cy="2549678"/>
            <a:chOff x="108617" y="794747"/>
            <a:chExt cx="8644398" cy="254967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F74FF074-FDDC-4ED2-ADD7-23DC8148B57D}"/>
                </a:ext>
              </a:extLst>
            </p:cNvPr>
            <p:cNvSpPr/>
            <p:nvPr/>
          </p:nvSpPr>
          <p:spPr>
            <a:xfrm>
              <a:off x="108617" y="794747"/>
              <a:ext cx="8644398" cy="2549677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6" name="Picture 2" descr="Resultado de imagem para transfer learning">
              <a:extLst>
                <a:ext uri="{FF2B5EF4-FFF2-40B4-BE49-F238E27FC236}">
                  <a16:creationId xmlns:a16="http://schemas.microsoft.com/office/drawing/2014/main" id="{592A9334-6932-48FC-AE75-82802687A47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01"/>
            <a:stretch/>
          </p:blipFill>
          <p:spPr bwMode="auto">
            <a:xfrm>
              <a:off x="228600" y="926307"/>
              <a:ext cx="8461188" cy="24181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95107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 study (option 2)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xt goes here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,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180% </a:t>
            </a:r>
            <a:r>
              <a:rPr lang="en-US" b="1" dirty="0" err="1">
                <a:solidFill>
                  <a:schemeClr val="accent2"/>
                </a:solidFill>
              </a:rPr>
              <a:t>tincidun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siness problem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  <a:p>
            <a:r>
              <a:rPr lang="en-US" dirty="0"/>
              <a:t>Solution</a:t>
            </a:r>
          </a:p>
          <a:p>
            <a:pPr lvl="1"/>
            <a:r>
              <a:rPr lang="en-US" dirty="0" err="1"/>
              <a:t>Fermentum</a:t>
            </a:r>
            <a:r>
              <a:rPr lang="en-US" dirty="0"/>
              <a:t> core re </a:t>
            </a:r>
            <a:r>
              <a:rPr lang="en-US" dirty="0" err="1"/>
              <a:t>conem</a:t>
            </a:r>
            <a:r>
              <a:rPr lang="en-US" dirty="0"/>
              <a:t> id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volupta</a:t>
            </a:r>
            <a:r>
              <a:rPr lang="en-US" dirty="0"/>
              <a:t> </a:t>
            </a:r>
            <a:r>
              <a:rPr lang="en-US" dirty="0" err="1"/>
              <a:t>tionem</a:t>
            </a:r>
            <a:r>
              <a:rPr lang="en-US" dirty="0"/>
              <a:t> </a:t>
            </a:r>
            <a:r>
              <a:rPr lang="en-US" dirty="0" err="1"/>
              <a:t>veniscillit</a:t>
            </a:r>
            <a:r>
              <a:rPr lang="en-US" dirty="0"/>
              <a:t> </a:t>
            </a:r>
            <a:r>
              <a:rPr lang="en-US" dirty="0" err="1"/>
              <a:t>abore</a:t>
            </a:r>
            <a:r>
              <a:rPr lang="en-US" dirty="0"/>
              <a:t>, </a:t>
            </a:r>
            <a:r>
              <a:rPr lang="en-US" dirty="0" err="1"/>
              <a:t>ipsandi</a:t>
            </a:r>
            <a:r>
              <a:rPr lang="en-US" dirty="0"/>
              <a:t> </a:t>
            </a:r>
            <a:r>
              <a:rPr lang="en-US" dirty="0" err="1"/>
              <a:t>tota</a:t>
            </a:r>
            <a:r>
              <a:rPr lang="en-US" dirty="0"/>
              <a:t> s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autectiam</a:t>
            </a:r>
            <a:r>
              <a:rPr lang="en-US" dirty="0"/>
              <a:t> quo to </a:t>
            </a:r>
            <a:r>
              <a:rPr lang="en-US" dirty="0" err="1"/>
              <a:t>ommos</a:t>
            </a:r>
            <a:r>
              <a:rPr lang="en-US" dirty="0"/>
              <a:t> </a:t>
            </a:r>
            <a:r>
              <a:rPr lang="en-US" dirty="0" err="1"/>
              <a:t>debitio</a:t>
            </a:r>
            <a:r>
              <a:rPr lang="en-US" dirty="0"/>
              <a:t>. </a:t>
            </a:r>
            <a:r>
              <a:rPr lang="en-US" dirty="0" err="1"/>
              <a:t>Quiatem</a:t>
            </a:r>
            <a:r>
              <a:rPr lang="en-US" dirty="0"/>
              <a:t> </a:t>
            </a:r>
            <a:r>
              <a:rPr lang="en-US" dirty="0" err="1"/>
              <a:t>lani</a:t>
            </a:r>
            <a:r>
              <a:rPr lang="en-US" dirty="0"/>
              <a:t> abo. </a:t>
            </a:r>
            <a:r>
              <a:rPr lang="en-US" dirty="0" err="1"/>
              <a:t>Odit</a:t>
            </a:r>
            <a:r>
              <a:rPr lang="en-US" dirty="0"/>
              <a:t>, </a:t>
            </a:r>
            <a:r>
              <a:rPr lang="en-US" dirty="0" err="1"/>
              <a:t>nimusda</a:t>
            </a:r>
            <a:r>
              <a:rPr lang="en-US" dirty="0"/>
              <a:t> </a:t>
            </a:r>
            <a:r>
              <a:rPr lang="en-US" dirty="0" err="1"/>
              <a:t>esciis</a:t>
            </a:r>
            <a:r>
              <a:rPr lang="en-US" dirty="0"/>
              <a:t> </a:t>
            </a:r>
            <a:r>
              <a:rPr lang="en-US" dirty="0" err="1"/>
              <a:t>moluptati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omnis</a:t>
            </a:r>
            <a:r>
              <a:rPr lang="en-US" dirty="0"/>
              <a:t> eat </a:t>
            </a:r>
            <a:r>
              <a:rPr lang="en-US" dirty="0" err="1"/>
              <a:t>vendigento</a:t>
            </a:r>
            <a:r>
              <a:rPr lang="en-US" dirty="0"/>
              <a:t> </a:t>
            </a:r>
            <a:r>
              <a:rPr lang="en-US" dirty="0" err="1"/>
              <a:t>quunt</a:t>
            </a:r>
            <a:r>
              <a:rPr lang="en-US" dirty="0"/>
              <a:t> </a:t>
            </a:r>
            <a:r>
              <a:rPr lang="en-US" dirty="0" err="1"/>
              <a:t>volor</a:t>
            </a:r>
            <a:r>
              <a:rPr lang="en-US" dirty="0"/>
              <a:t> </a:t>
            </a:r>
            <a:r>
              <a:rPr lang="en-US" dirty="0" err="1"/>
              <a:t>apiciis</a:t>
            </a:r>
            <a:r>
              <a:rPr lang="en-US" dirty="0"/>
              <a:t> </a:t>
            </a:r>
            <a:r>
              <a:rPr lang="en-US" dirty="0" err="1"/>
              <a:t>suntiiscide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“Us </a:t>
            </a:r>
            <a:r>
              <a:rPr lang="en-US" dirty="0" err="1"/>
              <a:t>excepud</a:t>
            </a:r>
            <a:r>
              <a:rPr lang="en-US" dirty="0"/>
              <a:t> </a:t>
            </a:r>
            <a:r>
              <a:rPr lang="en-US" dirty="0" err="1"/>
              <a:t>igendamus</a:t>
            </a:r>
            <a:r>
              <a:rPr lang="en-US" dirty="0"/>
              <a:t> et </a:t>
            </a:r>
            <a:r>
              <a:rPr lang="en-US" dirty="0" err="1"/>
              <a:t>liquis</a:t>
            </a:r>
            <a:r>
              <a:rPr lang="en-US" dirty="0"/>
              <a:t> </a:t>
            </a:r>
            <a:r>
              <a:rPr lang="en-US" dirty="0" err="1"/>
              <a:t>apic</a:t>
            </a:r>
            <a:r>
              <a:rPr lang="en-US" dirty="0"/>
              <a:t> </a:t>
            </a:r>
            <a:r>
              <a:rPr lang="en-US" dirty="0" err="1"/>
              <a:t>totatemolori</a:t>
            </a:r>
            <a:r>
              <a:rPr lang="en-US" dirty="0"/>
              <a:t> </a:t>
            </a:r>
            <a:r>
              <a:rPr lang="en-US" dirty="0" err="1"/>
              <a:t>ber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magnate </a:t>
            </a:r>
            <a:r>
              <a:rPr lang="en-US" dirty="0" err="1"/>
              <a:t>ntiori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</a:t>
            </a:r>
            <a:r>
              <a:rPr lang="en-US" dirty="0" err="1"/>
              <a:t>magnisit</a:t>
            </a:r>
            <a:r>
              <a:rPr lang="en-US" dirty="0"/>
              <a:t> rem. </a:t>
            </a:r>
            <a:r>
              <a:rPr lang="en-US" dirty="0" err="1"/>
              <a:t>Itaturibus</a:t>
            </a:r>
            <a:r>
              <a:rPr lang="en-US" dirty="0"/>
              <a:t>. Del mint </a:t>
            </a:r>
            <a:r>
              <a:rPr lang="en-US" dirty="0" err="1"/>
              <a:t>quibus</a:t>
            </a:r>
            <a:r>
              <a:rPr lang="en-US" dirty="0"/>
              <a:t> </a:t>
            </a:r>
            <a:r>
              <a:rPr lang="en-US" dirty="0" err="1"/>
              <a:t>eleniet</a:t>
            </a:r>
            <a:r>
              <a:rPr lang="en-US" dirty="0"/>
              <a:t> et </a:t>
            </a:r>
            <a:r>
              <a:rPr lang="en-US" dirty="0" err="1"/>
              <a:t>optatem</a:t>
            </a:r>
            <a:r>
              <a:rPr lang="en-US" dirty="0"/>
              <a:t> </a:t>
            </a:r>
            <a:r>
              <a:rPr lang="en-US" dirty="0" err="1"/>
              <a:t>nonsecero</a:t>
            </a:r>
            <a:r>
              <a:rPr lang="en-US" dirty="0"/>
              <a:t>.”</a:t>
            </a:r>
            <a:endParaRPr lang="en-US" sz="1000" b="1" dirty="0"/>
          </a:p>
          <a:p>
            <a:r>
              <a:rPr lang="en-US" sz="1000" b="1" dirty="0"/>
              <a:t>	</a:t>
            </a:r>
            <a:r>
              <a:rPr lang="en-US" sz="1000" b="1" dirty="0" err="1"/>
              <a:t>Volenda</a:t>
            </a:r>
            <a:r>
              <a:rPr lang="en-US" sz="1000" b="1" dirty="0"/>
              <a:t> </a:t>
            </a:r>
            <a:r>
              <a:rPr lang="en-US" sz="1000" b="1" dirty="0" err="1"/>
              <a:t>Sendent</a:t>
            </a:r>
            <a:r>
              <a:rPr lang="en-US" sz="1000" b="1" dirty="0"/>
              <a:t> </a:t>
            </a:r>
            <a:br>
              <a:rPr lang="en-US" sz="1000" dirty="0"/>
            </a:br>
            <a:r>
              <a:rPr lang="en-US" sz="1000" dirty="0" err="1"/>
              <a:t>Quiatem</a:t>
            </a:r>
            <a:r>
              <a:rPr lang="en-US" sz="1000" dirty="0"/>
              <a:t> </a:t>
            </a:r>
            <a:r>
              <a:rPr lang="en-US" sz="1000" dirty="0" err="1"/>
              <a:t>Lani</a:t>
            </a:r>
            <a:r>
              <a:rPr lang="en-US" sz="1000" dirty="0"/>
              <a:t> Abo</a:t>
            </a:r>
          </a:p>
        </p:txBody>
      </p:sp>
    </p:spTree>
    <p:extLst>
      <p:ext uri="{BB962C8B-B14F-4D97-AF65-F5344CB8AC3E}">
        <p14:creationId xmlns:p14="http://schemas.microsoft.com/office/powerpoint/2010/main" val="9253499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572000" y="-1"/>
            <a:ext cx="4572000" cy="514350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/>
              <a:t>Color palett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50" name="Shape 3860" descr="Rectangle 7"/>
          <p:cNvSpPr/>
          <p:nvPr/>
        </p:nvSpPr>
        <p:spPr>
          <a:xfrm>
            <a:off x="2069448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3" name="Shape 3864" descr="Rectangle 12"/>
          <p:cNvSpPr/>
          <p:nvPr/>
        </p:nvSpPr>
        <p:spPr>
          <a:xfrm>
            <a:off x="1155048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3866" descr="Rectangle 14"/>
          <p:cNvSpPr/>
          <p:nvPr/>
        </p:nvSpPr>
        <p:spPr>
          <a:xfrm>
            <a:off x="240648" y="662757"/>
            <a:ext cx="685801" cy="685801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Shape 3867" descr="Rectangle 15"/>
          <p:cNvSpPr/>
          <p:nvPr/>
        </p:nvSpPr>
        <p:spPr>
          <a:xfrm>
            <a:off x="240648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7" name="Shape 3868" descr="Text Placeholder 6"/>
          <p:cNvSpPr/>
          <p:nvPr/>
        </p:nvSpPr>
        <p:spPr>
          <a:xfrm>
            <a:off x="252855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00</a:t>
            </a:r>
            <a:br>
              <a:rPr dirty="0"/>
            </a:br>
            <a:r>
              <a:rPr dirty="0"/>
              <a:t>G-00</a:t>
            </a:r>
            <a:br>
              <a:rPr dirty="0"/>
            </a:br>
            <a:r>
              <a:rPr dirty="0"/>
              <a:t>B-00</a:t>
            </a:r>
          </a:p>
        </p:txBody>
      </p:sp>
      <p:sp>
        <p:nvSpPr>
          <p:cNvPr id="58" name="Shape 3869" descr="Text Placeholder 6"/>
          <p:cNvSpPr/>
          <p:nvPr/>
        </p:nvSpPr>
        <p:spPr>
          <a:xfrm>
            <a:off x="1158560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15</a:t>
            </a:r>
            <a:br>
              <a:rPr dirty="0"/>
            </a:br>
            <a:r>
              <a:rPr dirty="0"/>
              <a:t>G-1</a:t>
            </a:r>
            <a:r>
              <a:rPr lang="en-US" dirty="0"/>
              <a:t>1</a:t>
            </a:r>
            <a:r>
              <a:rPr dirty="0"/>
              <a:t>1</a:t>
            </a:r>
            <a:br>
              <a:rPr dirty="0"/>
            </a:br>
            <a:r>
              <a:rPr dirty="0"/>
              <a:t>B-2</a:t>
            </a:r>
            <a:r>
              <a:rPr lang="en-US" dirty="0"/>
              <a:t>5</a:t>
            </a:r>
            <a:r>
              <a:rPr dirty="0"/>
              <a:t>5</a:t>
            </a:r>
          </a:p>
        </p:txBody>
      </p:sp>
      <p:sp>
        <p:nvSpPr>
          <p:cNvPr id="59" name="Shape 3870" descr="Text Placeholder 6"/>
          <p:cNvSpPr/>
          <p:nvPr/>
        </p:nvSpPr>
        <p:spPr>
          <a:xfrm>
            <a:off x="2072960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3</a:t>
            </a:r>
            <a:r>
              <a:rPr lang="en-US" dirty="0"/>
              <a:t>2</a:t>
            </a:r>
            <a:br>
              <a:rPr dirty="0"/>
            </a:br>
            <a:r>
              <a:rPr dirty="0"/>
              <a:t>G-213</a:t>
            </a:r>
            <a:br>
              <a:rPr dirty="0"/>
            </a:br>
            <a:r>
              <a:rPr dirty="0"/>
              <a:t>B-210</a:t>
            </a:r>
          </a:p>
        </p:txBody>
      </p:sp>
      <p:sp>
        <p:nvSpPr>
          <p:cNvPr id="60" name="Shape 3871" descr="Text Placeholder 6"/>
          <p:cNvSpPr/>
          <p:nvPr/>
        </p:nvSpPr>
        <p:spPr>
          <a:xfrm>
            <a:off x="252855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/>
              <a:t>R-14</a:t>
            </a:r>
            <a:r>
              <a:rPr lang="en-US" dirty="0"/>
              <a:t>3</a:t>
            </a:r>
            <a:br>
              <a:rPr dirty="0"/>
            </a:br>
            <a:r>
              <a:rPr dirty="0"/>
              <a:t>G-13</a:t>
            </a:r>
            <a:r>
              <a:rPr lang="en-US" dirty="0"/>
              <a:t>9</a:t>
            </a:r>
            <a:br>
              <a:rPr dirty="0"/>
            </a:br>
            <a:r>
              <a:rPr dirty="0"/>
              <a:t>B-13</a:t>
            </a:r>
            <a:r>
              <a:rPr lang="en-US" dirty="0"/>
              <a:t>9</a:t>
            </a:r>
            <a:endParaRPr dirty="0"/>
          </a:p>
        </p:txBody>
      </p:sp>
      <p:sp>
        <p:nvSpPr>
          <p:cNvPr id="74" name="Shape 3860" descr="Rectangle 7"/>
          <p:cNvSpPr/>
          <p:nvPr/>
        </p:nvSpPr>
        <p:spPr>
          <a:xfrm>
            <a:off x="6629400" y="662759"/>
            <a:ext cx="685801" cy="68580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5" name="Shape 3864" descr="Rectangle 12"/>
          <p:cNvSpPr/>
          <p:nvPr/>
        </p:nvSpPr>
        <p:spPr>
          <a:xfrm>
            <a:off x="5715000" y="659540"/>
            <a:ext cx="685801" cy="6858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6" name="Shape 3866" descr="Rectangle 14"/>
          <p:cNvSpPr/>
          <p:nvPr/>
        </p:nvSpPr>
        <p:spPr>
          <a:xfrm>
            <a:off x="4800600" y="662757"/>
            <a:ext cx="685801" cy="685801"/>
          </a:xfrm>
          <a:prstGeom prst="rect">
            <a:avLst/>
          </a:prstGeom>
          <a:solidFill>
            <a:schemeClr val="bg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7" name="Shape 3867" descr="Rectangle 15"/>
          <p:cNvSpPr/>
          <p:nvPr/>
        </p:nvSpPr>
        <p:spPr>
          <a:xfrm>
            <a:off x="4800600" y="1936345"/>
            <a:ext cx="685801" cy="6858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1200">
                <a:solidFill>
                  <a:schemeClr val="accent1">
                    <a:hueOff val="-12960000"/>
                    <a:satOff val="-100000"/>
                    <a:lumOff val="47058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8" name="Shape 3868" descr="Text Placeholder 6"/>
          <p:cNvSpPr/>
          <p:nvPr/>
        </p:nvSpPr>
        <p:spPr>
          <a:xfrm>
            <a:off x="4812807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</a:t>
            </a:r>
            <a:r>
              <a:rPr lang="en-US" dirty="0">
                <a:solidFill>
                  <a:schemeClr val="bg2"/>
                </a:solidFill>
              </a:rPr>
              <a:t>255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</a:t>
            </a:r>
            <a:r>
              <a:rPr lang="en-US" dirty="0">
                <a:solidFill>
                  <a:schemeClr val="bg2"/>
                </a:solidFill>
              </a:rPr>
              <a:t>255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</a:t>
            </a:r>
            <a:r>
              <a:rPr lang="en-US" dirty="0">
                <a:solidFill>
                  <a:schemeClr val="bg2"/>
                </a:solidFill>
              </a:rPr>
              <a:t>255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79" name="Shape 3869" descr="Text Placeholder 6"/>
          <p:cNvSpPr/>
          <p:nvPr/>
        </p:nvSpPr>
        <p:spPr>
          <a:xfrm>
            <a:off x="5718512" y="1408452"/>
            <a:ext cx="65636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15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1</a:t>
            </a:r>
            <a:r>
              <a:rPr lang="en-US" dirty="0">
                <a:solidFill>
                  <a:schemeClr val="bg2"/>
                </a:solidFill>
              </a:rPr>
              <a:t>1</a:t>
            </a:r>
            <a:r>
              <a:rPr dirty="0">
                <a:solidFill>
                  <a:schemeClr val="bg2"/>
                </a:solidFill>
              </a:rPr>
              <a:t>1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2</a:t>
            </a:r>
            <a:r>
              <a:rPr lang="en-US" dirty="0">
                <a:solidFill>
                  <a:schemeClr val="bg2"/>
                </a:solidFill>
              </a:rPr>
              <a:t>5</a:t>
            </a:r>
            <a:r>
              <a:rPr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80" name="Shape 3870" descr="Text Placeholder 6"/>
          <p:cNvSpPr/>
          <p:nvPr/>
        </p:nvSpPr>
        <p:spPr>
          <a:xfrm>
            <a:off x="6632912" y="1408452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defTabSz="457200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3</a:t>
            </a:r>
            <a:r>
              <a:rPr lang="en-US" dirty="0">
                <a:solidFill>
                  <a:schemeClr val="bg2"/>
                </a:solidFill>
              </a:rPr>
              <a:t>2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213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210</a:t>
            </a:r>
          </a:p>
        </p:txBody>
      </p:sp>
      <p:sp>
        <p:nvSpPr>
          <p:cNvPr id="81" name="Shape 3871" descr="Text Placeholder 6"/>
          <p:cNvSpPr/>
          <p:nvPr/>
        </p:nvSpPr>
        <p:spPr>
          <a:xfrm>
            <a:off x="4812807" y="2686268"/>
            <a:ext cx="656367" cy="381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lvl="1" algn="r" defTabSz="457200" rtl="1">
              <a:spcBef>
                <a:spcPts val="1100"/>
              </a:spcBef>
              <a:defRPr sz="800">
                <a:solidFill>
                  <a:srgbClr val="000E5E"/>
                </a:solidFill>
              </a:defRPr>
            </a:pPr>
            <a:r>
              <a:rPr dirty="0">
                <a:solidFill>
                  <a:schemeClr val="bg2"/>
                </a:solidFill>
              </a:rPr>
              <a:t>R-14</a:t>
            </a:r>
            <a:r>
              <a:rPr lang="en-US" dirty="0">
                <a:solidFill>
                  <a:schemeClr val="bg2"/>
                </a:solidFill>
              </a:rPr>
              <a:t>3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G-13</a:t>
            </a:r>
            <a:r>
              <a:rPr lang="en-US" dirty="0">
                <a:solidFill>
                  <a:schemeClr val="bg2"/>
                </a:solidFill>
              </a:rPr>
              <a:t>9</a:t>
            </a:r>
            <a:br>
              <a:rPr dirty="0">
                <a:solidFill>
                  <a:schemeClr val="bg2"/>
                </a:solidFill>
              </a:rPr>
            </a:br>
            <a:r>
              <a:rPr dirty="0">
                <a:solidFill>
                  <a:schemeClr val="bg2"/>
                </a:solidFill>
              </a:rPr>
              <a:t>B-13</a:t>
            </a:r>
            <a:r>
              <a:rPr lang="en-US" dirty="0">
                <a:solidFill>
                  <a:schemeClr val="bg2"/>
                </a:solidFill>
              </a:rPr>
              <a:t>9</a:t>
            </a:r>
            <a:endParaRPr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61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99000">
              <a:schemeClr val="accent2">
                <a:lumMod val="5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5C187-D602-443F-B810-F62A91242B6A}"/>
              </a:ext>
            </a:extLst>
          </p:cNvPr>
          <p:cNvGrpSpPr/>
          <p:nvPr/>
        </p:nvGrpSpPr>
        <p:grpSpPr>
          <a:xfrm>
            <a:off x="1601776" y="368191"/>
            <a:ext cx="5940447" cy="4259382"/>
            <a:chOff x="1601776" y="438742"/>
            <a:chExt cx="5940447" cy="425938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BD4746E-AEFE-441C-A1C6-4BBDD8492C58}"/>
                </a:ext>
              </a:extLst>
            </p:cNvPr>
            <p:cNvSpPr/>
            <p:nvPr/>
          </p:nvSpPr>
          <p:spPr>
            <a:xfrm>
              <a:off x="1601776" y="438742"/>
              <a:ext cx="5940447" cy="4259382"/>
            </a:xfrm>
            <a:prstGeom prst="roundRect">
              <a:avLst/>
            </a:prstGeom>
            <a:solidFill>
              <a:schemeClr val="bg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pic>
          <p:nvPicPr>
            <p:cNvPr id="11" name="Picture 4" descr="Resultado de imagem para deep layers image neural network">
              <a:extLst>
                <a:ext uri="{FF2B5EF4-FFF2-40B4-BE49-F238E27FC236}">
                  <a16:creationId xmlns:a16="http://schemas.microsoft.com/office/drawing/2014/main" id="{8C2C9FF2-71BC-40B2-B8BF-1132F64A57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9259" y="515926"/>
              <a:ext cx="5005482" cy="41116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61531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Forma de armazenamento de dados</a:t>
            </a:r>
          </a:p>
          <a:p>
            <a:endParaRPr lang="en-US" dirty="0"/>
          </a:p>
          <a:p>
            <a:r>
              <a:rPr lang="en-US" dirty="0" err="1"/>
              <a:t>Características</a:t>
            </a:r>
            <a:r>
              <a:rPr lang="en-US" dirty="0"/>
              <a:t>:</a:t>
            </a:r>
          </a:p>
          <a:p>
            <a:pPr lvl="1"/>
            <a:r>
              <a:rPr lang="en-US" b="1" dirty="0" err="1"/>
              <a:t>Distribuída</a:t>
            </a:r>
            <a:r>
              <a:rPr lang="en-US" dirty="0"/>
              <a:t>;</a:t>
            </a:r>
          </a:p>
          <a:p>
            <a:pPr lvl="1"/>
            <a:r>
              <a:rPr lang="en-US" b="1" dirty="0" err="1"/>
              <a:t>Imutável</a:t>
            </a:r>
            <a:r>
              <a:rPr lang="en-US" dirty="0"/>
              <a:t>;</a:t>
            </a:r>
          </a:p>
          <a:p>
            <a:pPr lvl="1"/>
            <a:r>
              <a:rPr lang="en-US" b="1" dirty="0"/>
              <a:t>Segura</a:t>
            </a:r>
            <a:r>
              <a:rPr lang="en-US" dirty="0"/>
              <a:t> - </a:t>
            </a:r>
            <a:r>
              <a:rPr lang="en-US" dirty="0" err="1"/>
              <a:t>garante</a:t>
            </a:r>
            <a:r>
              <a:rPr lang="en-US" dirty="0"/>
              <a:t> </a:t>
            </a:r>
            <a:r>
              <a:rPr lang="en-US" dirty="0" err="1"/>
              <a:t>confiança</a:t>
            </a:r>
            <a:r>
              <a:rPr lang="en-US" dirty="0"/>
              <a:t>/</a:t>
            </a:r>
            <a:r>
              <a:rPr lang="en-US" dirty="0" err="1"/>
              <a:t>lealdade</a:t>
            </a:r>
            <a:r>
              <a:rPr lang="en-US" dirty="0"/>
              <a:t> entre </a:t>
            </a:r>
            <a:r>
              <a:rPr lang="en-US" dirty="0" err="1"/>
              <a:t>participantes</a:t>
            </a:r>
            <a:r>
              <a:rPr lang="en-US" dirty="0"/>
              <a:t>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</p:spPr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pic>
        <p:nvPicPr>
          <p:cNvPr id="3076" name="Picture 4" descr="Resultado de imagem para blockchain">
            <a:extLst>
              <a:ext uri="{FF2B5EF4-FFF2-40B4-BE49-F238E27FC236}">
                <a16:creationId xmlns:a16="http://schemas.microsoft.com/office/drawing/2014/main" id="{4E72610D-68EC-4A3D-AA5C-74B14AF3BF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263"/>
          <a:stretch/>
        </p:blipFill>
        <p:spPr bwMode="auto">
          <a:xfrm>
            <a:off x="6858000" y="0"/>
            <a:ext cx="2286000" cy="257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Resultado de imagem para blockchain">
            <a:extLst>
              <a:ext uri="{FF2B5EF4-FFF2-40B4-BE49-F238E27FC236}">
                <a16:creationId xmlns:a16="http://schemas.microsoft.com/office/drawing/2014/main" id="{1DE28FAA-ED62-4E8A-A26B-5FD90E0BFC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5"/>
          <a:stretch/>
        </p:blipFill>
        <p:spPr bwMode="auto">
          <a:xfrm>
            <a:off x="4572001" y="2571750"/>
            <a:ext cx="4572000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Resultado de imagem para blockchain">
            <a:extLst>
              <a:ext uri="{FF2B5EF4-FFF2-40B4-BE49-F238E27FC236}">
                <a16:creationId xmlns:a16="http://schemas.microsoft.com/office/drawing/2014/main" id="{DB97E9B9-9415-4982-B16C-F875CEB96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6" r="17538"/>
          <a:stretch/>
        </p:blipFill>
        <p:spPr bwMode="auto">
          <a:xfrm>
            <a:off x="4572000" y="0"/>
            <a:ext cx="2286000" cy="257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310F4D-23D4-4DFE-9221-422A2819B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" y="182880"/>
            <a:ext cx="3203713" cy="734540"/>
          </a:xfrm>
        </p:spPr>
        <p:txBody>
          <a:bodyPr/>
          <a:lstStyle/>
          <a:p>
            <a:r>
              <a:rPr lang="en-US" sz="2400" dirty="0">
                <a:latin typeface="+mj-lt"/>
              </a:rPr>
              <a:t>Blockchain</a:t>
            </a:r>
          </a:p>
        </p:txBody>
      </p:sp>
    </p:spTree>
    <p:extLst>
      <p:ext uri="{BB962C8B-B14F-4D97-AF65-F5344CB8AC3E}">
        <p14:creationId xmlns:p14="http://schemas.microsoft.com/office/powerpoint/2010/main" val="2608557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gradFill>
            <a:gsLst>
              <a:gs pos="0">
                <a:schemeClr val="bg2">
                  <a:lumMod val="85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en-US" dirty="0"/>
          </a:p>
          <a:p>
            <a:pPr algn="r">
              <a:lnSpc>
                <a:spcPct val="150000"/>
              </a:lnSpc>
            </a:pPr>
            <a:r>
              <a:rPr lang="en-US" dirty="0" err="1"/>
              <a:t>Modelos</a:t>
            </a:r>
            <a:r>
              <a:rPr lang="en-US" dirty="0"/>
              <a:t> de </a:t>
            </a:r>
            <a:r>
              <a:rPr lang="en-US" dirty="0" err="1"/>
              <a:t>Inteligência</a:t>
            </a:r>
            <a:r>
              <a:rPr lang="en-US" dirty="0"/>
              <a:t> Artificia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2286001" y="2565950"/>
            <a:ext cx="2286000" cy="2571750"/>
          </a:xfr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pt-BR" dirty="0"/>
          </a:p>
          <a:p>
            <a:pPr algn="r">
              <a:lnSpc>
                <a:spcPct val="150000"/>
              </a:lnSpc>
            </a:pPr>
            <a:r>
              <a:rPr lang="pt-BR" dirty="0"/>
              <a:t>Encorajamento no compartilhamento de dado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4564537" y="2568850"/>
            <a:ext cx="2300287" cy="2574650"/>
          </a:xfrm>
          <a:gradFill>
            <a:gsLst>
              <a:gs pos="0">
                <a:schemeClr val="bg2">
                  <a:lumMod val="65000"/>
                </a:schemeClr>
              </a:gs>
              <a:gs pos="100000">
                <a:schemeClr val="bg2">
                  <a:lumMod val="50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en-US" dirty="0"/>
          </a:p>
          <a:p>
            <a:pPr algn="r">
              <a:lnSpc>
                <a:spcPct val="150000"/>
              </a:lnSpc>
            </a:pPr>
            <a:r>
              <a:rPr lang="en-US" dirty="0" err="1"/>
              <a:t>Disponibilidade</a:t>
            </a:r>
            <a:r>
              <a:rPr lang="en-US" dirty="0"/>
              <a:t> de Dado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</p:spPr>
        <p:txBody>
          <a:bodyPr/>
          <a:lstStyle/>
          <a:p>
            <a:pPr algn="r">
              <a:lnSpc>
                <a:spcPct val="150000"/>
              </a:lnSpc>
            </a:pPr>
            <a:endParaRPr lang="en-US" dirty="0"/>
          </a:p>
          <a:p>
            <a:pPr algn="r">
              <a:lnSpc>
                <a:spcPct val="150000"/>
              </a:lnSpc>
            </a:pPr>
            <a:r>
              <a:rPr lang="en-US" dirty="0" err="1"/>
              <a:t>Compartilhamento</a:t>
            </a:r>
            <a:r>
              <a:rPr lang="en-US" dirty="0"/>
              <a:t> e </a:t>
            </a:r>
            <a:r>
              <a:rPr lang="en-US" dirty="0" err="1"/>
              <a:t>descentralização</a:t>
            </a:r>
            <a:r>
              <a:rPr lang="en-US" dirty="0"/>
              <a:t> de dado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-1" y="-1"/>
            <a:ext cx="7315199" cy="2571751"/>
          </a:xfrm>
        </p:spPr>
        <p:txBody>
          <a:bodyPr/>
          <a:lstStyle/>
          <a:p>
            <a:r>
              <a:rPr lang="en-US" dirty="0" err="1"/>
              <a:t>Contribuições</a:t>
            </a:r>
            <a:r>
              <a:rPr lang="en-US" dirty="0"/>
              <a:t> do Blockchain para I.A.</a:t>
            </a:r>
          </a:p>
        </p:txBody>
      </p:sp>
      <p:sp>
        <p:nvSpPr>
          <p:cNvPr id="3" name="Arrow: Curved Up 2">
            <a:extLst>
              <a:ext uri="{FF2B5EF4-FFF2-40B4-BE49-F238E27FC236}">
                <a16:creationId xmlns:a16="http://schemas.microsoft.com/office/drawing/2014/main" id="{BAD26CD0-6D05-4223-B8BC-4F36872EE79F}"/>
              </a:ext>
            </a:extLst>
          </p:cNvPr>
          <p:cNvSpPr/>
          <p:nvPr/>
        </p:nvSpPr>
        <p:spPr>
          <a:xfrm flipV="1">
            <a:off x="1542371" y="2044660"/>
            <a:ext cx="1487259" cy="529282"/>
          </a:xfrm>
          <a:prstGeom prst="curvedUpArrow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Arrow: Curved Up 12">
            <a:extLst>
              <a:ext uri="{FF2B5EF4-FFF2-40B4-BE49-F238E27FC236}">
                <a16:creationId xmlns:a16="http://schemas.microsoft.com/office/drawing/2014/main" id="{03692101-3785-4A15-ACD0-93E2EEEC3AF0}"/>
              </a:ext>
            </a:extLst>
          </p:cNvPr>
          <p:cNvSpPr/>
          <p:nvPr/>
        </p:nvSpPr>
        <p:spPr>
          <a:xfrm flipV="1">
            <a:off x="3835831" y="2065246"/>
            <a:ext cx="1487259" cy="506504"/>
          </a:xfrm>
          <a:prstGeom prst="curvedUpArrow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Arrow: Curved Up 13">
            <a:extLst>
              <a:ext uri="{FF2B5EF4-FFF2-40B4-BE49-F238E27FC236}">
                <a16:creationId xmlns:a16="http://schemas.microsoft.com/office/drawing/2014/main" id="{69E30D52-1FC2-415A-A753-4D31FF5F82FD}"/>
              </a:ext>
            </a:extLst>
          </p:cNvPr>
          <p:cNvSpPr/>
          <p:nvPr/>
        </p:nvSpPr>
        <p:spPr>
          <a:xfrm flipV="1">
            <a:off x="6131630" y="2044659"/>
            <a:ext cx="1487259" cy="529282"/>
          </a:xfrm>
          <a:prstGeom prst="curvedUpArrow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5FD901-BA48-4416-BACF-8C1DC9094DAB}"/>
              </a:ext>
            </a:extLst>
          </p:cNvPr>
          <p:cNvSpPr txBox="1"/>
          <p:nvPr/>
        </p:nvSpPr>
        <p:spPr>
          <a:xfrm>
            <a:off x="1828802" y="1710588"/>
            <a:ext cx="914400" cy="272415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2"/>
                </a:solidFill>
              </a:rPr>
              <a:t>Resulta em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9861EC9-0B68-4A0F-9C02-72251B02CD1C}"/>
              </a:ext>
            </a:extLst>
          </p:cNvPr>
          <p:cNvSpPr/>
          <p:nvPr/>
        </p:nvSpPr>
        <p:spPr>
          <a:xfrm>
            <a:off x="-443948" y="3876708"/>
            <a:ext cx="914400" cy="914400"/>
          </a:xfrm>
          <a:prstGeom prst="round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E3E53A-0DDB-438A-87CC-5CA106CB12BD}"/>
              </a:ext>
            </a:extLst>
          </p:cNvPr>
          <p:cNvSpPr txBox="1"/>
          <p:nvPr/>
        </p:nvSpPr>
        <p:spPr>
          <a:xfrm>
            <a:off x="4122260" y="1710587"/>
            <a:ext cx="914400" cy="272415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2"/>
                </a:solidFill>
              </a:rPr>
              <a:t>Resulta em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3507FB-3F9F-4FD9-980D-EC1A390497AE}"/>
              </a:ext>
            </a:extLst>
          </p:cNvPr>
          <p:cNvSpPr txBox="1"/>
          <p:nvPr/>
        </p:nvSpPr>
        <p:spPr>
          <a:xfrm>
            <a:off x="6400798" y="1710586"/>
            <a:ext cx="914400" cy="272415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chemeClr val="bg2"/>
                </a:solidFill>
              </a:rPr>
              <a:t>Resulta em</a:t>
            </a:r>
            <a:endParaRPr lang="en-US" sz="1000" dirty="0">
              <a:solidFill>
                <a:schemeClr val="bg2"/>
              </a:solidFill>
            </a:endParaRPr>
          </a:p>
        </p:txBody>
      </p:sp>
      <p:pic>
        <p:nvPicPr>
          <p:cNvPr id="3078" name="Picture 6" descr="Resultado de imagem para plus icon white">
            <a:extLst>
              <a:ext uri="{FF2B5EF4-FFF2-40B4-BE49-F238E27FC236}">
                <a16:creationId xmlns:a16="http://schemas.microsoft.com/office/drawing/2014/main" id="{F2AFE09F-A694-4714-BDCA-81318BC22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49" y="2697256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Resultado de imagem para plus icon white">
            <a:extLst>
              <a:ext uri="{FF2B5EF4-FFF2-40B4-BE49-F238E27FC236}">
                <a16:creationId xmlns:a16="http://schemas.microsoft.com/office/drawing/2014/main" id="{B72D22ED-73DE-4CEC-8507-37AC3FCFE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049" y="2697256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Resultado de imagem para plus icon white">
            <a:extLst>
              <a:ext uri="{FF2B5EF4-FFF2-40B4-BE49-F238E27FC236}">
                <a16:creationId xmlns:a16="http://schemas.microsoft.com/office/drawing/2014/main" id="{ADBF9171-F2BF-47EA-A5FC-912D05D9B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510" y="2694947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Resultado de imagem para plus icon white">
            <a:extLst>
              <a:ext uri="{FF2B5EF4-FFF2-40B4-BE49-F238E27FC236}">
                <a16:creationId xmlns:a16="http://schemas.microsoft.com/office/drawing/2014/main" id="{B552B277-C613-4816-ACC3-7AA90C82A4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507" y="2694947"/>
            <a:ext cx="524055" cy="52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68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 animBg="1"/>
      <p:bldP spid="5" grpId="0" build="p" animBg="1"/>
      <p:bldP spid="6" grpId="0" build="p" animBg="1"/>
      <p:bldP spid="7" grpId="0" build="p" animBg="1"/>
      <p:bldP spid="3" grpId="0" animBg="1"/>
      <p:bldP spid="13" grpId="0" animBg="1"/>
      <p:bldP spid="14" grpId="0" animBg="1"/>
      <p:bldP spid="15" grpId="0"/>
      <p:bldP spid="18" grpId="0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"/>
              <a:t>IBM Talk‘n‘Labs 2019 – Cloud, Data &amp; A.I.  /  11 de outubro, 2019 / © 2019 IBM Corporation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A1E0136-1CDB-4330-89B5-681B83EB5509}"/>
              </a:ext>
            </a:extLst>
          </p:cNvPr>
          <p:cNvSpPr txBox="1">
            <a:spLocks/>
          </p:cNvSpPr>
          <p:nvPr/>
        </p:nvSpPr>
        <p:spPr>
          <a:xfrm>
            <a:off x="228600" y="210312"/>
            <a:ext cx="4114800" cy="1003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Inteligênc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Artfici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charset="0"/>
              </a:rPr>
              <a:t> (“yin”)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8145B7F-B0CF-490C-B7E8-1241CFD7D742}"/>
              </a:ext>
            </a:extLst>
          </p:cNvPr>
          <p:cNvSpPr txBox="1">
            <a:spLocks/>
          </p:cNvSpPr>
          <p:nvPr/>
        </p:nvSpPr>
        <p:spPr>
          <a:xfrm>
            <a:off x="228600" y="1109389"/>
            <a:ext cx="4114800" cy="350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Tx/>
              <a:buNone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200000"/>
              </a:lnSpc>
            </a:pPr>
            <a:r>
              <a:rPr lang="en-US" dirty="0">
                <a:solidFill>
                  <a:schemeClr val="bg1"/>
                </a:solidFill>
              </a:rPr>
              <a:t>	</a:t>
            </a:r>
            <a:r>
              <a:rPr lang="en-US" sz="1600" dirty="0" err="1">
                <a:solidFill>
                  <a:schemeClr val="bg1"/>
                </a:solidFill>
              </a:rPr>
              <a:t>Probabilístico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200000"/>
              </a:lnSpc>
            </a:pPr>
            <a:r>
              <a:rPr lang="en-US" sz="1600" dirty="0">
                <a:solidFill>
                  <a:schemeClr val="bg1"/>
                </a:solidFill>
              </a:rPr>
              <a:t>	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stant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udança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200000"/>
              </a:lnSpc>
            </a:pPr>
            <a:r>
              <a:rPr lang="en-US" sz="1600" dirty="0">
                <a:solidFill>
                  <a:schemeClr val="bg1"/>
                </a:solidFill>
              </a:rPr>
              <a:t>	</a:t>
            </a:r>
            <a:r>
              <a:rPr lang="en-US" sz="1600" dirty="0" err="1">
                <a:solidFill>
                  <a:schemeClr val="bg1"/>
                </a:solidFill>
              </a:rPr>
              <a:t>Estima</a:t>
            </a:r>
            <a:r>
              <a:rPr lang="en-US" sz="1600" dirty="0">
                <a:solidFill>
                  <a:schemeClr val="bg1"/>
                </a:solidFill>
              </a:rPr>
              <a:t> a </a:t>
            </a:r>
            <a:r>
              <a:rPr lang="en-US" sz="1600" dirty="0" err="1">
                <a:solidFill>
                  <a:schemeClr val="bg1"/>
                </a:solidFill>
              </a:rPr>
              <a:t>realidade</a:t>
            </a:r>
            <a:r>
              <a:rPr lang="en-US" sz="1600" dirty="0">
                <a:solidFill>
                  <a:schemeClr val="bg1"/>
                </a:solidFill>
              </a:rPr>
              <a:t> (</a:t>
            </a:r>
            <a:r>
              <a:rPr lang="en-US" sz="1600" dirty="0" err="1">
                <a:solidFill>
                  <a:schemeClr val="bg1"/>
                </a:solidFill>
              </a:rPr>
              <a:t>aprende</a:t>
            </a:r>
            <a:r>
              <a:rPr lang="en-US" sz="1600" dirty="0">
                <a:solidFill>
                  <a:schemeClr val="bg1"/>
                </a:solidFill>
              </a:rPr>
              <a:t> e</a:t>
            </a:r>
          </a:p>
          <a:p>
            <a:r>
              <a:rPr lang="en-US" sz="1600" dirty="0" err="1">
                <a:solidFill>
                  <a:schemeClr val="bg1"/>
                </a:solidFill>
              </a:rPr>
              <a:t>realiza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tarefas</a:t>
            </a:r>
            <a:r>
              <a:rPr lang="en-US" sz="1600" dirty="0">
                <a:solidFill>
                  <a:schemeClr val="bg1"/>
                </a:solidFill>
              </a:rPr>
              <a:t>)</a:t>
            </a:r>
          </a:p>
          <a:p>
            <a:endParaRPr lang="en-US" dirty="0"/>
          </a:p>
        </p:txBody>
      </p:sp>
      <p:pic>
        <p:nvPicPr>
          <p:cNvPr id="1026" name="Picture 2" descr="Resultado de imagem para yin e yang">
            <a:extLst>
              <a:ext uri="{FF2B5EF4-FFF2-40B4-BE49-F238E27FC236}">
                <a16:creationId xmlns:a16="http://schemas.microsoft.com/office/drawing/2014/main" id="{778A97E0-E9B3-456D-A881-B568B894E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918900" y="240643"/>
            <a:ext cx="1306200" cy="130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AE35139-B985-4DDB-AC43-7DDCFC55E64F}"/>
              </a:ext>
            </a:extLst>
          </p:cNvPr>
          <p:cNvSpPr txBox="1">
            <a:spLocks/>
          </p:cNvSpPr>
          <p:nvPr/>
        </p:nvSpPr>
        <p:spPr>
          <a:xfrm>
            <a:off x="4800600" y="210312"/>
            <a:ext cx="4114800" cy="1003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Blockchain (“yang”)</a:t>
            </a:r>
          </a:p>
        </p:txBody>
      </p:sp>
      <p:pic>
        <p:nvPicPr>
          <p:cNvPr id="1030" name="Picture 6" descr="Resultado de imagem para changing icon">
            <a:extLst>
              <a:ext uri="{FF2B5EF4-FFF2-40B4-BE49-F238E27FC236}">
                <a16:creationId xmlns:a16="http://schemas.microsoft.com/office/drawing/2014/main" id="{EBDD1AF2-1403-4D42-94B0-45FB53AC5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606630"/>
            <a:ext cx="317638" cy="305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esultado de imagem para guess icon">
            <a:extLst>
              <a:ext uri="{FF2B5EF4-FFF2-40B4-BE49-F238E27FC236}">
                <a16:creationId xmlns:a16="http://schemas.microsoft.com/office/drawing/2014/main" id="{8AD1C8C8-E202-4F7C-B7D8-0BC8355AB7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208815"/>
            <a:ext cx="317638" cy="31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Resultado de imagem para target icon white">
            <a:extLst>
              <a:ext uri="{FF2B5EF4-FFF2-40B4-BE49-F238E27FC236}">
                <a16:creationId xmlns:a16="http://schemas.microsoft.com/office/drawing/2014/main" id="{198D6C54-981D-45F2-B7CC-F7D20CDDD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9739" y="1919584"/>
            <a:ext cx="349567" cy="349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Resultado de imagem para lock icon white">
            <a:extLst>
              <a:ext uri="{FF2B5EF4-FFF2-40B4-BE49-F238E27FC236}">
                <a16:creationId xmlns:a16="http://schemas.microsoft.com/office/drawing/2014/main" id="{7540714A-8C47-4D59-B52C-37B47EB30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757" y="2540094"/>
            <a:ext cx="379529" cy="379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Resultado de imagem para network icon white">
            <a:extLst>
              <a:ext uri="{FF2B5EF4-FFF2-40B4-BE49-F238E27FC236}">
                <a16:creationId xmlns:a16="http://schemas.microsoft.com/office/drawing/2014/main" id="{4DEBB850-AC22-485C-A504-88443254D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29" y="3166004"/>
            <a:ext cx="424991" cy="403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8C7F2B72-EAAC-446F-9133-FF42F9D407E9}"/>
              </a:ext>
            </a:extLst>
          </p:cNvPr>
          <p:cNvSpPr txBox="1">
            <a:spLocks/>
          </p:cNvSpPr>
          <p:nvPr/>
        </p:nvSpPr>
        <p:spPr>
          <a:xfrm>
            <a:off x="4794427" y="1103215"/>
            <a:ext cx="4114800" cy="350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Tx/>
              <a:buNone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100" kern="120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dirty="0"/>
          </a:p>
          <a:p>
            <a:pPr algn="just"/>
            <a:endParaRPr lang="en-US" dirty="0"/>
          </a:p>
          <a:p>
            <a:pPr algn="just">
              <a:lnSpc>
                <a:spcPct val="200000"/>
              </a:lnSpc>
            </a:pPr>
            <a:r>
              <a:rPr lang="en-US" dirty="0"/>
              <a:t>				      </a:t>
            </a:r>
            <a:r>
              <a:rPr lang="en-US" sz="1600" dirty="0" err="1"/>
              <a:t>Determinístico</a:t>
            </a:r>
            <a:endParaRPr lang="en-US" sz="1600" dirty="0"/>
          </a:p>
          <a:p>
            <a:pPr algn="just">
              <a:lnSpc>
                <a:spcPct val="200000"/>
              </a:lnSpc>
            </a:pPr>
            <a:r>
              <a:rPr lang="en-US" sz="1600" dirty="0"/>
              <a:t>					Permanente</a:t>
            </a:r>
          </a:p>
          <a:p>
            <a:pPr algn="just">
              <a:lnSpc>
                <a:spcPct val="200000"/>
              </a:lnSpc>
            </a:pPr>
            <a:r>
              <a:rPr lang="en-US" sz="1600" dirty="0"/>
              <a:t>			</a:t>
            </a:r>
            <a:r>
              <a:rPr lang="en-US" sz="1600" dirty="0" err="1"/>
              <a:t>Armazena</a:t>
            </a:r>
            <a:r>
              <a:rPr lang="en-US" sz="1600" dirty="0"/>
              <a:t> a </a:t>
            </a:r>
            <a:r>
              <a:rPr lang="en-US" sz="1600" dirty="0" err="1"/>
              <a:t>realidade</a:t>
            </a:r>
            <a:endParaRPr lang="en-US" sz="1600" dirty="0"/>
          </a:p>
          <a:p>
            <a:pPr algn="just"/>
            <a:r>
              <a:rPr lang="en-US" sz="1600" dirty="0"/>
              <a:t>				(</a:t>
            </a:r>
            <a:r>
              <a:rPr lang="en-US" sz="1600" dirty="0" err="1"/>
              <a:t>valida</a:t>
            </a:r>
            <a:r>
              <a:rPr lang="en-US" sz="1600" dirty="0"/>
              <a:t> e </a:t>
            </a:r>
            <a:r>
              <a:rPr lang="en-US" sz="1600" dirty="0" err="1"/>
              <a:t>registra</a:t>
            </a:r>
            <a:r>
              <a:rPr lang="en-US" sz="1600" dirty="0"/>
              <a:t> dados)</a:t>
            </a:r>
          </a:p>
          <a:p>
            <a:pPr algn="just"/>
            <a:endParaRPr lang="en-US" dirty="0"/>
          </a:p>
        </p:txBody>
      </p:sp>
      <p:pic>
        <p:nvPicPr>
          <p:cNvPr id="1044" name="Picture 20" descr="Resultado de imagem para dice icon">
            <a:extLst>
              <a:ext uri="{FF2B5EF4-FFF2-40B4-BE49-F238E27FC236}">
                <a16:creationId xmlns:a16="http://schemas.microsoft.com/office/drawing/2014/main" id="{4A49FB08-BBB8-4520-92CA-73A6DC38D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44" y="1891173"/>
            <a:ext cx="383384" cy="38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255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r6NrwEekm_xKAqCV1i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5nc9j.v06z1S33u5c.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OmBPzNE02oQI2Prkg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3YPksIEKURdWZKv_T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BTFGOUa0KYgPatpKw0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WFFgWN1EW_63de_4if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IRq8MvkmJgtxBP3XJ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5caLAjuk28RS.DQGVi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52054tUSyTWLFPrUS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uH.b2uRUW81Dups4K3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uaDJ_B_0aIc9WXcgSh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tkSrxfTkCveCuusxmt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Ehlooqk6lCd7ynHp4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lYXpff0KGU97K5I.x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mmoAif9EqTkjKflY1a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heme/theme1.xml><?xml version="1.0" encoding="utf-8"?>
<a:theme xmlns:a="http://schemas.openxmlformats.org/drawingml/2006/main" name="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2.xml><?xml version="1.0" encoding="utf-8"?>
<a:theme xmlns:a="http://schemas.openxmlformats.org/drawingml/2006/main" name="dk_blu_background_2017">
  <a:themeElements>
    <a:clrScheme name="Custom 48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9D0A33B2-E3C2-4B44-9705-B61D36DE01EA}"/>
    </a:ext>
  </a:extLst>
</a:theme>
</file>

<file path=ppt/theme/theme3.xml><?xml version="1.0" encoding="utf-8"?>
<a:theme xmlns:a="http://schemas.openxmlformats.org/drawingml/2006/main" name="gry_background_2017">
  <a:themeElements>
    <a:clrScheme name="Custom 46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F3F3F3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DEE17116-BC68-9249-A1BD-365EEF115E80}"/>
    </a:ext>
  </a:extLst>
</a:theme>
</file>

<file path=ppt/theme/theme4.xml><?xml version="1.0" encoding="utf-8"?>
<a:theme xmlns:a="http://schemas.openxmlformats.org/drawingml/2006/main" name="wht_background_2017">
  <a:themeElements>
    <a:clrScheme name="Custom 47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C250592C-99A3-144D-A544-64494AAEA5F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k_background_2017</Template>
  <TotalTime>907</TotalTime>
  <Words>3924</Words>
  <Application>Microsoft Office PowerPoint</Application>
  <PresentationFormat>On-screen Show (16:9)</PresentationFormat>
  <Paragraphs>734</Paragraphs>
  <Slides>51</Slides>
  <Notes>11</Notes>
  <HiddenSlides>34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51</vt:i4>
      </vt:variant>
    </vt:vector>
  </HeadingPairs>
  <TitlesOfParts>
    <vt:vector size="61" baseType="lpstr">
      <vt:lpstr>Arial</vt:lpstr>
      <vt:lpstr>Calibri</vt:lpstr>
      <vt:lpstr>IBM Plex Mono</vt:lpstr>
      <vt:lpstr>IBM Plex Sans</vt:lpstr>
      <vt:lpstr>IBM Plex Sans Light</vt:lpstr>
      <vt:lpstr>Wingdings</vt:lpstr>
      <vt:lpstr>blk_background_2017</vt:lpstr>
      <vt:lpstr>dk_blu_background_2017</vt:lpstr>
      <vt:lpstr>gry_background_2017</vt:lpstr>
      <vt:lpstr>wht_background_2017</vt:lpstr>
      <vt:lpstr>Inteligência Artificial e Blockchain na Prática  — Paulo Coronado Developer Architect – CTO Office IBM Brazil</vt:lpstr>
      <vt:lpstr>Agenda</vt:lpstr>
      <vt:lpstr>Pré-requisitos</vt:lpstr>
      <vt:lpstr>PowerPoint Presentation</vt:lpstr>
      <vt:lpstr>Transferência de Aprendizagem</vt:lpstr>
      <vt:lpstr>PowerPoint Presentation</vt:lpstr>
      <vt:lpstr>PowerPoint Presentation</vt:lpstr>
      <vt:lpstr>Contribuições do Blockchain para I.A.</vt:lpstr>
      <vt:lpstr>PowerPoint Presentation</vt:lpstr>
      <vt:lpstr>PowerPoint Presentation</vt:lpstr>
      <vt:lpstr>Modelo da solução</vt:lpstr>
      <vt:lpstr>Rede Blockchain</vt:lpstr>
      <vt:lpstr>It’s code time!</vt:lpstr>
      <vt:lpstr>Links Relevantes</vt:lpstr>
      <vt:lpstr>Resumo do Laboratório</vt:lpstr>
      <vt:lpstr>Obrigado!</vt:lpstr>
      <vt:lpstr>PowerPoint Presentation</vt:lpstr>
      <vt:lpstr>Blockchain</vt:lpstr>
      <vt:lpstr>Servers  that  serve</vt:lpstr>
      <vt:lpstr>Fact with small description acting  as headline or title with image</vt:lpstr>
      <vt:lpstr>PowerPoint Presentation</vt:lpstr>
      <vt:lpstr>Text goes here</vt:lpstr>
      <vt:lpstr>Headline</vt:lpstr>
      <vt:lpstr>Headline</vt:lpstr>
      <vt:lpstr>Headline</vt:lpstr>
      <vt:lpstr>Text goes here lorem ipsum dolor sit amet, consectetur adipiscing elit. </vt:lpstr>
      <vt:lpstr>PowerPoint Presentation</vt:lpstr>
      <vt:lpstr>Page title</vt:lpstr>
      <vt:lpstr>PowerPoint Presentation</vt:lpstr>
      <vt:lpstr>Organizational chart – complex</vt:lpstr>
      <vt:lpstr>Proposed Client Project Structure</vt:lpstr>
      <vt:lpstr>Value tree</vt:lpstr>
      <vt:lpstr>Graph template</vt:lpstr>
      <vt:lpstr>RACI table</vt:lpstr>
      <vt:lpstr>Portfolio matrix</vt:lpstr>
      <vt:lpstr>Harvey-Ball tables</vt:lpstr>
      <vt:lpstr>Strategy overview</vt:lpstr>
      <vt:lpstr>Project phase</vt:lpstr>
      <vt:lpstr>Timeline / Fishbone chart</vt:lpstr>
      <vt:lpstr>Performance health  check framework</vt:lpstr>
      <vt:lpstr>Stacked pyramid – 3 layers</vt:lpstr>
      <vt:lpstr>Stacked pyramid – 3 layers</vt:lpstr>
      <vt:lpstr>Puzzle piece detail </vt:lpstr>
      <vt:lpstr>Puzzle piece detail</vt:lpstr>
      <vt:lpstr>Common ground</vt:lpstr>
      <vt:lpstr>Companies with fast data growth rely on IBM Cloud Object storage</vt:lpstr>
      <vt:lpstr>Expanding our global data centers to 6 new facilities</vt:lpstr>
      <vt:lpstr>The team</vt:lpstr>
      <vt:lpstr>Case study (option 1) </vt:lpstr>
      <vt:lpstr>Case study (option 2) </vt:lpstr>
      <vt:lpstr>Color palet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Talk’n’Labs  Cloud, Data &amp; A.I.  — First Lastname Job Title</dc:title>
  <dc:subject/>
  <dc:creator>Debora Teles</dc:creator>
  <cp:keywords/>
  <dc:description/>
  <cp:lastModifiedBy>Paulo Leonardo Coronado Pinho</cp:lastModifiedBy>
  <cp:revision>42</cp:revision>
  <dcterms:created xsi:type="dcterms:W3CDTF">2019-09-16T18:32:01Z</dcterms:created>
  <dcterms:modified xsi:type="dcterms:W3CDTF">2019-10-11T01:46:26Z</dcterms:modified>
  <cp:category/>
</cp:coreProperties>
</file>